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2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ink/ink3.xml" ContentType="application/inkml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ink/ink4.xml" ContentType="application/inkml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ink/ink5.xml" ContentType="application/inkml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3.xml" ContentType="application/vnd.openxmlformats-officedocument.drawingml.chartshapes+xml"/>
  <Override PartName="/ppt/notesSlides/notesSlide7.xml" ContentType="application/vnd.openxmlformats-officedocument.presentationml.notesSlide+xml"/>
  <Override PartName="/ppt/ink/ink6.xml" ContentType="application/inkml+xml"/>
  <Override PartName="/ppt/notesSlides/notesSlide8.xml" ContentType="application/vnd.openxmlformats-officedocument.presentationml.notesSlide+xml"/>
  <Override PartName="/ppt/ink/ink7.xml" ContentType="application/inkml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3.xml" ContentType="application/vnd.openxmlformats-officedocument.presentationml.notesSlide+xml"/>
  <Override PartName="/ppt/ink/ink8.xml" ContentType="application/inkml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4.xml" ContentType="application/vnd.openxmlformats-officedocument.presentationml.notesSlide+xml"/>
  <Override PartName="/ppt/ink/ink9.xml" ContentType="application/inkml+xml"/>
  <Override PartName="/ppt/ink/ink10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9"/>
  </p:notesMasterIdLst>
  <p:handoutMasterIdLst>
    <p:handoutMasterId r:id="rId60"/>
  </p:handoutMasterIdLst>
  <p:sldIdLst>
    <p:sldId id="578" r:id="rId5"/>
    <p:sldId id="551" r:id="rId6"/>
    <p:sldId id="519" r:id="rId7"/>
    <p:sldId id="580" r:id="rId8"/>
    <p:sldId id="579" r:id="rId9"/>
    <p:sldId id="568" r:id="rId10"/>
    <p:sldId id="506" r:id="rId11"/>
    <p:sldId id="520" r:id="rId12"/>
    <p:sldId id="261" r:id="rId13"/>
    <p:sldId id="262" r:id="rId14"/>
    <p:sldId id="544" r:id="rId15"/>
    <p:sldId id="554" r:id="rId16"/>
    <p:sldId id="545" r:id="rId17"/>
    <p:sldId id="264" r:id="rId18"/>
    <p:sldId id="537" r:id="rId19"/>
    <p:sldId id="558" r:id="rId20"/>
    <p:sldId id="534" r:id="rId21"/>
    <p:sldId id="535" r:id="rId22"/>
    <p:sldId id="569" r:id="rId23"/>
    <p:sldId id="553" r:id="rId24"/>
    <p:sldId id="265" r:id="rId25"/>
    <p:sldId id="267" r:id="rId26"/>
    <p:sldId id="522" r:id="rId27"/>
    <p:sldId id="556" r:id="rId28"/>
    <p:sldId id="541" r:id="rId29"/>
    <p:sldId id="316" r:id="rId30"/>
    <p:sldId id="538" r:id="rId31"/>
    <p:sldId id="563" r:id="rId32"/>
    <p:sldId id="552" r:id="rId33"/>
    <p:sldId id="546" r:id="rId34"/>
    <p:sldId id="269" r:id="rId35"/>
    <p:sldId id="270" r:id="rId36"/>
    <p:sldId id="564" r:id="rId37"/>
    <p:sldId id="502" r:id="rId38"/>
    <p:sldId id="530" r:id="rId39"/>
    <p:sldId id="561" r:id="rId40"/>
    <p:sldId id="274" r:id="rId41"/>
    <p:sldId id="532" r:id="rId42"/>
    <p:sldId id="533" r:id="rId43"/>
    <p:sldId id="557" r:id="rId44"/>
    <p:sldId id="540" r:id="rId45"/>
    <p:sldId id="277" r:id="rId46"/>
    <p:sldId id="437" r:id="rId47"/>
    <p:sldId id="542" r:id="rId48"/>
    <p:sldId id="528" r:id="rId49"/>
    <p:sldId id="523" r:id="rId50"/>
    <p:sldId id="562" r:id="rId51"/>
    <p:sldId id="547" r:id="rId52"/>
    <p:sldId id="571" r:id="rId53"/>
    <p:sldId id="574" r:id="rId54"/>
    <p:sldId id="575" r:id="rId55"/>
    <p:sldId id="576" r:id="rId56"/>
    <p:sldId id="567" r:id="rId57"/>
    <p:sldId id="367" r:id="rId58"/>
  </p:sldIdLst>
  <p:sldSz cx="12192000" cy="6858000"/>
  <p:notesSz cx="6888163" cy="10018713"/>
  <p:defaultTextStyle>
    <a:defPPr>
      <a:defRPr lang="es-EC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ción" id="{0AB7A053-505C-489D-9636-0CA6C8553119}">
          <p14:sldIdLst>
            <p14:sldId id="578"/>
            <p14:sldId id="551"/>
            <p14:sldId id="519"/>
            <p14:sldId id="580"/>
            <p14:sldId id="579"/>
            <p14:sldId id="568"/>
            <p14:sldId id="506"/>
            <p14:sldId id="520"/>
          </p14:sldIdLst>
        </p14:section>
        <p14:section name="Misionales" id="{0D9E9B13-8D85-4E3A-A7F0-09DF8FE20D2B}">
          <p14:sldIdLst>
            <p14:sldId id="261"/>
            <p14:sldId id="262"/>
            <p14:sldId id="544"/>
            <p14:sldId id="554"/>
            <p14:sldId id="545"/>
            <p14:sldId id="264"/>
            <p14:sldId id="537"/>
            <p14:sldId id="558"/>
            <p14:sldId id="534"/>
            <p14:sldId id="535"/>
            <p14:sldId id="569"/>
            <p14:sldId id="553"/>
            <p14:sldId id="265"/>
            <p14:sldId id="267"/>
            <p14:sldId id="522"/>
            <p14:sldId id="556"/>
            <p14:sldId id="541"/>
            <p14:sldId id="316"/>
            <p14:sldId id="538"/>
            <p14:sldId id="563"/>
            <p14:sldId id="552"/>
            <p14:sldId id="546"/>
            <p14:sldId id="269"/>
            <p14:sldId id="270"/>
            <p14:sldId id="564"/>
            <p14:sldId id="502"/>
            <p14:sldId id="530"/>
            <p14:sldId id="561"/>
            <p14:sldId id="274"/>
            <p14:sldId id="532"/>
            <p14:sldId id="533"/>
            <p14:sldId id="557"/>
            <p14:sldId id="540"/>
            <p14:sldId id="277"/>
            <p14:sldId id="437"/>
            <p14:sldId id="542"/>
            <p14:sldId id="528"/>
            <p14:sldId id="523"/>
            <p14:sldId id="562"/>
            <p14:sldId id="547"/>
            <p14:sldId id="571"/>
            <p14:sldId id="574"/>
            <p14:sldId id="575"/>
            <p14:sldId id="576"/>
            <p14:sldId id="567"/>
            <p14:sldId id="36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E"/>
    <a:srgbClr val="FDC20B"/>
    <a:srgbClr val="E52524"/>
    <a:srgbClr val="3399FF"/>
    <a:srgbClr val="B1CBD3"/>
    <a:srgbClr val="C9DBE1"/>
    <a:srgbClr val="8AB0BC"/>
    <a:srgbClr val="1F67AF"/>
    <a:srgbClr val="47707C"/>
    <a:srgbClr val="0930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437" autoAdjust="0"/>
    <p:restoredTop sz="84830" autoAdjust="0"/>
  </p:normalViewPr>
  <p:slideViewPr>
    <p:cSldViewPr snapToGrid="0">
      <p:cViewPr varScale="1">
        <p:scale>
          <a:sx n="68" d="100"/>
          <a:sy n="68" d="100"/>
        </p:scale>
        <p:origin x="78" y="4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3307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Sentencia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rgbClr val="0070C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73-4E07-92EF-CC6601ED23D2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73-4E07-92EF-CC6601ED23D2}"/>
              </c:ext>
            </c:extLst>
          </c:dPt>
          <c:dLbls>
            <c:dLbl>
              <c:idx val="0"/>
              <c:layout>
                <c:manualLayout>
                  <c:x val="9.8983348953634656E-3"/>
                  <c:y val="-0.1541352177064811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DDFC7B0-0BEB-4A8A-B363-FD029EF2FECD}" type="CATEGORYNAME">
                      <a:rPr lang="en-US" sz="2800">
                        <a:solidFill>
                          <a:srgbClr val="1F67B0"/>
                        </a:solidFill>
                      </a:rPr>
                      <a:pPr>
                        <a:defRPr sz="2800" b="1">
                          <a:solidFill>
                            <a:schemeClr val="accent5"/>
                          </a:solidFill>
                        </a:defRPr>
                      </a:pPr>
                      <a:t>[NOMBRE DE CATEGORÍA]</a:t>
                    </a:fld>
                    <a:r>
                      <a:rPr lang="en-US" sz="2800" baseline="0" dirty="0">
                        <a:solidFill>
                          <a:srgbClr val="1F67B0"/>
                        </a:solidFill>
                      </a:rPr>
                      <a:t>
</a:t>
                    </a:r>
                    <a:fld id="{EF5AFD73-139A-4BE7-B0E7-93D184D7A8DC}" type="VALUE">
                      <a:rPr lang="en-US" sz="2800" baseline="0">
                        <a:solidFill>
                          <a:srgbClr val="1F67B0"/>
                        </a:solidFill>
                      </a:rPr>
                      <a:pPr>
                        <a:defRPr sz="2800" b="1">
                          <a:solidFill>
                            <a:schemeClr val="accent5"/>
                          </a:solidFill>
                        </a:defRPr>
                      </a:pPr>
                      <a:t>[VALOR]</a:t>
                    </a:fld>
                    <a:r>
                      <a:rPr lang="en-US" sz="2800" baseline="0" dirty="0">
                        <a:solidFill>
                          <a:srgbClr val="1F67B0"/>
                        </a:solidFill>
                      </a:rPr>
                      <a:t>
</a:t>
                    </a:r>
                    <a:fld id="{4E3E528B-9B5E-4683-9711-4EE4FF556A37}" type="PERCENTAGE">
                      <a:rPr lang="en-US" sz="5400" b="1" baseline="0">
                        <a:solidFill>
                          <a:srgbClr val="1F67B0"/>
                        </a:solidFill>
                      </a:rPr>
                      <a:pPr>
                        <a:defRPr sz="2800" b="1">
                          <a:solidFill>
                            <a:schemeClr val="accent5"/>
                          </a:solidFill>
                        </a:defRPr>
                      </a:pPr>
                      <a:t>[PORCENTAJE]</a:t>
                    </a:fld>
                    <a:endParaRPr lang="en-US" sz="2800" baseline="0" dirty="0">
                      <a:solidFill>
                        <a:srgbClr val="1F67B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18179237924141"/>
                      <c:h val="0.3650130952194837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673-4E07-92EF-CC6601ED23D2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C66D0E-3F5A-4AD0-9DC0-DEA06EAADA9D}" type="CATEGORYNAME">
                      <a:rPr lang="en-US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NOMBRE DE CATEGORÍA]</a:t>
                    </a:fld>
                    <a:r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
</a:t>
                    </a:r>
                    <a:fld id="{01DF4C8A-DA01-448B-8F55-45DD434AB2D6}" type="VALUE">
                      <a:rPr lang="en-US" baseline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VALOR]</a:t>
                    </a:fld>
                    <a:r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
</a:t>
                    </a:r>
                    <a:fld id="{C947626B-0A37-4EE7-B46A-6CA3F627383C}" type="PERCENTAGE">
                      <a:rPr lang="en-US" baseline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PORCENTAJE]</a:t>
                    </a:fld>
                    <a:endParaRPr lang="en-US" baseline="0" dirty="0">
                      <a:solidFill>
                        <a:schemeClr val="bg1">
                          <a:lumMod val="50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673-4E07-92EF-CC6601ED23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Favorables</c:v>
                </c:pt>
                <c:pt idx="1">
                  <c:v>Desfavorables</c:v>
                </c:pt>
              </c:strCache>
            </c:strRef>
          </c:cat>
          <c:val>
            <c:numRef>
              <c:f>Hoja1!$B$2:$B$3</c:f>
              <c:numCache>
                <c:formatCode>_(* #,##0_);_(* \(#,##0\);_(* "-"??_);_(@_)</c:formatCode>
                <c:ptCount val="2"/>
                <c:pt idx="0">
                  <c:v>9396</c:v>
                </c:pt>
                <c:pt idx="1">
                  <c:v>2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73-4E07-92EF-CC6601ED23D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47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749484210018773E-3"/>
          <c:y val="6.9811930538890885E-2"/>
          <c:w val="0.97933590726499653"/>
          <c:h val="0.85062683423188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onunciamientos</c:v>
                </c:pt>
              </c:strCache>
            </c:strRef>
          </c:tx>
          <c:spPr>
            <a:solidFill>
              <a:schemeClr val="accent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04B8E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E3D-41B7-A8DF-FFC6C6581761}"/>
              </c:ext>
            </c:extLst>
          </c:dPt>
          <c:dPt>
            <c:idx val="1"/>
            <c:invertIfNegative val="0"/>
            <c:bubble3D val="0"/>
            <c:spPr>
              <a:solidFill>
                <a:srgbClr val="004B8E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E3D-41B7-A8DF-FFC6C6581761}"/>
              </c:ext>
            </c:extLst>
          </c:dPt>
          <c:dPt>
            <c:idx val="2"/>
            <c:invertIfNegative val="0"/>
            <c:bubble3D val="0"/>
            <c:spPr>
              <a:solidFill>
                <a:srgbClr val="004B8E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73C5-4E24-B5F6-E1FEE90D6224}"/>
              </c:ext>
            </c:extLst>
          </c:dPt>
          <c:dPt>
            <c:idx val="3"/>
            <c:invertIfNegative val="0"/>
            <c:bubble3D val="0"/>
            <c:spPr>
              <a:solidFill>
                <a:srgbClr val="3399FF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E3D-41B7-A8DF-FFC6C658176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ED61-4B2D-B026-A630F5C13E64}"/>
              </c:ext>
            </c:extLst>
          </c:dPt>
          <c:dLbls>
            <c:dLbl>
              <c:idx val="1"/>
              <c:layout>
                <c:manualLayout>
                  <c:x val="1.3934233053229597E-2"/>
                  <c:y val="7.3119785177525737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E3D-41B7-A8DF-FFC6C6581761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3399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C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E3D-41B7-A8DF-FFC6C6581761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C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D61-4B2D-B026-A630F5C13E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Pronunciamientos nuevos</c:v>
                </c:pt>
                <c:pt idx="1">
                  <c:v>Pronunciamientos previos</c:v>
                </c:pt>
                <c:pt idx="2">
                  <c:v>Ratificación del pronunciamiento</c:v>
                </c:pt>
                <c:pt idx="3">
                  <c:v>Abstenciones</c:v>
                </c:pt>
                <c:pt idx="4">
                  <c:v>Archivo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192</c:v>
                </c:pt>
                <c:pt idx="1">
                  <c:v>189</c:v>
                </c:pt>
                <c:pt idx="2">
                  <c:v>17</c:v>
                </c:pt>
                <c:pt idx="3">
                  <c:v>34</c:v>
                </c:pt>
                <c:pt idx="4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3D-41B7-A8DF-FFC6C65817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82981248"/>
        <c:axId val="382961696"/>
      </c:barChart>
      <c:catAx>
        <c:axId val="382981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382961696"/>
        <c:crosses val="autoZero"/>
        <c:auto val="1"/>
        <c:lblAlgn val="ctr"/>
        <c:lblOffset val="100"/>
        <c:noMultiLvlLbl val="0"/>
      </c:catAx>
      <c:valAx>
        <c:axId val="3829616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829812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749484210018773E-3"/>
          <c:y val="6.9811930538890885E-2"/>
          <c:w val="0.97933590726499653"/>
          <c:h val="0.85062683423188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onunciamientos</c:v>
                </c:pt>
              </c:strCache>
            </c:strRef>
          </c:tx>
          <c:spPr>
            <a:solidFill>
              <a:schemeClr val="accent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E3C-4070-8D97-B83BFABA92C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E3C-4070-8D97-B83BFABA92CD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CAAAA9A-92FA-417D-85D8-8F590A01C8BA}" type="CATEGORYNAME">
                      <a:rPr lang="en-US"/>
                      <a:pPr>
                        <a:defRPr sz="16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defRPr>
                      </a:pPr>
                      <a:t>[NOMBRE DE CATEGORÍA]</a:t>
                    </a:fld>
                    <a:r>
                      <a:rPr lang="en-US" baseline="0" dirty="0"/>
                      <a:t>
</a:t>
                    </a:r>
                    <a:fld id="{06C4B5B8-8728-492D-97E7-A7092DE6FAC0}" type="VALUE">
                      <a:rPr lang="en-US" sz="1800" b="1" baseline="0"/>
                      <a:pPr>
                        <a:defRPr sz="16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defRPr>
                      </a:pPr>
                      <a:t>[VALOR]</a:t>
                    </a:fld>
                    <a:endParaRPr lang="en-U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E3C-4070-8D97-B83BFABA92C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BCF4450-57C6-41C9-A2EC-ADBBBA529E3C}" type="CATEGORYNAME">
                      <a:rPr lang="en-US"/>
                      <a:pPr/>
                      <a:t>[NOMBRE DE CATEGORÍA]</a:t>
                    </a:fld>
                    <a:r>
                      <a:rPr lang="en-US" baseline="0" dirty="0"/>
                      <a:t>
</a:t>
                    </a:r>
                    <a:fld id="{C4021F36-DD5B-4542-897A-409706D16B79}" type="VALUE">
                      <a:rPr lang="en-US" sz="1800" b="1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E3C-4070-8D97-B83BFABA92CD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0B42229-F9F8-4DC7-AEC7-F635458C523A}" type="CATEGORYNAME">
                      <a:rPr lang="en-US" b="0" dirty="0"/>
                      <a:pPr>
                        <a:defRPr sz="16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defRPr>
                      </a:pPr>
                      <a:t>[NOMBRE DE CATEGORÍA]</a:t>
                    </a:fld>
                    <a:r>
                      <a:rPr lang="en-US" b="0" baseline="0" dirty="0"/>
                      <a:t>
</a:t>
                    </a:r>
                    <a:fld id="{91ACDCC9-E8E9-4EEB-89CC-3B08A125B33A}" type="VALUE">
                      <a:rPr lang="en-US" sz="1800" b="1" baseline="0" dirty="0"/>
                      <a:pPr>
                        <a:defRPr sz="16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defRPr>
                      </a:pPr>
                      <a:t>[VALOR]</a:t>
                    </a:fld>
                    <a:endParaRPr lang="en-US" b="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E3C-4070-8D97-B83BFABA92C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72A68DE-E81F-4BEB-9335-42F9C069EDFD}" type="CATEGORYNAME">
                      <a:rPr lang="en-US"/>
                      <a:pPr/>
                      <a:t>[NOMBRE DE CATEGORÍA]</a:t>
                    </a:fld>
                    <a:r>
                      <a:rPr lang="en-US" baseline="0" dirty="0"/>
                      <a:t>
</a:t>
                    </a:r>
                    <a:fld id="{98C46813-42B7-41BE-9ED7-98D68164E7C1}" type="VALUE">
                      <a:rPr lang="en-US" sz="1800" b="1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E3C-4070-8D97-B83BFABA92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Abstención 
2024</c:v>
                </c:pt>
                <c:pt idx="1">
                  <c:v>Abstención 
2025</c:v>
                </c:pt>
                <c:pt idx="2">
                  <c:v>Archivo 
2024</c:v>
                </c:pt>
                <c:pt idx="3">
                  <c:v>Archivo 
2025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96</c:v>
                </c:pt>
                <c:pt idx="1">
                  <c:v>34</c:v>
                </c:pt>
                <c:pt idx="2">
                  <c:v>247</c:v>
                </c:pt>
                <c:pt idx="3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3C-4070-8D97-B83BFABA92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82981248"/>
        <c:axId val="382961696"/>
      </c:barChart>
      <c:catAx>
        <c:axId val="382981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382961696"/>
        <c:crosses val="autoZero"/>
        <c:auto val="1"/>
        <c:lblAlgn val="ctr"/>
        <c:lblOffset val="100"/>
        <c:noMultiLvlLbl val="0"/>
      </c:catAx>
      <c:valAx>
        <c:axId val="3829616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829812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878158991673153E-2"/>
          <c:y val="4.5879394727135481E-2"/>
          <c:w val="0.67530375966871214"/>
          <c:h val="0.76550142861430359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asos nuevos</c:v>
                </c:pt>
              </c:strCache>
            </c:strRef>
          </c:tx>
          <c:spPr>
            <a:solidFill>
              <a:srgbClr val="0070C0"/>
            </a:solidFill>
          </c:spPr>
          <c:dPt>
            <c:idx val="0"/>
            <c:bubble3D val="0"/>
            <c:spPr>
              <a:solidFill>
                <a:srgbClr val="1F67B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C514-44D9-A039-C917D601DF72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514-44D9-A039-C917D601DF72}"/>
              </c:ext>
            </c:extLst>
          </c:dPt>
          <c:dLbls>
            <c:dLbl>
              <c:idx val="0"/>
              <c:layout>
                <c:manualLayout>
                  <c:x val="-9.9521298635403266E-3"/>
                  <c:y val="2.70645558917709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rgbClr val="1F67B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C"/>
                </a:p>
              </c:txPr>
              <c:dLblPos val="bestFit"/>
              <c:showLegendKey val="1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514-44D9-A039-C917D601DF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Finalizados</c:v>
                </c:pt>
                <c:pt idx="1">
                  <c:v>En estudio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45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3-43BD-915E-55E94BD7C13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29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25752792142533"/>
          <c:y val="0.13223923795104242"/>
          <c:w val="0.56588645812061733"/>
          <c:h val="0.765501428614303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nstituciones</c:v>
                </c:pt>
              </c:strCache>
            </c:strRef>
          </c:tx>
          <c:spPr>
            <a:solidFill>
              <a:srgbClr val="1F67A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1F67A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86D-4AF1-8F0E-CA03261E3EFA}"/>
              </c:ext>
            </c:extLst>
          </c:dPt>
          <c:dPt>
            <c:idx val="1"/>
            <c:invertIfNegative val="0"/>
            <c:bubble3D val="0"/>
            <c:spPr>
              <a:solidFill>
                <a:srgbClr val="1F67A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86D-4AF1-8F0E-CA03261E3EFA}"/>
              </c:ext>
            </c:extLst>
          </c:dPt>
          <c:dPt>
            <c:idx val="2"/>
            <c:invertIfNegative val="0"/>
            <c:bubble3D val="0"/>
            <c:spPr>
              <a:solidFill>
                <a:srgbClr val="1F67A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86D-4AF1-8F0E-CA03261E3EFA}"/>
              </c:ext>
            </c:extLst>
          </c:dPt>
          <c:dPt>
            <c:idx val="3"/>
            <c:invertIfNegative val="0"/>
            <c:bubble3D val="0"/>
            <c:spPr>
              <a:solidFill>
                <a:srgbClr val="1F67A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C3A-45A3-A1B5-C93BEA04938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4B8E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Hidrocarburos</c:v>
                </c:pt>
                <c:pt idx="1">
                  <c:v>Gobiernos Autónomos Descentralizados</c:v>
                </c:pt>
                <c:pt idx="2">
                  <c:v>EP (Eléctrico, minería, telefónico y otros)</c:v>
                </c:pt>
                <c:pt idx="3">
                  <c:v>Función Ejecutiva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</c:v>
                </c:pt>
                <c:pt idx="1">
                  <c:v>34</c:v>
                </c:pt>
                <c:pt idx="2">
                  <c:v>54</c:v>
                </c:pt>
                <c:pt idx="3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3-43BD-915E-55E94BD7C1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04490479"/>
        <c:axId val="304489999"/>
      </c:barChart>
      <c:valAx>
        <c:axId val="304489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4490479"/>
        <c:crosses val="autoZero"/>
        <c:crossBetween val="between"/>
      </c:valAx>
      <c:catAx>
        <c:axId val="30449047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3044899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AN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E5-4C17-83C7-F305BFEF9B1F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E5-4C17-83C7-F305BFEF9B1F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31-45A4-A0B4-0BEA7EA2B982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F31-45A4-A0B4-0BEA7EA2B98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DDFC7B0-0BEB-4A8A-B363-FD029EF2FECD}" type="CATEGORYNAME">
                      <a:rPr lang="es-MX" sz="1600">
                        <a:solidFill>
                          <a:srgbClr val="004B8E"/>
                        </a:solidFill>
                      </a:rPr>
                      <a:pPr/>
                      <a:t>[NOMBRE DE CATEGORÍA]</a:t>
                    </a:fld>
                    <a:r>
                      <a:rPr lang="es-MX" sz="1600" dirty="0">
                        <a:solidFill>
                          <a:srgbClr val="004B8E"/>
                        </a:solidFill>
                      </a:rPr>
                      <a:t>
</a:t>
                    </a:r>
                    <a:fld id="{EF5AFD73-139A-4BE7-B0E7-93D184D7A8DC}" type="VALUE">
                      <a:rPr lang="es-MX" sz="1600">
                        <a:solidFill>
                          <a:srgbClr val="004B8E"/>
                        </a:solidFill>
                      </a:rPr>
                      <a:pPr/>
                      <a:t>[VALOR]</a:t>
                    </a:fld>
                    <a:r>
                      <a:rPr lang="es-MX" sz="1600" dirty="0">
                        <a:solidFill>
                          <a:srgbClr val="004B8E"/>
                        </a:solidFill>
                      </a:rPr>
                      <a:t>
</a:t>
                    </a:r>
                    <a:fld id="{4E3E528B-9B5E-4683-9711-4EE4FF556A37}" type="PERCENTAGE">
                      <a:rPr lang="es-MX" sz="1600">
                        <a:solidFill>
                          <a:srgbClr val="004B8E"/>
                        </a:solidFill>
                      </a:rPr>
                      <a:pPr/>
                      <a:t>[PORCENTAJE]</a:t>
                    </a:fld>
                    <a:endParaRPr lang="es-MX" sz="1600" dirty="0">
                      <a:solidFill>
                        <a:srgbClr val="004B8E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2E5-4C17-83C7-F305BFEF9B1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9C66D0E-3F5A-4AD0-9DC0-DEA06EAADA9D}" type="CATEGORYNAME">
                      <a:rPr lang="es-MX"/>
                      <a:pPr/>
                      <a:t>[NOMBRE DE CATEGORÍA]</a:t>
                    </a:fld>
                    <a:r>
                      <a:rPr lang="es-MX" dirty="0"/>
                      <a:t>
</a:t>
                    </a:r>
                    <a:fld id="{01DF4C8A-DA01-448B-8F55-45DD434AB2D6}" type="VALUE">
                      <a:rPr lang="es-MX"/>
                      <a:pPr/>
                      <a:t>[VALOR]</a:t>
                    </a:fld>
                    <a:r>
                      <a:rPr lang="es-MX" dirty="0"/>
                      <a:t>
</a:t>
                    </a:r>
                    <a:fld id="{C947626B-0A37-4EE7-B46A-6CA3F627383C}" type="PERCENTAGE">
                      <a:rPr lang="es-MX"/>
                      <a:pPr/>
                      <a:t>[PORCENTAJE]</a:t>
                    </a:fld>
                    <a:endParaRPr lang="es-MX" dirty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2E5-4C17-83C7-F305BFEF9B1F}"/>
                </c:ext>
              </c:extLst>
            </c:dLbl>
            <c:dLbl>
              <c:idx val="3"/>
              <c:layout>
                <c:manualLayout>
                  <c:x val="4.6191926415066156E-2"/>
                  <c:y val="-7.8373839511771976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F31-45A4-A0B4-0BEA7EA2B9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rgbClr val="004B8E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Requerimiento de información</c:v>
                </c:pt>
                <c:pt idx="1">
                  <c:v>Observaciones a proyectos de ley</c:v>
                </c:pt>
                <c:pt idx="2">
                  <c:v>Comparecencias</c:v>
                </c:pt>
                <c:pt idx="3">
                  <c:v>Varios temas</c:v>
                </c:pt>
              </c:strCache>
            </c:strRef>
          </c:cat>
          <c:val>
            <c:numRef>
              <c:f>Hoja1!$B$2:$B$5</c:f>
              <c:numCache>
                <c:formatCode>_(* #,##0_);_(* \(#,##0\);_(* "-"??_);_(@_)</c:formatCode>
                <c:ptCount val="4"/>
                <c:pt idx="0">
                  <c:v>16</c:v>
                </c:pt>
                <c:pt idx="1">
                  <c:v>12</c:v>
                </c:pt>
                <c:pt idx="2">
                  <c:v>6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E5-4C17-83C7-F305BFEF9B1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8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r>
              <a:rPr lang="es-EC" sz="1400" b="1" dirty="0">
                <a:solidFill>
                  <a:srgbClr val="0070C0"/>
                </a:solidFill>
              </a:rPr>
              <a:t>Sentencias favorables y desfavorables</a:t>
            </a:r>
          </a:p>
          <a:p>
            <a:pPr>
              <a:defRPr sz="1400">
                <a:solidFill>
                  <a:srgbClr val="0070C0"/>
                </a:solidFill>
              </a:defRPr>
            </a:pPr>
            <a:r>
              <a:rPr lang="es-EC" sz="1400" b="0" dirty="0">
                <a:solidFill>
                  <a:srgbClr val="0070C0"/>
                </a:solidFill>
              </a:rPr>
              <a:t>De</a:t>
            </a:r>
            <a:r>
              <a:rPr lang="es-EC" sz="1400" b="0" baseline="0" dirty="0">
                <a:solidFill>
                  <a:srgbClr val="0070C0"/>
                </a:solidFill>
              </a:rPr>
              <a:t> abril 2008 a diciembre 2025</a:t>
            </a:r>
            <a:endParaRPr lang="es-EC" sz="1400" b="0" dirty="0">
              <a:solidFill>
                <a:srgbClr val="0070C0"/>
              </a:solidFill>
            </a:endParaRPr>
          </a:p>
        </c:rich>
      </c:tx>
      <c:layout>
        <c:manualLayout>
          <c:xMode val="edge"/>
          <c:yMode val="edge"/>
          <c:x val="0.56389204924596292"/>
          <c:y val="0.13695234080364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70C0"/>
              </a:solidFill>
              <a:latin typeface="+mn-lt"/>
              <a:ea typeface="+mn-ea"/>
              <a:cs typeface="+mn-cs"/>
            </a:defRPr>
          </a:pPr>
          <a:endParaRPr lang="es-EC"/>
        </a:p>
      </c:txPr>
    </c:title>
    <c:autoTitleDeleted val="0"/>
    <c:plotArea>
      <c:layout>
        <c:manualLayout>
          <c:layoutTarget val="inner"/>
          <c:xMode val="edge"/>
          <c:yMode val="edge"/>
          <c:x val="4.7168190310956891E-2"/>
          <c:y val="0.21180537620558595"/>
          <c:w val="0.91551014279994658"/>
          <c:h val="0.773030116192626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Sentencias favorable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16"/>
            <c:invertIfNegative val="0"/>
            <c:bubble3D val="0"/>
            <c:spPr>
              <a:solidFill>
                <a:srgbClr val="21A0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010-4895-B115-E59903FA3C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19050" cap="rnd">
                <a:solidFill>
                  <a:srgbClr val="0070C0"/>
                </a:solidFill>
                <a:prstDash val="sysDot"/>
              </a:ln>
              <a:effectLst/>
            </c:spPr>
            <c:trendlineType val="exp"/>
            <c:dispRSqr val="0"/>
            <c:dispEq val="0"/>
          </c:trendline>
          <c:cat>
            <c:strRef>
              <c:f>Hoja1!$B$1:$S$1</c:f>
              <c:strCache>
                <c:ptCount val="18"/>
                <c:pt idx="0">
                  <c:v>abr-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strCache>
            </c:strRef>
          </c:cat>
          <c:val>
            <c:numRef>
              <c:f>Hoja1!$B$2:$S$2</c:f>
              <c:numCache>
                <c:formatCode>General</c:formatCode>
                <c:ptCount val="18"/>
                <c:pt idx="0">
                  <c:v>1206</c:v>
                </c:pt>
                <c:pt idx="1">
                  <c:v>2336</c:v>
                </c:pt>
                <c:pt idx="2">
                  <c:v>2196</c:v>
                </c:pt>
                <c:pt idx="3">
                  <c:v>2785</c:v>
                </c:pt>
                <c:pt idx="4">
                  <c:v>4249</c:v>
                </c:pt>
                <c:pt idx="5">
                  <c:v>4479</c:v>
                </c:pt>
                <c:pt idx="6">
                  <c:v>5642</c:v>
                </c:pt>
                <c:pt idx="7">
                  <c:v>6840</c:v>
                </c:pt>
                <c:pt idx="8">
                  <c:v>7369</c:v>
                </c:pt>
                <c:pt idx="9">
                  <c:v>6861</c:v>
                </c:pt>
                <c:pt idx="10">
                  <c:v>6065</c:v>
                </c:pt>
                <c:pt idx="11">
                  <c:v>5723</c:v>
                </c:pt>
                <c:pt idx="12">
                  <c:v>5082</c:v>
                </c:pt>
                <c:pt idx="13">
                  <c:v>7161</c:v>
                </c:pt>
                <c:pt idx="14">
                  <c:v>7537</c:v>
                </c:pt>
                <c:pt idx="15">
                  <c:v>9246</c:v>
                </c:pt>
                <c:pt idx="16">
                  <c:v>9870</c:v>
                </c:pt>
                <c:pt idx="17">
                  <c:v>9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10-4895-B115-E59903FA3C1A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entencias desfavorable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010-4895-B115-E59903FA3C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S$1</c:f>
              <c:strCache>
                <c:ptCount val="18"/>
                <c:pt idx="0">
                  <c:v>abr-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strCache>
            </c:strRef>
          </c:cat>
          <c:val>
            <c:numRef>
              <c:f>Hoja1!$B$3:$S$3</c:f>
              <c:numCache>
                <c:formatCode>General</c:formatCode>
                <c:ptCount val="18"/>
                <c:pt idx="0">
                  <c:v>870</c:v>
                </c:pt>
                <c:pt idx="1">
                  <c:v>948</c:v>
                </c:pt>
                <c:pt idx="2">
                  <c:v>1012</c:v>
                </c:pt>
                <c:pt idx="3">
                  <c:v>1150</c:v>
                </c:pt>
                <c:pt idx="4">
                  <c:v>1910</c:v>
                </c:pt>
                <c:pt idx="5">
                  <c:v>1876</c:v>
                </c:pt>
                <c:pt idx="6">
                  <c:v>1491</c:v>
                </c:pt>
                <c:pt idx="7">
                  <c:v>1776</c:v>
                </c:pt>
                <c:pt idx="8">
                  <c:v>2386</c:v>
                </c:pt>
                <c:pt idx="9">
                  <c:v>3230</c:v>
                </c:pt>
                <c:pt idx="10">
                  <c:v>3441</c:v>
                </c:pt>
                <c:pt idx="11">
                  <c:v>3344</c:v>
                </c:pt>
                <c:pt idx="12">
                  <c:v>2972</c:v>
                </c:pt>
                <c:pt idx="13">
                  <c:v>5272</c:v>
                </c:pt>
                <c:pt idx="14">
                  <c:v>5652</c:v>
                </c:pt>
                <c:pt idx="15">
                  <c:v>6486</c:v>
                </c:pt>
                <c:pt idx="16">
                  <c:v>4521</c:v>
                </c:pt>
                <c:pt idx="17">
                  <c:v>2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10-4895-B115-E59903FA3C1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-836386320"/>
        <c:axId val="-836393936"/>
      </c:barChart>
      <c:lineChart>
        <c:grouping val="stacked"/>
        <c:varyColors val="0"/>
        <c:ser>
          <c:idx val="2"/>
          <c:order val="2"/>
          <c:tx>
            <c:strRef>
              <c:f>Hoja1!$A$4</c:f>
              <c:strCache>
                <c:ptCount val="1"/>
                <c:pt idx="0">
                  <c:v>Efectividad [%]</c:v>
                </c:pt>
              </c:strCache>
            </c:strRef>
          </c:tx>
          <c:spPr>
            <a:ln w="31750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16"/>
              <c:layout>
                <c:manualLayout>
                  <c:x val="-4.0598558654744585E-2"/>
                  <c:y val="-1.7475740713991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DA-434E-918F-C807CBCE467A}"/>
                </c:ext>
              </c:extLst>
            </c:dLbl>
            <c:dLbl>
              <c:idx val="17"/>
              <c:layout>
                <c:manualLayout>
                  <c:x val="-3.751417990124116E-2"/>
                  <c:y val="-7.8554099621572879E-2"/>
                </c:manualLayout>
              </c:layout>
              <c:spPr>
                <a:solidFill>
                  <a:srgbClr val="FDC20B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800" b="1" i="0" u="none" strike="noStrike" kern="1200" baseline="0">
                      <a:solidFill>
                        <a:srgbClr val="004B8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C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781-47EC-B179-4C9BCD678C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S$1</c:f>
              <c:strCache>
                <c:ptCount val="18"/>
                <c:pt idx="0">
                  <c:v>abr-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strCache>
            </c:strRef>
          </c:cat>
          <c:val>
            <c:numRef>
              <c:f>Hoja1!$B$4:$S$4</c:f>
              <c:numCache>
                <c:formatCode>0%</c:formatCode>
                <c:ptCount val="18"/>
                <c:pt idx="0">
                  <c:v>0.58092485549132944</c:v>
                </c:pt>
                <c:pt idx="1">
                  <c:v>0.71132764920828262</c:v>
                </c:pt>
                <c:pt idx="2">
                  <c:v>0.68453865336658359</c:v>
                </c:pt>
                <c:pt idx="3">
                  <c:v>0.70775095298602286</c:v>
                </c:pt>
                <c:pt idx="4">
                  <c:v>0.68988472154570546</c:v>
                </c:pt>
                <c:pt idx="5">
                  <c:v>0.70479937057435094</c:v>
                </c:pt>
                <c:pt idx="6">
                  <c:v>0.79097154072620213</c:v>
                </c:pt>
                <c:pt idx="7">
                  <c:v>0.79387186629526463</c:v>
                </c:pt>
                <c:pt idx="8">
                  <c:v>0.75540748334187591</c:v>
                </c:pt>
                <c:pt idx="9">
                  <c:v>0.67991279357843626</c:v>
                </c:pt>
                <c:pt idx="10">
                  <c:v>0.63801809383547237</c:v>
                </c:pt>
                <c:pt idx="11">
                  <c:v>0.63119002977831695</c:v>
                </c:pt>
                <c:pt idx="12">
                  <c:v>0.63099081201887264</c:v>
                </c:pt>
                <c:pt idx="13">
                  <c:v>0.57596718410681247</c:v>
                </c:pt>
                <c:pt idx="14">
                  <c:v>0.57146106603988167</c:v>
                </c:pt>
                <c:pt idx="15">
                  <c:v>0.58771929824561409</c:v>
                </c:pt>
                <c:pt idx="16">
                  <c:v>0.68584531999166143</c:v>
                </c:pt>
                <c:pt idx="17">
                  <c:v>0.78443813658373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010-4895-B115-E59903FA3C1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307684512"/>
        <c:axId val="1308139888"/>
      </c:lineChart>
      <c:catAx>
        <c:axId val="-836386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-836393936"/>
        <c:crosses val="autoZero"/>
        <c:auto val="0"/>
        <c:lblAlgn val="ctr"/>
        <c:lblOffset val="100"/>
        <c:noMultiLvlLbl val="0"/>
      </c:catAx>
      <c:valAx>
        <c:axId val="-836393936"/>
        <c:scaling>
          <c:orientation val="minMax"/>
          <c:max val="15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-836386320"/>
        <c:crosses val="autoZero"/>
        <c:crossBetween val="between"/>
      </c:valAx>
      <c:valAx>
        <c:axId val="1308139888"/>
        <c:scaling>
          <c:orientation val="minMax"/>
          <c:max val="0.8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1307684512"/>
        <c:crosses val="max"/>
        <c:crossBetween val="between"/>
      </c:valAx>
      <c:catAx>
        <c:axId val="1307684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81398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125829440811424"/>
          <c:y val="0.39167649992435549"/>
          <c:w val="0.23022863005471775"/>
          <c:h val="0.165031088863492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C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 Causas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D3-479A-8830-CD4447CAA64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D3-479A-8830-CD4447CAA6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uantía demandada</c:v>
                </c:pt>
                <c:pt idx="1">
                  <c:v>Monto sentenciado</c:v>
                </c:pt>
                <c:pt idx="2">
                  <c:v>Diferencia (pago evitado)</c:v>
                </c:pt>
              </c:strCache>
            </c:strRef>
          </c:cat>
          <c:val>
            <c:numRef>
              <c:f>Hoja1!$B$2:$B$4</c:f>
              <c:numCache>
                <c:formatCode>_ [$USD]\ * #,##0.00_ ;_ [$USD]\ * \-#,##0.00_ ;_ [$USD]\ * "-"??_ ;_ @_ </c:formatCode>
                <c:ptCount val="3"/>
                <c:pt idx="0">
                  <c:v>133335408.3</c:v>
                </c:pt>
                <c:pt idx="1">
                  <c:v>12120441.800000001</c:v>
                </c:pt>
                <c:pt idx="2">
                  <c:v>12121496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D3-479A-8830-CD4447CAA6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4"/>
        <c:overlap val="-27"/>
        <c:axId val="2005365455"/>
        <c:axId val="2005365871"/>
      </c:barChart>
      <c:catAx>
        <c:axId val="2005365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2005365871"/>
        <c:crosses val="autoZero"/>
        <c:auto val="1"/>
        <c:lblAlgn val="ctr"/>
        <c:lblOffset val="100"/>
        <c:noMultiLvlLbl val="0"/>
      </c:catAx>
      <c:valAx>
        <c:axId val="2005365871"/>
        <c:scaling>
          <c:orientation val="minMax"/>
        </c:scaling>
        <c:delete val="1"/>
        <c:axPos val="l"/>
        <c:numFmt formatCode="_ [$USD]\ * #,##0.00_ ;_ [$USD]\ * \-#,##0.00_ ;_ [$USD]\ * &quot;-&quot;??_ ;_ @_ " sourceLinked="1"/>
        <c:majorTickMark val="none"/>
        <c:minorTickMark val="none"/>
        <c:tickLblPos val="nextTo"/>
        <c:crossAx val="200536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 Causas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D3-479A-8830-CD4447CAA64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D3-479A-8830-CD4447CAA6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uantía demandada</c:v>
                </c:pt>
                <c:pt idx="1">
                  <c:v>Monto fijado por el Tribunal</c:v>
                </c:pt>
                <c:pt idx="2">
                  <c:v>Diferencia (pago evitado)</c:v>
                </c:pt>
              </c:strCache>
            </c:strRef>
          </c:cat>
          <c:val>
            <c:numRef>
              <c:f>Hoja1!$B$2:$B$4</c:f>
              <c:numCache>
                <c:formatCode>_ [$USD]\ * #,##0.00_ ;_ [$USD]\ * \-#,##0.00_ ;_ [$USD]\ * "-"??_ ;_ @_ </c:formatCode>
                <c:ptCount val="3"/>
                <c:pt idx="0">
                  <c:v>92376253.180000007</c:v>
                </c:pt>
                <c:pt idx="1">
                  <c:v>25287335.280000001</c:v>
                </c:pt>
                <c:pt idx="2">
                  <c:v>67088917.9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D3-479A-8830-CD4447CAA6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4"/>
        <c:overlap val="-27"/>
        <c:axId val="2005365455"/>
        <c:axId val="2005365871"/>
      </c:barChart>
      <c:catAx>
        <c:axId val="2005365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2005365871"/>
        <c:crosses val="autoZero"/>
        <c:auto val="1"/>
        <c:lblAlgn val="ctr"/>
        <c:lblOffset val="100"/>
        <c:noMultiLvlLbl val="0"/>
      </c:catAx>
      <c:valAx>
        <c:axId val="2005365871"/>
        <c:scaling>
          <c:orientation val="minMax"/>
        </c:scaling>
        <c:delete val="1"/>
        <c:axPos val="l"/>
        <c:numFmt formatCode="_ [$USD]\ * #,##0.00_ ;_ [$USD]\ * \-#,##0.00_ ;_ [$USD]\ * &quot;-&quot;??_ ;_ @_ " sourceLinked="1"/>
        <c:majorTickMark val="none"/>
        <c:minorTickMark val="none"/>
        <c:tickLblPos val="nextTo"/>
        <c:crossAx val="200536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 Causas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D3-479A-8830-CD4447CAA64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D3-479A-8830-CD4447CAA64D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rgbClr val="0070C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C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06598510849986"/>
                      <c:h val="0.148214493569927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EE28-4A18-AE94-856DE60BAA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uantía demandada</c:v>
                </c:pt>
                <c:pt idx="1">
                  <c:v>Monto fijado por el Tribunal</c:v>
                </c:pt>
                <c:pt idx="2">
                  <c:v>Diferencia (pago evitado)</c:v>
                </c:pt>
              </c:strCache>
            </c:strRef>
          </c:cat>
          <c:val>
            <c:numRef>
              <c:f>Hoja1!$B$2:$B$4</c:f>
              <c:numCache>
                <c:formatCode>_ [$USD]\ * #,##0.00_ ;_ [$USD]\ * \-#,##0.00_ ;_ [$USD]\ * "-"??_ ;_ @_ </c:formatCode>
                <c:ptCount val="3"/>
                <c:pt idx="0">
                  <c:v>4336203205.3800001</c:v>
                </c:pt>
                <c:pt idx="1">
                  <c:v>244706941.94</c:v>
                </c:pt>
                <c:pt idx="2">
                  <c:v>4091496263.44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D3-479A-8830-CD4447CAA6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4"/>
        <c:overlap val="-27"/>
        <c:axId val="2005365455"/>
        <c:axId val="2005365871"/>
      </c:barChart>
      <c:catAx>
        <c:axId val="2005365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2005365871"/>
        <c:crosses val="autoZero"/>
        <c:auto val="1"/>
        <c:lblAlgn val="ctr"/>
        <c:lblOffset val="100"/>
        <c:noMultiLvlLbl val="0"/>
      </c:catAx>
      <c:valAx>
        <c:axId val="2005365871"/>
        <c:scaling>
          <c:orientation val="minMax"/>
        </c:scaling>
        <c:delete val="1"/>
        <c:axPos val="l"/>
        <c:numFmt formatCode="_ [$USD]\ * #,##0.00_ ;_ [$USD]\ * \-#,##0.00_ ;_ [$USD]\ * &quot;-&quot;??_ ;_ @_ " sourceLinked="1"/>
        <c:majorTickMark val="none"/>
        <c:minorTickMark val="none"/>
        <c:tickLblPos val="nextTo"/>
        <c:crossAx val="200536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7759302272918E-2"/>
          <c:y val="2.0383894760453363E-2"/>
          <c:w val="0.61286136685666948"/>
          <c:h val="0.940945542376421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1F67B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3B5-496D-B5CE-31E3EF9E72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Desfavorables</c:v>
                </c:pt>
                <c:pt idx="1">
                  <c:v>Solución amistosa</c:v>
                </c:pt>
                <c:pt idx="2">
                  <c:v>Favorables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3B-4995-A78F-8C3B04B5B28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-894518720"/>
        <c:axId val="-894517632"/>
      </c:barChart>
      <c:catAx>
        <c:axId val="-8945187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-894517632"/>
        <c:crosses val="autoZero"/>
        <c:auto val="1"/>
        <c:lblAlgn val="ctr"/>
        <c:lblOffset val="100"/>
        <c:noMultiLvlLbl val="0"/>
      </c:catAx>
      <c:valAx>
        <c:axId val="-894517632"/>
        <c:scaling>
          <c:orientation val="minMax"/>
          <c:max val="15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-894518720"/>
        <c:crosses val="autoZero"/>
        <c:crossBetween val="between"/>
        <c:majorUnit val="3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830921608064186"/>
          <c:y val="0.15328598938573718"/>
          <c:w val="0.42205791454729463"/>
          <c:h val="0.74231287110419641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ausas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42-4F43-89D4-C2507D0A1E5F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42-4F43-89D4-C2507D0A1E5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21-4896-8295-015E004C1795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21-4896-8295-015E004C1795}"/>
              </c:ext>
            </c:extLst>
          </c:dPt>
          <c:dPt>
            <c:idx val="4"/>
            <c:bubble3D val="0"/>
            <c:spPr>
              <a:solidFill>
                <a:schemeClr val="accent1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B21-4896-8295-015E004C1795}"/>
              </c:ext>
            </c:extLst>
          </c:dPt>
          <c:dLbls>
            <c:dLbl>
              <c:idx val="0"/>
              <c:layout>
                <c:manualLayout>
                  <c:x val="1.8282381383688179E-2"/>
                  <c:y val="0"/>
                </c:manualLayout>
              </c:layout>
              <c:dLblPos val="bestFit"/>
              <c:showLegendKey val="1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642-4F43-89D4-C2507D0A1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Arbitrajes de inversión</c:v>
                </c:pt>
                <c:pt idx="1">
                  <c:v>Arbitrajes comerciales</c:v>
                </c:pt>
                <c:pt idx="2">
                  <c:v>Juicios sede extranjera</c:v>
                </c:pt>
                <c:pt idx="3">
                  <c:v>Juicios sede internacional</c:v>
                </c:pt>
                <c:pt idx="4">
                  <c:v>Notificaciones de controversia</c:v>
                </c:pt>
              </c:strCache>
            </c:strRef>
          </c:cat>
          <c:val>
            <c:numRef>
              <c:f>Hoja1!$B$2:$B$6</c:f>
              <c:numCache>
                <c:formatCode>0_);\(0\)</c:formatCode>
                <c:ptCount val="5"/>
                <c:pt idx="0">
                  <c:v>5</c:v>
                </c:pt>
                <c:pt idx="1">
                  <c:v>11</c:v>
                </c:pt>
                <c:pt idx="2">
                  <c:v>8</c:v>
                </c:pt>
                <c:pt idx="3">
                  <c:v>7</c:v>
                </c:pt>
                <c:pt idx="4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42-4F43-89D4-C2507D0A1E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2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004B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2D-4EB7-85ED-9B9526C68635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2D-4EB7-85ED-9B9526C68635}"/>
              </c:ext>
            </c:extLst>
          </c:dPt>
          <c:cat>
            <c:strRef>
              <c:f>Hoja1!$A$2:$A$3</c:f>
              <c:strCache>
                <c:ptCount val="2"/>
                <c:pt idx="0">
                  <c:v>Pago evitado</c:v>
                </c:pt>
                <c:pt idx="1">
                  <c:v>Decisión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93.4</c:v>
                </c:pt>
                <c:pt idx="1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2D-4EB7-85ED-9B9526C686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06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>
              <a:lumMod val="65000"/>
            </a:schemeClr>
          </a:solidFill>
        </a:defRPr>
      </a:pPr>
      <a:endParaRPr lang="es-EC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577292206263242"/>
          <c:y val="5.7027143111558085E-2"/>
          <c:w val="0.58909561258927867"/>
          <c:h val="0.860506406025749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7707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CF-46D7-B906-854A4B22477E}"/>
              </c:ext>
            </c:extLst>
          </c:dPt>
          <c:dPt>
            <c:idx val="1"/>
            <c:invertIfNegative val="0"/>
            <c:bubble3D val="0"/>
            <c:spPr>
              <a:solidFill>
                <a:srgbClr val="8AB0B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CF-46D7-B906-854A4B22477E}"/>
              </c:ext>
            </c:extLst>
          </c:dPt>
          <c:dPt>
            <c:idx val="2"/>
            <c:invertIfNegative val="0"/>
            <c:bubble3D val="0"/>
            <c:spPr>
              <a:solidFill>
                <a:srgbClr val="B1CBD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790-4CE7-AE36-E9E325E2DB6F}"/>
              </c:ext>
            </c:extLst>
          </c:dPt>
          <c:dPt>
            <c:idx val="3"/>
            <c:invertIfNegative val="0"/>
            <c:bubble3D val="0"/>
            <c:spPr>
              <a:solidFill>
                <a:srgbClr val="C9DBE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7AE-45B5-8D98-55714D7B1357}"/>
              </c:ext>
            </c:extLst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790-4CE7-AE36-E9E325E2DB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47707C"/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Comisión IDH</c:v>
                </c:pt>
                <c:pt idx="1">
                  <c:v>Medidas cautelares </c:v>
                </c:pt>
                <c:pt idx="2">
                  <c:v>Comisión ONU</c:v>
                </c:pt>
                <c:pt idx="3">
                  <c:v>Medidas provisionales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39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CF-46D7-B906-854A4B22477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4"/>
        <c:axId val="-894510560"/>
        <c:axId val="-894515456"/>
      </c:barChart>
      <c:catAx>
        <c:axId val="-894510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rgbClr val="47707C"/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-894515456"/>
        <c:crosses val="autoZero"/>
        <c:auto val="1"/>
        <c:lblAlgn val="ctr"/>
        <c:lblOffset val="100"/>
        <c:noMultiLvlLbl val="0"/>
      </c:catAx>
      <c:valAx>
        <c:axId val="-894515456"/>
        <c:scaling>
          <c:orientation val="minMax"/>
          <c:min val="0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894510560"/>
        <c:crosses val="autoZero"/>
        <c:crossBetween val="between"/>
      </c:valAx>
      <c:spPr>
        <a:noFill/>
        <a:ln w="25400">
          <a:noFill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775</cdr:x>
      <cdr:y>0.66875</cdr:y>
    </cdr:from>
    <cdr:to>
      <cdr:x>0.18227</cdr:x>
      <cdr:y>0.79766</cdr:y>
    </cdr:to>
    <cdr:sp macro="" textlink="">
      <cdr:nvSpPr>
        <cdr:cNvPr id="2" name="CuadroTexto 1"/>
        <cdr:cNvSpPr txBox="1"/>
      </cdr:nvSpPr>
      <cdr:spPr>
        <a:xfrm xmlns:a="http://schemas.openxmlformats.org/drawingml/2006/main">
          <a:off x="1473200" y="3623734"/>
          <a:ext cx="628650" cy="698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s-EC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5687</cdr:x>
      <cdr:y>0.26637</cdr:y>
    </cdr:from>
    <cdr:to>
      <cdr:x>0.64113</cdr:x>
      <cdr:y>0.78577</cdr:y>
    </cdr:to>
    <cdr:sp macro="" textlink="">
      <cdr:nvSpPr>
        <cdr:cNvPr id="2" name="Elipse 1"/>
        <cdr:cNvSpPr/>
      </cdr:nvSpPr>
      <cdr:spPr>
        <a:xfrm xmlns:a="http://schemas.openxmlformats.org/drawingml/2006/main">
          <a:off x="3424352" y="1453239"/>
          <a:ext cx="2727593" cy="283368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EC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2775</cdr:x>
      <cdr:y>0.66875</cdr:y>
    </cdr:from>
    <cdr:to>
      <cdr:x>0.18227</cdr:x>
      <cdr:y>0.79766</cdr:y>
    </cdr:to>
    <cdr:sp macro="" textlink="">
      <cdr:nvSpPr>
        <cdr:cNvPr id="2" name="CuadroTexto 1"/>
        <cdr:cNvSpPr txBox="1"/>
      </cdr:nvSpPr>
      <cdr:spPr>
        <a:xfrm xmlns:a="http://schemas.openxmlformats.org/drawingml/2006/main">
          <a:off x="1473200" y="3623734"/>
          <a:ext cx="628650" cy="698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s-EC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51746A5-B203-38F7-E891-A33A53C3D5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408" cy="502857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9901503-06A9-D8D4-DCD1-76209307A7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1147" y="0"/>
            <a:ext cx="2985408" cy="502857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r">
              <a:defRPr sz="1200"/>
            </a:lvl1pPr>
          </a:lstStyle>
          <a:p>
            <a:fld id="{92AD6900-F412-443E-A409-190050A880D4}" type="datetimeFigureOut">
              <a:rPr lang="es-EC" smtClean="0"/>
              <a:t>12/5/2026</a:t>
            </a:fld>
            <a:endParaRPr lang="es-EC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FE85DA5-9AA7-5616-3DBB-E1ED644614E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5857"/>
            <a:ext cx="2985408" cy="502857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5D4805C-6613-877E-E448-8BEED08919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1147" y="9515857"/>
            <a:ext cx="2985408" cy="502857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r">
              <a:defRPr sz="1200"/>
            </a:lvl1pPr>
          </a:lstStyle>
          <a:p>
            <a:fld id="{D52327B7-1C10-4833-B06E-9A52CF9A8114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712548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06897" units="1/cm"/>
          <inkml:channelProperty channel="T" name="resolution" value="1" units="1/dev"/>
        </inkml:channelProperties>
      </inkml:inkSource>
      <inkml:timestamp xml:id="ts0" timeString="2023-01-17T22:23:27.977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5734 13406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6T16:53:07.8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123.87096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3-03T23:26:23.35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3318 9133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03.55987" units="1/cm"/>
          <inkml:channelProperty channel="Y" name="resolution" value="62.06897" units="1/cm"/>
          <inkml:channelProperty channel="T" name="resolution" value="1" units="1/dev"/>
        </inkml:channelProperties>
      </inkml:inkSource>
      <inkml:timestamp xml:id="ts0" timeString="2021-05-12T17:34:25.30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4887 5944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03.55987" units="1/cm"/>
          <inkml:channelProperty channel="Y" name="resolution" value="62.06897" units="1/cm"/>
          <inkml:channelProperty channel="T" name="resolution" value="1" units="1/dev"/>
        </inkml:channelProperties>
      </inkml:inkSource>
      <inkml:timestamp xml:id="ts0" timeString="2021-05-12T17:34:25.30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4887 5944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03.55987" units="1/cm"/>
          <inkml:channelProperty channel="Y" name="resolution" value="62.06897" units="1/cm"/>
          <inkml:channelProperty channel="T" name="resolution" value="1" units="1/dev"/>
        </inkml:channelProperties>
      </inkml:inkSource>
      <inkml:timestamp xml:id="ts0" timeString="2021-05-12T17:34:25.30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4887 5944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11.62791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6-01-14T15:25:00.47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317 5468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11.62791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6-01-14T15:24:00.45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6352 1090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6T16:53:07.82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6T16:53:07.82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4871" cy="502676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01699" y="1"/>
            <a:ext cx="2984871" cy="502676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r">
              <a:defRPr sz="1200"/>
            </a:lvl1pPr>
          </a:lstStyle>
          <a:p>
            <a:fld id="{B35368D6-19B1-48A9-92DC-1851932DCE32}" type="datetimeFigureOut">
              <a:rPr lang="es-EC" smtClean="0"/>
              <a:t>12/5/2026</a:t>
            </a:fld>
            <a:endParaRPr lang="es-EC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98" tIns="46049" rIns="92098" bIns="46049" rtlCol="0" anchor="ctr"/>
          <a:lstStyle/>
          <a:p>
            <a:endParaRPr lang="es-EC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9"/>
          </a:xfrm>
          <a:prstGeom prst="rect">
            <a:avLst/>
          </a:prstGeom>
        </p:spPr>
        <p:txBody>
          <a:bodyPr vert="horz" lIns="92098" tIns="46049" rIns="92098" bIns="46049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516040"/>
            <a:ext cx="2984871" cy="502675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01699" y="9516040"/>
            <a:ext cx="2984871" cy="502675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r">
              <a:defRPr sz="1200"/>
            </a:lvl1pPr>
          </a:lstStyle>
          <a:p>
            <a:fld id="{DBEF25AA-C3FE-401C-8D62-6C7A6B31F941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501949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897A7-8E23-6EAE-FB5B-AB920C6F2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9E4BC32-D767-3FAE-085A-C117627BD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EC08E8A-8CCB-5AEE-2F9B-054156EE8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8386B65-3E07-D467-3818-F7FDBB6D86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5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816080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34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9997877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NUMERO DE INSTITUCIONES</a:t>
            </a:r>
            <a:r>
              <a:rPr lang="es-ES" baseline="0" dirty="0"/>
              <a:t> </a:t>
            </a:r>
          </a:p>
          <a:p>
            <a:r>
              <a:rPr lang="es-ES" baseline="0" dirty="0"/>
              <a:t>Y MAPA ALE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35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763383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37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042843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43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410933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ABAB3-B9E9-795C-8DC6-ED6B15D55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E2769C4-425B-6A66-5D4B-32B6D1032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A3D0247-CDCA-8503-D7FD-6D192FE0F6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81CBA3E-292A-2421-AADC-E7013B57DF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44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435046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0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202619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6E2ADF-7E5B-2D33-03BE-D7D93F4F2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DF76F3D-E1DE-CDF2-238B-A9EF7B05E3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01D3F0C-94DB-C317-DF4F-0A6F1F527A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GLP demanda USD 50 000 </a:t>
            </a:r>
          </a:p>
          <a:p>
            <a:r>
              <a:rPr lang="es-EC" dirty="0"/>
              <a:t>Oxy workers</a:t>
            </a:r>
          </a:p>
          <a:p>
            <a:endParaRPr lang="es-ES" dirty="0"/>
          </a:p>
          <a:p>
            <a:endParaRPr lang="es-ES" dirty="0"/>
          </a:p>
          <a:p>
            <a:r>
              <a:rPr lang="es-ES" dirty="0"/>
              <a:t>USD 508469901 demanda</a:t>
            </a:r>
          </a:p>
          <a:p>
            <a:r>
              <a:rPr lang="es-ES" dirty="0"/>
              <a:t>Decisiòn USD 105786068,41</a:t>
            </a:r>
          </a:p>
          <a:p>
            <a:r>
              <a:rPr lang="es-ES" dirty="0"/>
              <a:t>Pago Evitado 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C232D2F-665D-5FAF-C83E-6AC661C7CD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2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03537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23DB5-7B96-DF04-1381-71EBDF68D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B4C31D8-B120-1ABB-0A51-0EFB82A4E0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F65D856-374A-D155-B7B6-24A7DFBFC5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C4E5C9F-ED5B-EC18-1647-5FE11B15AF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6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137569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8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4118147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22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94694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23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011122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C91164-518B-7B15-04DF-D54E06789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DEE1B4C-B07A-2485-7E8F-C600949B93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2C74DED-F726-4429-3BC3-AEB3B142DF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NUMERO DE INSTITUCIONES</a:t>
            </a:r>
            <a:r>
              <a:rPr lang="es-ES" baseline="0" dirty="0"/>
              <a:t> </a:t>
            </a:r>
          </a:p>
          <a:p>
            <a:r>
              <a:rPr lang="es-ES" baseline="0" dirty="0"/>
              <a:t>Y MAPA ALE</a:t>
            </a:r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4BEA2F7-9DBC-0E07-F210-24E8672676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30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5799700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porcentajes</a:t>
            </a:r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32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10651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68398AD-5EEE-3406-9044-FC64CE667E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9968" y="0"/>
            <a:ext cx="11532032" cy="6858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AF2BF72-4341-F2E5-1740-B8CB6DAF25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b="5346"/>
          <a:stretch>
            <a:fillRect/>
          </a:stretch>
        </p:blipFill>
        <p:spPr>
          <a:xfrm>
            <a:off x="1204797" y="2158746"/>
            <a:ext cx="4393220" cy="2845943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6880135F-1D4F-8A1F-AC9D-EC55F5EBA550}"/>
              </a:ext>
            </a:extLst>
          </p:cNvPr>
          <p:cNvSpPr txBox="1"/>
          <p:nvPr userDrawn="1"/>
        </p:nvSpPr>
        <p:spPr>
          <a:xfrm>
            <a:off x="1204797" y="5051127"/>
            <a:ext cx="38610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C" sz="2100" dirty="0">
                <a:solidFill>
                  <a:schemeClr val="bg1">
                    <a:lumMod val="50000"/>
                  </a:schemeClr>
                </a:solidFill>
                <a:latin typeface="Sansation" panose="02000000000000000000" pitchFamily="2" charset="0"/>
              </a:rPr>
              <a:t>Defendemos al Estado</a:t>
            </a:r>
          </a:p>
          <a:p>
            <a:pPr algn="l"/>
            <a:r>
              <a:rPr lang="es-EC" sz="2100" dirty="0">
                <a:solidFill>
                  <a:schemeClr val="bg1">
                    <a:lumMod val="50000"/>
                  </a:schemeClr>
                </a:solidFill>
                <a:latin typeface="Sansation" panose="02000000000000000000" pitchFamily="2" charset="0"/>
              </a:rPr>
              <a:t>para proteger tus derechos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8C69E1FE-E293-FBCE-0562-F63BB89DC4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04797" y="1043205"/>
            <a:ext cx="3767702" cy="94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968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00F6-22EE-45D6-8B3E-752AF19A8514}" type="datetime1">
              <a:rPr lang="es-EC" smtClean="0"/>
              <a:t>12/5/2026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591925" y="6356350"/>
            <a:ext cx="5040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2208E91A-DAFD-4AF0-9AC2-C8BC7DC50E29}" type="slidenum">
              <a:rPr lang="es-EC" smtClean="0"/>
              <a:pPr/>
              <a:t>‹Nº›</a:t>
            </a:fld>
            <a:endParaRPr lang="es-EC" dirty="0"/>
          </a:p>
        </p:txBody>
      </p:sp>
      <p:pic>
        <p:nvPicPr>
          <p:cNvPr id="3" name="Imagen 2" descr="Forma&#10;&#10;Descripción generada automáticamente">
            <a:extLst>
              <a:ext uri="{FF2B5EF4-FFF2-40B4-BE49-F238E27FC236}">
                <a16:creationId xmlns:a16="http://schemas.microsoft.com/office/drawing/2014/main" id="{412FCB92-363C-D90A-DC23-85541A973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7" r="3779" b="12259"/>
          <a:stretch>
            <a:fillRect/>
          </a:stretch>
        </p:blipFill>
        <p:spPr>
          <a:xfrm>
            <a:off x="-2" y="0"/>
            <a:ext cx="12192002" cy="6858000"/>
          </a:xfrm>
          <a:prstGeom prst="rect">
            <a:avLst/>
          </a:prstGeom>
        </p:spPr>
      </p:pic>
      <p:sp>
        <p:nvSpPr>
          <p:cNvPr id="8" name="Triángulo rectángulo 7">
            <a:extLst>
              <a:ext uri="{FF2B5EF4-FFF2-40B4-BE49-F238E27FC236}">
                <a16:creationId xmlns:a16="http://schemas.microsoft.com/office/drawing/2014/main" id="{92D69C78-CD85-97B3-DC9D-56C82354131B}"/>
              </a:ext>
            </a:extLst>
          </p:cNvPr>
          <p:cNvSpPr/>
          <p:nvPr userDrawn="1"/>
        </p:nvSpPr>
        <p:spPr>
          <a:xfrm>
            <a:off x="0" y="5532120"/>
            <a:ext cx="1386840" cy="1325880"/>
          </a:xfrm>
          <a:prstGeom prst="rtTriangle">
            <a:avLst/>
          </a:prstGeom>
          <a:solidFill>
            <a:srgbClr val="1F67A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pic>
        <p:nvPicPr>
          <p:cNvPr id="10" name="Imagen 9" descr="Gráfico, Gráfico de embudo&#10;&#10;El contenido generado por IA puede ser incorrecto.">
            <a:extLst>
              <a:ext uri="{FF2B5EF4-FFF2-40B4-BE49-F238E27FC236}">
                <a16:creationId xmlns:a16="http://schemas.microsoft.com/office/drawing/2014/main" id="{216D3D08-10BD-B57C-BF5E-C92A90530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4283" t="13475" r="55586" b="14656"/>
          <a:stretch>
            <a:fillRect/>
          </a:stretch>
        </p:blipFill>
        <p:spPr>
          <a:xfrm>
            <a:off x="10370916" y="4546034"/>
            <a:ext cx="1821084" cy="2311965"/>
          </a:xfrm>
          <a:custGeom>
            <a:avLst/>
            <a:gdLst>
              <a:gd name="csX0" fmla="*/ 3295839 w 3295839"/>
              <a:gd name="csY0" fmla="*/ 509733 h 4184248"/>
              <a:gd name="csX1" fmla="*/ 3295839 w 3295839"/>
              <a:gd name="csY1" fmla="*/ 4184248 h 4184248"/>
              <a:gd name="csX2" fmla="*/ 0 w 3295839"/>
              <a:gd name="csY2" fmla="*/ 4184248 h 4184248"/>
              <a:gd name="csX3" fmla="*/ 3066480 w 3295839"/>
              <a:gd name="csY3" fmla="*/ 0 h 4184248"/>
              <a:gd name="csX4" fmla="*/ 3295839 w 3295839"/>
              <a:gd name="csY4" fmla="*/ 0 h 4184248"/>
              <a:gd name="csX5" fmla="*/ 3295839 w 3295839"/>
              <a:gd name="csY5" fmla="*/ 3 h 4184248"/>
              <a:gd name="csX6" fmla="*/ 3066477 w 3295839"/>
              <a:gd name="csY6" fmla="*/ 3 h 41842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295839" h="4184248">
                <a:moveTo>
                  <a:pt x="3295839" y="509733"/>
                </a:moveTo>
                <a:lnTo>
                  <a:pt x="3295839" y="4184248"/>
                </a:lnTo>
                <a:lnTo>
                  <a:pt x="0" y="4184248"/>
                </a:lnTo>
                <a:close/>
                <a:moveTo>
                  <a:pt x="3066480" y="0"/>
                </a:moveTo>
                <a:lnTo>
                  <a:pt x="3295839" y="0"/>
                </a:lnTo>
                <a:lnTo>
                  <a:pt x="3295839" y="3"/>
                </a:lnTo>
                <a:lnTo>
                  <a:pt x="3066477" y="3"/>
                </a:lnTo>
                <a:close/>
              </a:path>
            </a:pathLst>
          </a:custGeom>
        </p:spPr>
      </p:pic>
      <p:pic>
        <p:nvPicPr>
          <p:cNvPr id="11" name="Imagen 10" descr="Gráfico, Gráfico de embudo&#10;&#10;El contenido generado por IA puede ser incorrecto.">
            <a:extLst>
              <a:ext uri="{FF2B5EF4-FFF2-40B4-BE49-F238E27FC236}">
                <a16:creationId xmlns:a16="http://schemas.microsoft.com/office/drawing/2014/main" id="{E7C0B7EC-76B9-7F4E-D79A-C36062EEC3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612" t="19670" r="55586" b="14657"/>
          <a:stretch>
            <a:fillRect/>
          </a:stretch>
        </p:blipFill>
        <p:spPr>
          <a:xfrm flipH="1" flipV="1">
            <a:off x="-2" y="-3"/>
            <a:ext cx="717632" cy="997507"/>
          </a:xfrm>
          <a:custGeom>
            <a:avLst/>
            <a:gdLst>
              <a:gd name="csX0" fmla="*/ 3295839 w 3295839"/>
              <a:gd name="csY0" fmla="*/ 509733 h 4184248"/>
              <a:gd name="csX1" fmla="*/ 3295839 w 3295839"/>
              <a:gd name="csY1" fmla="*/ 4184248 h 4184248"/>
              <a:gd name="csX2" fmla="*/ 0 w 3295839"/>
              <a:gd name="csY2" fmla="*/ 4184248 h 4184248"/>
              <a:gd name="csX3" fmla="*/ 3066480 w 3295839"/>
              <a:gd name="csY3" fmla="*/ 0 h 4184248"/>
              <a:gd name="csX4" fmla="*/ 3295839 w 3295839"/>
              <a:gd name="csY4" fmla="*/ 0 h 4184248"/>
              <a:gd name="csX5" fmla="*/ 3295839 w 3295839"/>
              <a:gd name="csY5" fmla="*/ 3 h 4184248"/>
              <a:gd name="csX6" fmla="*/ 3066477 w 3295839"/>
              <a:gd name="csY6" fmla="*/ 3 h 418424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</a:cxnLst>
            <a:rect l="l" t="t" r="r" b="b"/>
            <a:pathLst>
              <a:path w="3295839" h="4184248">
                <a:moveTo>
                  <a:pt x="3295839" y="509733"/>
                </a:moveTo>
                <a:lnTo>
                  <a:pt x="3295839" y="4184248"/>
                </a:lnTo>
                <a:lnTo>
                  <a:pt x="0" y="4184248"/>
                </a:lnTo>
                <a:close/>
                <a:moveTo>
                  <a:pt x="3066480" y="0"/>
                </a:moveTo>
                <a:lnTo>
                  <a:pt x="3295839" y="0"/>
                </a:lnTo>
                <a:lnTo>
                  <a:pt x="3295839" y="3"/>
                </a:lnTo>
                <a:lnTo>
                  <a:pt x="3066477" y="3"/>
                </a:lnTo>
                <a:close/>
              </a:path>
            </a:pathLst>
          </a:custGeom>
        </p:spPr>
      </p:pic>
      <p:pic>
        <p:nvPicPr>
          <p:cNvPr id="12" name="Imagen 11" descr="Texto&#10;&#10;Descripción generada automáticamente con confianza baja">
            <a:extLst>
              <a:ext uri="{FF2B5EF4-FFF2-40B4-BE49-F238E27FC236}">
                <a16:creationId xmlns:a16="http://schemas.microsoft.com/office/drawing/2014/main" id="{9AD65851-3EB9-85D1-A6FD-EC94F8A42C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6098" y="136525"/>
            <a:ext cx="2169827" cy="54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46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548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 descr="Logotipo&#10;&#10;Descripción generada automáticamente">
            <a:extLst>
              <a:ext uri="{FF2B5EF4-FFF2-40B4-BE49-F238E27FC236}">
                <a16:creationId xmlns:a16="http://schemas.microsoft.com/office/drawing/2014/main" id="{CAFDC1FD-F9F2-02A0-0B9C-F39430358B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341" y="109244"/>
            <a:ext cx="1336241" cy="806560"/>
          </a:xfrm>
          <a:prstGeom prst="rect">
            <a:avLst/>
          </a:prstGeom>
        </p:spPr>
      </p:pic>
      <p:pic>
        <p:nvPicPr>
          <p:cNvPr id="2" name="Imagen 1" descr="Gráfico, Gráfico de embudo&#10;&#10;El contenido generado por IA puede ser incorrecto.">
            <a:extLst>
              <a:ext uri="{FF2B5EF4-FFF2-40B4-BE49-F238E27FC236}">
                <a16:creationId xmlns:a16="http://schemas.microsoft.com/office/drawing/2014/main" id="{EAD93E90-9896-7AA4-AFAB-184B46A7D0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1299" t="13475" r="55586" b="14656"/>
          <a:stretch>
            <a:fillRect/>
          </a:stretch>
        </p:blipFill>
        <p:spPr>
          <a:xfrm rot="10800000">
            <a:off x="-1" y="0"/>
            <a:ext cx="532435" cy="588688"/>
          </a:xfrm>
          <a:custGeom>
            <a:avLst/>
            <a:gdLst>
              <a:gd name="csX0" fmla="*/ 4251960 w 4526280"/>
              <a:gd name="csY0" fmla="*/ 0 h 6858000"/>
              <a:gd name="csX1" fmla="*/ 4526280 w 4526280"/>
              <a:gd name="csY1" fmla="*/ 0 h 6858000"/>
              <a:gd name="csX2" fmla="*/ 4526280 w 4526280"/>
              <a:gd name="csY2" fmla="*/ 6858000 h 6858000"/>
              <a:gd name="csX3" fmla="*/ 0 w 4526280"/>
              <a:gd name="csY3" fmla="*/ 6858000 h 6858000"/>
              <a:gd name="csX4" fmla="*/ 4251960 w 4526280"/>
              <a:gd name="csY4" fmla="*/ 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526280" h="6858000">
                <a:moveTo>
                  <a:pt x="4251960" y="0"/>
                </a:moveTo>
                <a:lnTo>
                  <a:pt x="4526280" y="0"/>
                </a:lnTo>
                <a:lnTo>
                  <a:pt x="4526280" y="6858000"/>
                </a:lnTo>
                <a:lnTo>
                  <a:pt x="0" y="6858000"/>
                </a:lnTo>
                <a:lnTo>
                  <a:pt x="4251960" y="0"/>
                </a:lnTo>
                <a:close/>
              </a:path>
            </a:pathLst>
          </a:custGeom>
        </p:spPr>
      </p:pic>
      <p:pic>
        <p:nvPicPr>
          <p:cNvPr id="3" name="Imagen 2" descr="Gráfico, Gráfico de embudo&#10;&#10;El contenido generado por IA puede ser incorrecto.">
            <a:extLst>
              <a:ext uri="{FF2B5EF4-FFF2-40B4-BE49-F238E27FC236}">
                <a16:creationId xmlns:a16="http://schemas.microsoft.com/office/drawing/2014/main" id="{70324B08-0A03-D884-448F-5B851CC125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1299" t="13475" r="55586" b="14656"/>
          <a:stretch>
            <a:fillRect/>
          </a:stretch>
        </p:blipFill>
        <p:spPr>
          <a:xfrm>
            <a:off x="10855759" y="5380584"/>
            <a:ext cx="1336241" cy="1477416"/>
          </a:xfrm>
          <a:custGeom>
            <a:avLst/>
            <a:gdLst>
              <a:gd name="csX0" fmla="*/ 4251960 w 4526280"/>
              <a:gd name="csY0" fmla="*/ 0 h 6858000"/>
              <a:gd name="csX1" fmla="*/ 4526280 w 4526280"/>
              <a:gd name="csY1" fmla="*/ 0 h 6858000"/>
              <a:gd name="csX2" fmla="*/ 4526280 w 4526280"/>
              <a:gd name="csY2" fmla="*/ 6858000 h 6858000"/>
              <a:gd name="csX3" fmla="*/ 0 w 4526280"/>
              <a:gd name="csY3" fmla="*/ 6858000 h 6858000"/>
              <a:gd name="csX4" fmla="*/ 4251960 w 4526280"/>
              <a:gd name="csY4" fmla="*/ 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526280" h="6858000">
                <a:moveTo>
                  <a:pt x="4251960" y="0"/>
                </a:moveTo>
                <a:lnTo>
                  <a:pt x="4526280" y="0"/>
                </a:lnTo>
                <a:lnTo>
                  <a:pt x="4526280" y="6858000"/>
                </a:lnTo>
                <a:lnTo>
                  <a:pt x="0" y="6858000"/>
                </a:lnTo>
                <a:lnTo>
                  <a:pt x="4251960" y="0"/>
                </a:lnTo>
                <a:close/>
              </a:path>
            </a:pathLst>
          </a:cu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992F2A9-63EE-5D31-D3BF-EBC656079D8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382012" y="280532"/>
            <a:ext cx="2196000" cy="46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20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 dirty="0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8510" y="15240"/>
            <a:ext cx="1238250" cy="80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6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374682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1F4187-4A8A-F1A9-A3B7-5717EE4D2D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2002" y="0"/>
            <a:ext cx="11429998" cy="68580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2E946EE5-4AD0-5DB9-6A8F-15CBF2A7DF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4001" y="2207728"/>
            <a:ext cx="2520000" cy="152814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47419688-E505-01F0-573D-0F7745213DBC}"/>
              </a:ext>
            </a:extLst>
          </p:cNvPr>
          <p:cNvSpPr txBox="1"/>
          <p:nvPr userDrawn="1"/>
        </p:nvSpPr>
        <p:spPr>
          <a:xfrm>
            <a:off x="853496" y="3884140"/>
            <a:ext cx="3861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800" dirty="0">
                <a:solidFill>
                  <a:schemeClr val="bg1">
                    <a:lumMod val="50000"/>
                  </a:schemeClr>
                </a:solidFill>
                <a:latin typeface="Sansation" panose="02000000000000000000" pitchFamily="2" charset="0"/>
              </a:rPr>
              <a:t>Defendemos al Estado</a:t>
            </a:r>
          </a:p>
          <a:p>
            <a:pPr algn="ctr"/>
            <a:r>
              <a:rPr lang="es-EC" sz="1800" dirty="0">
                <a:solidFill>
                  <a:schemeClr val="bg1">
                    <a:lumMod val="50000"/>
                  </a:schemeClr>
                </a:solidFill>
                <a:latin typeface="Sansation" panose="02000000000000000000" pitchFamily="2" charset="0"/>
              </a:rPr>
              <a:t>para proteger tus derechos</a:t>
            </a:r>
          </a:p>
        </p:txBody>
      </p:sp>
    </p:spTree>
    <p:extLst>
      <p:ext uri="{BB962C8B-B14F-4D97-AF65-F5344CB8AC3E}">
        <p14:creationId xmlns:p14="http://schemas.microsoft.com/office/powerpoint/2010/main" val="1044255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836FAA-293A-488C-A537-9FD282F0F81B}" type="datetime1">
              <a:rPr lang="es-EC" smtClean="0"/>
              <a:t>12/5/2026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08E91A-DAFD-4AF0-9AC2-C8BC7DC50E29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68316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00" r:id="rId2"/>
    <p:sldLayoutId id="2147483701" r:id="rId3"/>
    <p:sldLayoutId id="2147483660" r:id="rId4"/>
    <p:sldLayoutId id="2147483691" r:id="rId5"/>
    <p:sldLayoutId id="2147483699" r:id="rId6"/>
    <p:sldLayoutId id="2147483702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0.png"/><Relationship Id="rId4" Type="http://schemas.openxmlformats.org/officeDocument/2006/relationships/customXml" Target="../ink/ink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3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ustomXml" Target="../ink/ink4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4.xml"/><Relationship Id="rId4" Type="http://schemas.openxmlformats.org/officeDocument/2006/relationships/image" Target="../media/image26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5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1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customXml" Target="../ink/ink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microsoft.com/office/2007/relationships/hdphoto" Target="../media/hdphoto5.wdp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170.png"/><Relationship Id="rId4" Type="http://schemas.openxmlformats.org/officeDocument/2006/relationships/customXml" Target="../ink/ink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45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microsoft.com/office/2007/relationships/hdphoto" Target="../media/hdphoto7.wdp"/><Relationship Id="rId5" Type="http://schemas.openxmlformats.org/officeDocument/2006/relationships/image" Target="../media/image46.png"/><Relationship Id="rId10" Type="http://schemas.openxmlformats.org/officeDocument/2006/relationships/image" Target="../media/image170.png"/><Relationship Id="rId4" Type="http://schemas.microsoft.com/office/2007/relationships/hdphoto" Target="../media/hdphoto6.wdp"/><Relationship Id="rId9" Type="http://schemas.openxmlformats.org/officeDocument/2006/relationships/customXml" Target="../ink/ink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ustomXml" Target="../ink/ink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4.xml"/><Relationship Id="rId4" Type="http://schemas.openxmlformats.org/officeDocument/2006/relationships/image" Target="../media/image28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customXml" Target="../ink/ink9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1.png"/><Relationship Id="rId5" Type="http://schemas.openxmlformats.org/officeDocument/2006/relationships/customXml" Target="../ink/ink10.xml"/><Relationship Id="rId4" Type="http://schemas.openxmlformats.org/officeDocument/2006/relationships/image" Target="../media/image270.png"/><Relationship Id="rId9" Type="http://schemas.openxmlformats.org/officeDocument/2006/relationships/image" Target="../media/image57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sv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4.png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6.jpeg"/><Relationship Id="rId7" Type="http://schemas.openxmlformats.org/officeDocument/2006/relationships/image" Target="../media/image70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9.jpeg"/><Relationship Id="rId11" Type="http://schemas.openxmlformats.org/officeDocument/2006/relationships/image" Target="../media/image74.jpeg"/><Relationship Id="rId5" Type="http://schemas.openxmlformats.org/officeDocument/2006/relationships/image" Target="../media/image68.jpeg"/><Relationship Id="rId10" Type="http://schemas.openxmlformats.org/officeDocument/2006/relationships/image" Target="../media/image73.jpeg"/><Relationship Id="rId4" Type="http://schemas.openxmlformats.org/officeDocument/2006/relationships/image" Target="../media/image67.jpeg"/><Relationship Id="rId9" Type="http://schemas.openxmlformats.org/officeDocument/2006/relationships/image" Target="../media/image72.jpeg"/></Relationships>
</file>

<file path=ppt/slides/_rels/slide49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5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microsoft.com/office/2007/relationships/hdphoto" Target="../media/hdphoto2.wdp"/><Relationship Id="rId4" Type="http://schemas.openxmlformats.org/officeDocument/2006/relationships/image" Target="../media/image27.png"/><Relationship Id="rId9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67C2082-71E9-5985-A773-60EEC2E701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1</a:t>
            </a:fld>
            <a:endParaRPr lang="es-EC" dirty="0"/>
          </a:p>
        </p:txBody>
      </p:sp>
      <p:pic>
        <p:nvPicPr>
          <p:cNvPr id="3" name="LoopRC2025_02_low">
            <a:hlinkClick r:id="" action="ppaction://media"/>
            <a:extLst>
              <a:ext uri="{FF2B5EF4-FFF2-40B4-BE49-F238E27FC236}">
                <a16:creationId xmlns:a16="http://schemas.microsoft.com/office/drawing/2014/main" id="{794C3FEE-5FF5-217A-DC05-C68B2F3F63C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625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0</a:t>
            </a:fld>
            <a:endParaRPr lang="es-EC" dirty="0"/>
          </a:p>
        </p:txBody>
      </p:sp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127265244"/>
              </p:ext>
            </p:extLst>
          </p:nvPr>
        </p:nvGraphicFramePr>
        <p:xfrm>
          <a:off x="4271469" y="1299152"/>
          <a:ext cx="7698315" cy="4861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ángulo 5"/>
          <p:cNvSpPr/>
          <p:nvPr/>
        </p:nvSpPr>
        <p:spPr>
          <a:xfrm>
            <a:off x="499619" y="2530948"/>
            <a:ext cx="3168000" cy="756000"/>
          </a:xfrm>
          <a:prstGeom prst="rect">
            <a:avLst/>
          </a:prstGeom>
          <a:solidFill>
            <a:srgbClr val="1F67B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400" dirty="0">
                <a:solidFill>
                  <a:schemeClr val="bg1"/>
                </a:solidFill>
              </a:rPr>
              <a:t>Enero a diciembre 2025</a:t>
            </a:r>
            <a:endParaRPr lang="es-EC" sz="1400" b="1" dirty="0">
              <a:solidFill>
                <a:schemeClr val="bg1"/>
              </a:solidFill>
            </a:endParaRPr>
          </a:p>
          <a:p>
            <a:pPr algn="ctr"/>
            <a:r>
              <a:rPr lang="es-EC" sz="2000" b="1" dirty="0">
                <a:solidFill>
                  <a:schemeClr val="bg1"/>
                </a:solidFill>
              </a:rPr>
              <a:t>11.978 causas terminadas</a:t>
            </a:r>
            <a:endParaRPr lang="es-EC" sz="2000" dirty="0">
              <a:solidFill>
                <a:schemeClr val="bg1"/>
              </a:solidFill>
            </a:endParaRPr>
          </a:p>
        </p:txBody>
      </p:sp>
      <p:sp>
        <p:nvSpPr>
          <p:cNvPr id="10" name="Llamada rectangular 9"/>
          <p:cNvSpPr/>
          <p:nvPr/>
        </p:nvSpPr>
        <p:spPr>
          <a:xfrm>
            <a:off x="499618" y="4223909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rgbClr val="47707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chemeClr val="bg1"/>
                </a:solidFill>
              </a:rPr>
              <a:t>Enero a diciembre 2025</a:t>
            </a:r>
            <a:endParaRPr lang="es-EC" sz="1600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21.183 causas nueva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3949206" y="2610239"/>
            <a:ext cx="619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600" dirty="0">
                <a:solidFill>
                  <a:srgbClr val="0070C0"/>
                </a:solidFill>
                <a:sym typeface="Wingdings" panose="05000000000000000000" pitchFamily="2" charset="2"/>
              </a:rPr>
              <a:t></a:t>
            </a:r>
            <a:endParaRPr lang="es-EC" sz="2400" dirty="0">
              <a:solidFill>
                <a:srgbClr val="0070C0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6816137" y="2379757"/>
            <a:ext cx="2678889" cy="2600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8" name="Rectángulo 7"/>
          <p:cNvSpPr/>
          <p:nvPr/>
        </p:nvSpPr>
        <p:spPr>
          <a:xfrm>
            <a:off x="7085026" y="3314312"/>
            <a:ext cx="21411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C" sz="3400" b="1" dirty="0">
                <a:solidFill>
                  <a:srgbClr val="1F67B0"/>
                </a:solidFill>
                <a:latin typeface="Montserrat" panose="02000505000000020004" pitchFamily="2" charset="0"/>
              </a:rPr>
              <a:t>11.978</a:t>
            </a:r>
          </a:p>
          <a:p>
            <a:pPr algn="ctr"/>
            <a:r>
              <a:rPr lang="es-EC" sz="1400" dirty="0">
                <a:solidFill>
                  <a:srgbClr val="1F67B0"/>
                </a:solidFill>
                <a:latin typeface="Montserrat" panose="02000505000000020004" pitchFamily="2" charset="0"/>
              </a:rPr>
              <a:t>sentencias en 2025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Entrada de lápiz 1"/>
              <p14:cNvContentPartPr/>
              <p14:nvPr/>
            </p14:nvContentPartPr>
            <p14:xfrm>
              <a:off x="8394480" y="3679833"/>
              <a:ext cx="360" cy="360"/>
            </p14:xfrm>
          </p:contentPart>
        </mc:Choice>
        <mc:Fallback xmlns="">
          <p:pic>
            <p:nvPicPr>
              <p:cNvPr id="2" name="Entrada de lápiz 1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85120" y="3670473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14" name="Llamada rectangular 8">
            <a:extLst>
              <a:ext uri="{FF2B5EF4-FFF2-40B4-BE49-F238E27FC236}">
                <a16:creationId xmlns:a16="http://schemas.microsoft.com/office/drawing/2014/main" id="{8F17EB0D-3963-4E09-8C8D-161365005261}"/>
              </a:ext>
            </a:extLst>
          </p:cNvPr>
          <p:cNvSpPr/>
          <p:nvPr/>
        </p:nvSpPr>
        <p:spPr>
          <a:xfrm>
            <a:off x="499619" y="3358377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400" dirty="0">
                <a:solidFill>
                  <a:schemeClr val="tx1"/>
                </a:solidFill>
              </a:rPr>
              <a:t>Hasta diciembre 2025</a:t>
            </a:r>
          </a:p>
          <a:p>
            <a:pPr algn="ctr"/>
            <a:r>
              <a:rPr lang="es-EC" sz="2000" b="1" dirty="0">
                <a:solidFill>
                  <a:schemeClr val="tx1"/>
                </a:solidFill>
              </a:rPr>
              <a:t>84.470 causas activa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16605AB0-4969-D527-C071-39A1E444A927}"/>
              </a:ext>
            </a:extLst>
          </p:cNvPr>
          <p:cNvSpPr/>
          <p:nvPr/>
        </p:nvSpPr>
        <p:spPr>
          <a:xfrm>
            <a:off x="675529" y="361114"/>
            <a:ext cx="390082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PATROCINIO NACIONAL</a:t>
            </a:r>
          </a:p>
        </p:txBody>
      </p:sp>
      <p:sp>
        <p:nvSpPr>
          <p:cNvPr id="3" name="Llamada rectangular 8">
            <a:extLst>
              <a:ext uri="{FF2B5EF4-FFF2-40B4-BE49-F238E27FC236}">
                <a16:creationId xmlns:a16="http://schemas.microsoft.com/office/drawing/2014/main" id="{D89F8DF4-8CE6-7F46-3F1A-50A7EECC6E4F}"/>
              </a:ext>
            </a:extLst>
          </p:cNvPr>
          <p:cNvSpPr/>
          <p:nvPr/>
        </p:nvSpPr>
        <p:spPr>
          <a:xfrm>
            <a:off x="499619" y="1684469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chemeClr val="tx1"/>
                </a:solidFill>
              </a:rPr>
              <a:t>Hasta diciembre 2025</a:t>
            </a:r>
          </a:p>
          <a:p>
            <a:pPr algn="ctr"/>
            <a:r>
              <a:rPr lang="es-EC" sz="2100" b="1" dirty="0">
                <a:solidFill>
                  <a:schemeClr val="tx1"/>
                </a:solidFill>
              </a:rPr>
              <a:t>96.448 causas procesadas</a:t>
            </a:r>
          </a:p>
        </p:txBody>
      </p:sp>
      <p:cxnSp>
        <p:nvCxnSpPr>
          <p:cNvPr id="13" name="Conector: angular 12">
            <a:extLst>
              <a:ext uri="{FF2B5EF4-FFF2-40B4-BE49-F238E27FC236}">
                <a16:creationId xmlns:a16="http://schemas.microsoft.com/office/drawing/2014/main" id="{D87C4878-25A8-7C48-7115-80B3A22DE53A}"/>
              </a:ext>
            </a:extLst>
          </p:cNvPr>
          <p:cNvCxnSpPr>
            <a:cxnSpLocks/>
            <a:stCxn id="3" idx="1"/>
            <a:endCxn id="14" idx="1"/>
          </p:cNvCxnSpPr>
          <p:nvPr/>
        </p:nvCxnSpPr>
        <p:spPr>
          <a:xfrm rot="10800000" flipV="1">
            <a:off x="499619" y="2062469"/>
            <a:ext cx="12700" cy="1673908"/>
          </a:xfrm>
          <a:prstGeom prst="bentConnector3">
            <a:avLst>
              <a:gd name="adj1" fmla="val 18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: angular 14">
            <a:extLst>
              <a:ext uri="{FF2B5EF4-FFF2-40B4-BE49-F238E27FC236}">
                <a16:creationId xmlns:a16="http://schemas.microsoft.com/office/drawing/2014/main" id="{626643F7-A51C-B4E8-90CB-3B8134B1B114}"/>
              </a:ext>
            </a:extLst>
          </p:cNvPr>
          <p:cNvCxnSpPr>
            <a:cxnSpLocks/>
            <a:stCxn id="3" idx="1"/>
            <a:endCxn id="6" idx="1"/>
          </p:cNvCxnSpPr>
          <p:nvPr/>
        </p:nvCxnSpPr>
        <p:spPr>
          <a:xfrm rot="10800000" flipV="1">
            <a:off x="499619" y="2062468"/>
            <a:ext cx="12700" cy="846479"/>
          </a:xfrm>
          <a:prstGeom prst="bentConnector3">
            <a:avLst>
              <a:gd name="adj1" fmla="val 18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lamada rectangular 8">
            <a:extLst>
              <a:ext uri="{FF2B5EF4-FFF2-40B4-BE49-F238E27FC236}">
                <a16:creationId xmlns:a16="http://schemas.microsoft.com/office/drawing/2014/main" id="{7C014B97-2320-018B-9353-DFF8B6AB7F18}"/>
              </a:ext>
            </a:extLst>
          </p:cNvPr>
          <p:cNvSpPr/>
          <p:nvPr/>
        </p:nvSpPr>
        <p:spPr>
          <a:xfrm>
            <a:off x="512319" y="5404468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rgbClr val="E5252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chemeClr val="bg1"/>
                </a:solidFill>
              </a:rPr>
              <a:t>Hasta diciembre 2025</a:t>
            </a: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35.354 causas depuradas</a:t>
            </a:r>
          </a:p>
        </p:txBody>
      </p:sp>
    </p:spTree>
    <p:extLst>
      <p:ext uri="{BB962C8B-B14F-4D97-AF65-F5344CB8AC3E}">
        <p14:creationId xmlns:p14="http://schemas.microsoft.com/office/powerpoint/2010/main" val="2030933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7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2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6" grpId="0" animBg="1"/>
      <p:bldP spid="10" grpId="0" animBg="1"/>
      <p:bldP spid="11" grpId="0"/>
      <p:bldP spid="8" grpId="0"/>
      <p:bldP spid="14" grpId="0" animBg="1"/>
      <p:bldP spid="3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671213C6-56A1-DF4E-D278-2DEADF27A375}"/>
              </a:ext>
            </a:extLst>
          </p:cNvPr>
          <p:cNvSpPr txBox="1"/>
          <p:nvPr/>
        </p:nvSpPr>
        <p:spPr>
          <a:xfrm>
            <a:off x="0" y="6375400"/>
            <a:ext cx="322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>
                <a:solidFill>
                  <a:schemeClr val="bg1"/>
                </a:solidFill>
                <a:latin typeface="Trajan Pro" panose="02020502050506020301" pitchFamily="18" charset="0"/>
              </a:rPr>
              <a:t>Patrocinio Nacional</a:t>
            </a: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04AC9A3F-0C05-0A9B-40FD-4F0683CA39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8941298"/>
              </p:ext>
            </p:extLst>
          </p:nvPr>
        </p:nvGraphicFramePr>
        <p:xfrm>
          <a:off x="0" y="599641"/>
          <a:ext cx="11988800" cy="6029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9151BCDF-31DB-282B-EAC3-C565472C86A4}"/>
              </a:ext>
            </a:extLst>
          </p:cNvPr>
          <p:cNvSpPr/>
          <p:nvPr/>
        </p:nvSpPr>
        <p:spPr>
          <a:xfrm>
            <a:off x="675529" y="361114"/>
            <a:ext cx="390082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PATROCINIO NACIONAL</a:t>
            </a:r>
          </a:p>
        </p:txBody>
      </p:sp>
    </p:spTree>
    <p:extLst>
      <p:ext uri="{BB962C8B-B14F-4D97-AF65-F5344CB8AC3E}">
        <p14:creationId xmlns:p14="http://schemas.microsoft.com/office/powerpoint/2010/main" val="2825716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B97FE-C43E-8111-BC21-294AD9DA0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B3D0CE-FF27-7D88-0DA8-35AE5531977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2</a:t>
            </a:fld>
            <a:endParaRPr lang="es-EC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75BE63B-98A2-D5D2-6876-A8B0F6FEEB7C}"/>
              </a:ext>
            </a:extLst>
          </p:cNvPr>
          <p:cNvSpPr txBox="1"/>
          <p:nvPr/>
        </p:nvSpPr>
        <p:spPr>
          <a:xfrm>
            <a:off x="2435862" y="3328717"/>
            <a:ext cx="12366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10 procesos arbitrales en sede nacional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Entrada de lápiz 1">
                <a:extLst>
                  <a:ext uri="{FF2B5EF4-FFF2-40B4-BE49-F238E27FC236}">
                    <a16:creationId xmlns:a16="http://schemas.microsoft.com/office/drawing/2014/main" id="{EC51BCC4-F096-35FC-F119-742F5B53CB42}"/>
                  </a:ext>
                </a:extLst>
              </p14:cNvPr>
              <p14:cNvContentPartPr/>
              <p14:nvPr/>
            </p14:nvContentPartPr>
            <p14:xfrm>
              <a:off x="5359320" y="2139840"/>
              <a:ext cx="360" cy="360"/>
            </p14:xfrm>
          </p:contentPart>
        </mc:Choice>
        <mc:Fallback xmlns="">
          <p:pic>
            <p:nvPicPr>
              <p:cNvPr id="2" name="Entrada de lápiz 1">
                <a:extLst>
                  <a:ext uri="{FF2B5EF4-FFF2-40B4-BE49-F238E27FC236}">
                    <a16:creationId xmlns:a16="http://schemas.microsoft.com/office/drawing/2014/main" id="{B1B14D83-1BB9-4393-A8FD-0A48993CB66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49960" y="2130480"/>
                <a:ext cx="19080" cy="1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5649AF2F-35DF-4257-E856-232A064F9B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4718686"/>
              </p:ext>
            </p:extLst>
          </p:nvPr>
        </p:nvGraphicFramePr>
        <p:xfrm>
          <a:off x="740229" y="1485900"/>
          <a:ext cx="10406742" cy="45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riángulo rectángulo 2">
            <a:extLst>
              <a:ext uri="{FF2B5EF4-FFF2-40B4-BE49-F238E27FC236}">
                <a16:creationId xmlns:a16="http://schemas.microsoft.com/office/drawing/2014/main" id="{58DBF0BF-B8F5-9444-1C48-1C12248725BB}"/>
              </a:ext>
            </a:extLst>
          </p:cNvPr>
          <p:cNvSpPr/>
          <p:nvPr/>
        </p:nvSpPr>
        <p:spPr>
          <a:xfrm>
            <a:off x="3351380" y="2276765"/>
            <a:ext cx="1800000" cy="3095335"/>
          </a:xfrm>
          <a:prstGeom prst="rtTriangle">
            <a:avLst/>
          </a:prstGeom>
          <a:solidFill>
            <a:srgbClr val="65B2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DA56C0E-2CB1-D1CF-A455-7174DB80B481}"/>
              </a:ext>
            </a:extLst>
          </p:cNvPr>
          <p:cNvSpPr txBox="1"/>
          <p:nvPr/>
        </p:nvSpPr>
        <p:spPr>
          <a:xfrm>
            <a:off x="3932686" y="2074783"/>
            <a:ext cx="4021827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200" b="1" dirty="0">
                <a:solidFill>
                  <a:srgbClr val="004B8E"/>
                </a:solidFill>
              </a:rPr>
              <a:t>91%</a:t>
            </a:r>
            <a:endParaRPr lang="es-EC" sz="14200" b="1" dirty="0">
              <a:solidFill>
                <a:srgbClr val="004B8E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FDD3067-BAA2-BFA0-1EAB-0A1B9DA5397D}"/>
              </a:ext>
            </a:extLst>
          </p:cNvPr>
          <p:cNvSpPr txBox="1"/>
          <p:nvPr/>
        </p:nvSpPr>
        <p:spPr>
          <a:xfrm>
            <a:off x="3932685" y="3795440"/>
            <a:ext cx="40218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>
                <a:solidFill>
                  <a:srgbClr val="004B8E"/>
                </a:solidFill>
              </a:rPr>
              <a:t>pago evitado</a:t>
            </a:r>
            <a:endParaRPr lang="es-EC" sz="3200" b="1" dirty="0">
              <a:solidFill>
                <a:srgbClr val="004B8E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D4C49181-334F-CF05-0902-7738D62BB81A}"/>
              </a:ext>
            </a:extLst>
          </p:cNvPr>
          <p:cNvSpPr/>
          <p:nvPr/>
        </p:nvSpPr>
        <p:spPr>
          <a:xfrm>
            <a:off x="675529" y="361114"/>
            <a:ext cx="390082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PATROCINIO NACIONAL</a:t>
            </a:r>
          </a:p>
        </p:txBody>
      </p:sp>
    </p:spTree>
    <p:extLst>
      <p:ext uri="{BB962C8B-B14F-4D97-AF65-F5344CB8AC3E}">
        <p14:creationId xmlns:p14="http://schemas.microsoft.com/office/powerpoint/2010/main" val="33820480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C3178B23-1568-394D-3035-1F19D1617C46}"/>
              </a:ext>
            </a:extLst>
          </p:cNvPr>
          <p:cNvSpPr/>
          <p:nvPr/>
        </p:nvSpPr>
        <p:spPr>
          <a:xfrm>
            <a:off x="675529" y="361114"/>
            <a:ext cx="390082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PATROCINIO NACIONAL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6ED71EF-BD23-6976-6FBC-A26450430791}"/>
              </a:ext>
            </a:extLst>
          </p:cNvPr>
          <p:cNvSpPr txBox="1"/>
          <p:nvPr/>
        </p:nvSpPr>
        <p:spPr>
          <a:xfrm>
            <a:off x="2509520" y="3015113"/>
            <a:ext cx="6241075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0" rIns="0">
            <a:spAutoFit/>
          </a:bodyPr>
          <a:lstStyle/>
          <a:p>
            <a:pPr algn="ctr"/>
            <a:r>
              <a:rPr lang="es-EC" sz="6600" b="1" dirty="0">
                <a:solidFill>
                  <a:srgbClr val="1F67AF"/>
                </a:solidFill>
              </a:rPr>
              <a:t>USD 1.994.056,53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C829282-0CBC-24FE-D208-5767070D2B98}"/>
              </a:ext>
            </a:extLst>
          </p:cNvPr>
          <p:cNvSpPr txBox="1"/>
          <p:nvPr/>
        </p:nvSpPr>
        <p:spPr>
          <a:xfrm>
            <a:off x="2509520" y="2647841"/>
            <a:ext cx="2499360" cy="369332"/>
          </a:xfrm>
          <a:prstGeom prst="rect">
            <a:avLst/>
          </a:prstGeom>
          <a:solidFill>
            <a:srgbClr val="1F67AF"/>
          </a:solidFill>
          <a:effectLst/>
        </p:spPr>
        <p:txBody>
          <a:bodyPr wrap="square" anchor="ctr" anchorCtr="0">
            <a:spAutoFit/>
          </a:bodyPr>
          <a:lstStyle/>
          <a:p>
            <a:r>
              <a:rPr lang="es-MX" dirty="0">
                <a:solidFill>
                  <a:schemeClr val="bg1"/>
                </a:solidFill>
              </a:rPr>
              <a:t>Recuperación de activos</a:t>
            </a:r>
            <a:endParaRPr lang="es-EC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C:\Users\asangucho\Desktop\Power Point\Asuntos-Internacionales.pn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9999" y="1750989"/>
            <a:ext cx="3351334" cy="335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4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4651374" y="3165046"/>
            <a:ext cx="64992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Asuntos Internacionales y Arbitraje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1F3859AB-DA6C-0844-C9BC-8371B28E0256}"/>
              </a:ext>
            </a:extLst>
          </p:cNvPr>
          <p:cNvSpPr/>
          <p:nvPr/>
        </p:nvSpPr>
        <p:spPr>
          <a:xfrm>
            <a:off x="4760594" y="3748308"/>
            <a:ext cx="6125846" cy="646986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Defender al Estado en los procesos judiciales y extrajudiciales en el ámbito internacional.</a:t>
            </a:r>
          </a:p>
        </p:txBody>
      </p:sp>
    </p:spTree>
    <p:extLst>
      <p:ext uri="{BB962C8B-B14F-4D97-AF65-F5344CB8AC3E}">
        <p14:creationId xmlns:p14="http://schemas.microsoft.com/office/powerpoint/2010/main" val="119214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5</a:t>
            </a:fld>
            <a:endParaRPr lang="es-EC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EB91E5A-B762-4858-BF10-B9CC6A95BE40}"/>
              </a:ext>
            </a:extLst>
          </p:cNvPr>
          <p:cNvSpPr txBox="1"/>
          <p:nvPr/>
        </p:nvSpPr>
        <p:spPr>
          <a:xfrm>
            <a:off x="2435862" y="3328717"/>
            <a:ext cx="12366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10 procesos arbitrales en sede nacional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Entrada de lápiz 1">
                <a:extLst>
                  <a:ext uri="{FF2B5EF4-FFF2-40B4-BE49-F238E27FC236}">
                    <a16:creationId xmlns:a16="http://schemas.microsoft.com/office/drawing/2014/main" id="{B1B14D83-1BB9-4393-A8FD-0A48993CB668}"/>
                  </a:ext>
                </a:extLst>
              </p14:cNvPr>
              <p14:cNvContentPartPr/>
              <p14:nvPr/>
            </p14:nvContentPartPr>
            <p14:xfrm>
              <a:off x="5359320" y="2139840"/>
              <a:ext cx="360" cy="360"/>
            </p14:xfrm>
          </p:contentPart>
        </mc:Choice>
        <mc:Fallback xmlns="">
          <p:pic>
            <p:nvPicPr>
              <p:cNvPr id="2" name="Entrada de lápiz 1">
                <a:extLst>
                  <a:ext uri="{FF2B5EF4-FFF2-40B4-BE49-F238E27FC236}">
                    <a16:creationId xmlns:a16="http://schemas.microsoft.com/office/drawing/2014/main" id="{B1B14D83-1BB9-4393-A8FD-0A48993CB66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49960" y="2130480"/>
                <a:ext cx="19080" cy="1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E81F5944-8B71-4F70-821A-F29594A0E0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2242523"/>
              </p:ext>
            </p:extLst>
          </p:nvPr>
        </p:nvGraphicFramePr>
        <p:xfrm>
          <a:off x="740229" y="1485900"/>
          <a:ext cx="10406742" cy="45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riángulo rectángulo 2">
            <a:extLst>
              <a:ext uri="{FF2B5EF4-FFF2-40B4-BE49-F238E27FC236}">
                <a16:creationId xmlns:a16="http://schemas.microsoft.com/office/drawing/2014/main" id="{5681BBD5-F76E-A345-3C52-AEEA0FBD0BB0}"/>
              </a:ext>
            </a:extLst>
          </p:cNvPr>
          <p:cNvSpPr/>
          <p:nvPr/>
        </p:nvSpPr>
        <p:spPr>
          <a:xfrm>
            <a:off x="3327400" y="1983804"/>
            <a:ext cx="1872000" cy="2617956"/>
          </a:xfrm>
          <a:prstGeom prst="rtTriangle">
            <a:avLst/>
          </a:prstGeom>
          <a:solidFill>
            <a:srgbClr val="65B2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860E797-C772-56F7-0C94-B85CFA1D3566}"/>
              </a:ext>
            </a:extLst>
          </p:cNvPr>
          <p:cNvSpPr txBox="1"/>
          <p:nvPr/>
        </p:nvSpPr>
        <p:spPr>
          <a:xfrm>
            <a:off x="4143811" y="1828635"/>
            <a:ext cx="380274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14200" b="1">
                <a:solidFill>
                  <a:srgbClr val="004B8E"/>
                </a:solidFill>
              </a:defRPr>
            </a:lvl1pPr>
          </a:lstStyle>
          <a:p>
            <a:r>
              <a:rPr lang="es-ES" dirty="0"/>
              <a:t>73%</a:t>
            </a:r>
            <a:endParaRPr lang="es-EC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916422C-112F-E8CB-0D28-343ACCC4CEFB}"/>
              </a:ext>
            </a:extLst>
          </p:cNvPr>
          <p:cNvSpPr/>
          <p:nvPr/>
        </p:nvSpPr>
        <p:spPr>
          <a:xfrm>
            <a:off x="4042228" y="1397372"/>
            <a:ext cx="380274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Arbitraje Nacional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FD6B5D8-C3E5-A965-F018-A7E1FF58D0FB}"/>
              </a:ext>
            </a:extLst>
          </p:cNvPr>
          <p:cNvSpPr/>
          <p:nvPr/>
        </p:nvSpPr>
        <p:spPr>
          <a:xfrm>
            <a:off x="571828" y="452643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Arbitraje NACIONAL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2DF8593-3965-CAF0-1997-254C134A4F4F}"/>
              </a:ext>
            </a:extLst>
          </p:cNvPr>
          <p:cNvSpPr txBox="1"/>
          <p:nvPr/>
        </p:nvSpPr>
        <p:spPr>
          <a:xfrm>
            <a:off x="4733590" y="3506849"/>
            <a:ext cx="25644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14200" b="1">
                <a:solidFill>
                  <a:srgbClr val="004B8E"/>
                </a:solidFill>
              </a:defRPr>
            </a:lvl1pPr>
          </a:lstStyle>
          <a:p>
            <a:r>
              <a:rPr lang="es-ES" sz="3200" dirty="0"/>
              <a:t>pago evitado</a:t>
            </a:r>
            <a:endParaRPr lang="es-EC" sz="3200" dirty="0"/>
          </a:p>
        </p:txBody>
      </p:sp>
    </p:spTree>
    <p:extLst>
      <p:ext uri="{BB962C8B-B14F-4D97-AF65-F5344CB8AC3E}">
        <p14:creationId xmlns:p14="http://schemas.microsoft.com/office/powerpoint/2010/main" val="2240079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7B696-BC57-1F13-E18E-8F40A23DE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46591FD-8629-67D3-5B44-15CD628110E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6</a:t>
            </a:fld>
            <a:endParaRPr lang="es-EC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3859467-656C-85AD-646D-4A97AEF39C96}"/>
              </a:ext>
            </a:extLst>
          </p:cNvPr>
          <p:cNvSpPr txBox="1"/>
          <p:nvPr/>
        </p:nvSpPr>
        <p:spPr>
          <a:xfrm>
            <a:off x="2435862" y="3328717"/>
            <a:ext cx="12366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10 procesos arbitrales en sede nacional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Entrada de lápiz 1">
                <a:extLst>
                  <a:ext uri="{FF2B5EF4-FFF2-40B4-BE49-F238E27FC236}">
                    <a16:creationId xmlns:a16="http://schemas.microsoft.com/office/drawing/2014/main" id="{D7A01062-8259-078C-397B-2E120BE02AC5}"/>
                  </a:ext>
                </a:extLst>
              </p14:cNvPr>
              <p14:cNvContentPartPr/>
              <p14:nvPr/>
            </p14:nvContentPartPr>
            <p14:xfrm>
              <a:off x="5359320" y="2139840"/>
              <a:ext cx="360" cy="360"/>
            </p14:xfrm>
          </p:contentPart>
        </mc:Choice>
        <mc:Fallback xmlns="">
          <p:pic>
            <p:nvPicPr>
              <p:cNvPr id="2" name="Entrada de lápiz 1">
                <a:extLst>
                  <a:ext uri="{FF2B5EF4-FFF2-40B4-BE49-F238E27FC236}">
                    <a16:creationId xmlns:a16="http://schemas.microsoft.com/office/drawing/2014/main" id="{B1B14D83-1BB9-4393-A8FD-0A48993CB66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49960" y="2130480"/>
                <a:ext cx="19080" cy="1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026C2667-BAD7-699F-8F7E-3474F9C49971}"/>
              </a:ext>
            </a:extLst>
          </p:cNvPr>
          <p:cNvGraphicFramePr/>
          <p:nvPr/>
        </p:nvGraphicFramePr>
        <p:xfrm>
          <a:off x="448219" y="1453776"/>
          <a:ext cx="11295561" cy="45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riángulo rectángulo 2">
            <a:extLst>
              <a:ext uri="{FF2B5EF4-FFF2-40B4-BE49-F238E27FC236}">
                <a16:creationId xmlns:a16="http://schemas.microsoft.com/office/drawing/2014/main" id="{FE58782D-34C4-B312-1B89-FF7C3406BAAC}"/>
              </a:ext>
            </a:extLst>
          </p:cNvPr>
          <p:cNvSpPr/>
          <p:nvPr/>
        </p:nvSpPr>
        <p:spPr>
          <a:xfrm>
            <a:off x="3276532" y="2139840"/>
            <a:ext cx="1967670" cy="3264384"/>
          </a:xfrm>
          <a:prstGeom prst="rtTriangle">
            <a:avLst/>
          </a:prstGeom>
          <a:solidFill>
            <a:srgbClr val="65B2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9975DB1-A892-B491-906E-0D653BF93806}"/>
              </a:ext>
            </a:extLst>
          </p:cNvPr>
          <p:cNvSpPr txBox="1"/>
          <p:nvPr/>
        </p:nvSpPr>
        <p:spPr>
          <a:xfrm>
            <a:off x="3932686" y="2074783"/>
            <a:ext cx="4021827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200" b="1" dirty="0">
                <a:solidFill>
                  <a:srgbClr val="004B8E"/>
                </a:solidFill>
              </a:rPr>
              <a:t>94%</a:t>
            </a:r>
            <a:endParaRPr lang="es-EC" sz="14200" b="1" dirty="0">
              <a:solidFill>
                <a:srgbClr val="004B8E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EFCE1E8-67A8-9FD1-488B-79493D6D8D84}"/>
              </a:ext>
            </a:extLst>
          </p:cNvPr>
          <p:cNvSpPr/>
          <p:nvPr/>
        </p:nvSpPr>
        <p:spPr>
          <a:xfrm>
            <a:off x="4265447" y="2046898"/>
            <a:ext cx="38027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Asuntos Internacionales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680D092-C327-4C81-B442-50C782A2C9C7}"/>
              </a:ext>
            </a:extLst>
          </p:cNvPr>
          <p:cNvSpPr/>
          <p:nvPr/>
        </p:nvSpPr>
        <p:spPr>
          <a:xfrm>
            <a:off x="571828" y="452643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Asuntos Internacionale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34E74A7-98AB-5F0C-93DB-F6F49B6A350D}"/>
              </a:ext>
            </a:extLst>
          </p:cNvPr>
          <p:cNvSpPr txBox="1"/>
          <p:nvPr/>
        </p:nvSpPr>
        <p:spPr>
          <a:xfrm>
            <a:off x="3932685" y="3795440"/>
            <a:ext cx="40218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>
                <a:solidFill>
                  <a:srgbClr val="004B8E"/>
                </a:solidFill>
              </a:rPr>
              <a:t>pago evitado</a:t>
            </a:r>
            <a:endParaRPr lang="es-EC" sz="3200" b="1" dirty="0">
              <a:solidFill>
                <a:srgbClr val="004B8E"/>
              </a:solidFill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61118B31-FC69-5466-C21A-269D10A74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2492932"/>
              </p:ext>
            </p:extLst>
          </p:nvPr>
        </p:nvGraphicFramePr>
        <p:xfrm>
          <a:off x="8982675" y="2320836"/>
          <a:ext cx="1578645" cy="32825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8645">
                  <a:extLst>
                    <a:ext uri="{9D8B030D-6E8A-4147-A177-3AD203B41FA5}">
                      <a16:colId xmlns:a16="http://schemas.microsoft.com/office/drawing/2014/main" val="1351139569"/>
                    </a:ext>
                  </a:extLst>
                </a:gridCol>
              </a:tblGrid>
              <a:tr h="917604">
                <a:tc>
                  <a:txBody>
                    <a:bodyPr/>
                    <a:lstStyle/>
                    <a:p>
                      <a:pPr algn="ctr"/>
                      <a:r>
                        <a:rPr lang="es-MX" sz="2500" b="1" dirty="0">
                          <a:solidFill>
                            <a:schemeClr val="bg1"/>
                          </a:solidFill>
                        </a:rPr>
                        <a:t>USD 1000 </a:t>
                      </a:r>
                      <a:r>
                        <a:rPr lang="es-MX" sz="1600" b="0" dirty="0">
                          <a:solidFill>
                            <a:schemeClr val="bg1"/>
                          </a:solidFill>
                        </a:rPr>
                        <a:t>millones aprox. </a:t>
                      </a:r>
                    </a:p>
                    <a:p>
                      <a:pPr algn="ctr"/>
                      <a:r>
                        <a:rPr lang="es-MX" sz="1600" b="0" dirty="0">
                          <a:solidFill>
                            <a:schemeClr val="bg1"/>
                          </a:solidFill>
                        </a:rPr>
                        <a:t>otros casos</a:t>
                      </a:r>
                      <a:endParaRPr lang="es-EC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0915752"/>
                  </a:ext>
                </a:extLst>
              </a:tr>
              <a:tr h="2322396">
                <a:tc>
                  <a:txBody>
                    <a:bodyPr/>
                    <a:lstStyle/>
                    <a:p>
                      <a:pPr algn="ctr"/>
                      <a:r>
                        <a:rPr lang="es-MX" sz="2500" b="1" dirty="0">
                          <a:solidFill>
                            <a:schemeClr val="bg1"/>
                          </a:solidFill>
                        </a:rPr>
                        <a:t>USD 3.100 </a:t>
                      </a:r>
                      <a:r>
                        <a:rPr lang="es-MX" sz="1600" b="0" dirty="0">
                          <a:solidFill>
                            <a:schemeClr val="bg1"/>
                          </a:solidFill>
                        </a:rPr>
                        <a:t>millones aprox.</a:t>
                      </a:r>
                    </a:p>
                    <a:p>
                      <a:pPr algn="ctr"/>
                      <a:r>
                        <a:rPr lang="es-MX" sz="1600" b="0" dirty="0">
                          <a:solidFill>
                            <a:schemeClr val="bg1"/>
                          </a:solidFill>
                        </a:rPr>
                        <a:t>Caso Chevron</a:t>
                      </a:r>
                      <a:endParaRPr lang="es-EC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79845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28055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7</a:t>
            </a:fld>
            <a:endParaRPr lang="es-EC" dirty="0"/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2899031012"/>
              </p:ext>
            </p:extLst>
          </p:nvPr>
        </p:nvGraphicFramePr>
        <p:xfrm>
          <a:off x="4403088" y="1751635"/>
          <a:ext cx="7360837" cy="3600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CuadroTexto 13">
            <a:extLst>
              <a:ext uri="{FF2B5EF4-FFF2-40B4-BE49-F238E27FC236}">
                <a16:creationId xmlns:a16="http://schemas.microsoft.com/office/drawing/2014/main" id="{9E897CB1-5334-48C3-7E05-38F6035FEE21}"/>
              </a:ext>
            </a:extLst>
          </p:cNvPr>
          <p:cNvSpPr txBox="1"/>
          <p:nvPr/>
        </p:nvSpPr>
        <p:spPr>
          <a:xfrm>
            <a:off x="3791571" y="2640616"/>
            <a:ext cx="619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600" dirty="0">
                <a:solidFill>
                  <a:srgbClr val="1F67B0"/>
                </a:solidFill>
                <a:sym typeface="Wingdings" panose="05000000000000000000" pitchFamily="2" charset="2"/>
              </a:rPr>
              <a:t></a:t>
            </a:r>
            <a:endParaRPr lang="es-EC" sz="2400" dirty="0">
              <a:solidFill>
                <a:srgbClr val="1F67B0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61CBEEA2-2FE4-CD71-2478-DB925D1D5837}"/>
              </a:ext>
            </a:extLst>
          </p:cNvPr>
          <p:cNvSpPr/>
          <p:nvPr/>
        </p:nvSpPr>
        <p:spPr>
          <a:xfrm>
            <a:off x="592137" y="2530947"/>
            <a:ext cx="3168000" cy="756000"/>
          </a:xfrm>
          <a:prstGeom prst="rect">
            <a:avLst/>
          </a:prstGeo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/>
              <a:t>Enero a diciembre 2025</a:t>
            </a:r>
            <a:endParaRPr lang="es-EC" b="1" dirty="0"/>
          </a:p>
          <a:p>
            <a:pPr algn="ctr"/>
            <a:r>
              <a:rPr lang="es-EC" sz="2000" b="1" dirty="0"/>
              <a:t>8 causas terminadas</a:t>
            </a:r>
          </a:p>
        </p:txBody>
      </p:sp>
      <p:sp>
        <p:nvSpPr>
          <p:cNvPr id="6" name="Llamada rectangular 5">
            <a:extLst>
              <a:ext uri="{FF2B5EF4-FFF2-40B4-BE49-F238E27FC236}">
                <a16:creationId xmlns:a16="http://schemas.microsoft.com/office/drawing/2014/main" id="{CC457ED1-25CA-DE45-DE4C-3951D2821364}"/>
              </a:ext>
            </a:extLst>
          </p:cNvPr>
          <p:cNvSpPr/>
          <p:nvPr/>
        </p:nvSpPr>
        <p:spPr>
          <a:xfrm>
            <a:off x="592137" y="3332187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asta 31 de diciembre de 2025</a:t>
            </a:r>
          </a:p>
          <a:p>
            <a:pPr algn="ctr"/>
            <a:r>
              <a:rPr lang="es-EC" sz="21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8 causas activas</a:t>
            </a:r>
          </a:p>
        </p:txBody>
      </p:sp>
      <p:sp>
        <p:nvSpPr>
          <p:cNvPr id="7" name="Llamada rectangular 6">
            <a:extLst>
              <a:ext uri="{FF2B5EF4-FFF2-40B4-BE49-F238E27FC236}">
                <a16:creationId xmlns:a16="http://schemas.microsoft.com/office/drawing/2014/main" id="{E4E96CC8-6AA4-F2AE-62C6-D0F7457B9442}"/>
              </a:ext>
            </a:extLst>
          </p:cNvPr>
          <p:cNvSpPr/>
          <p:nvPr/>
        </p:nvSpPr>
        <p:spPr>
          <a:xfrm>
            <a:off x="592137" y="4434393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rgbClr val="47707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Enero a diciembre 2025</a:t>
            </a:r>
            <a:endParaRPr lang="es-EC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9 causas nuevas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9084355-32E7-F10D-6AAB-622702C01119}"/>
              </a:ext>
            </a:extLst>
          </p:cNvPr>
          <p:cNvSpPr/>
          <p:nvPr/>
        </p:nvSpPr>
        <p:spPr>
          <a:xfrm>
            <a:off x="571828" y="452643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Asuntos Internacionales</a:t>
            </a:r>
          </a:p>
        </p:txBody>
      </p:sp>
      <p:sp>
        <p:nvSpPr>
          <p:cNvPr id="2" name="Llamada rectangular 5">
            <a:extLst>
              <a:ext uri="{FF2B5EF4-FFF2-40B4-BE49-F238E27FC236}">
                <a16:creationId xmlns:a16="http://schemas.microsoft.com/office/drawing/2014/main" id="{85AE5DDC-5B08-DCEC-5331-D51596EEBC7E}"/>
              </a:ext>
            </a:extLst>
          </p:cNvPr>
          <p:cNvSpPr/>
          <p:nvPr/>
        </p:nvSpPr>
        <p:spPr>
          <a:xfrm>
            <a:off x="592137" y="1729707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asta 31 de diciembre de 2025</a:t>
            </a:r>
          </a:p>
          <a:p>
            <a:pPr algn="ctr"/>
            <a:r>
              <a:rPr lang="es-EC" sz="21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6 causas procesadas</a:t>
            </a:r>
          </a:p>
        </p:txBody>
      </p:sp>
      <p:cxnSp>
        <p:nvCxnSpPr>
          <p:cNvPr id="8" name="Conector: angular 7">
            <a:extLst>
              <a:ext uri="{FF2B5EF4-FFF2-40B4-BE49-F238E27FC236}">
                <a16:creationId xmlns:a16="http://schemas.microsoft.com/office/drawing/2014/main" id="{B747E68C-919C-0663-7338-AE00EF0825B3}"/>
              </a:ext>
            </a:extLst>
          </p:cNvPr>
          <p:cNvCxnSpPr>
            <a:cxnSpLocks/>
            <a:stCxn id="2" idx="1"/>
            <a:endCxn id="6" idx="1"/>
          </p:cNvCxnSpPr>
          <p:nvPr/>
        </p:nvCxnSpPr>
        <p:spPr>
          <a:xfrm rot="10800000" flipV="1">
            <a:off x="592137" y="2107707"/>
            <a:ext cx="12700" cy="1602480"/>
          </a:xfrm>
          <a:prstGeom prst="bentConnector3">
            <a:avLst>
              <a:gd name="adj1" fmla="val 18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9">
            <a:extLst>
              <a:ext uri="{FF2B5EF4-FFF2-40B4-BE49-F238E27FC236}">
                <a16:creationId xmlns:a16="http://schemas.microsoft.com/office/drawing/2014/main" id="{16124D27-1EC8-79A7-2CBF-4D300CBAB365}"/>
              </a:ext>
            </a:extLst>
          </p:cNvPr>
          <p:cNvCxnSpPr>
            <a:cxnSpLocks/>
            <a:stCxn id="2" idx="1"/>
            <a:endCxn id="5" idx="1"/>
          </p:cNvCxnSpPr>
          <p:nvPr/>
        </p:nvCxnSpPr>
        <p:spPr>
          <a:xfrm rot="10800000" flipV="1">
            <a:off x="592137" y="2107707"/>
            <a:ext cx="12700" cy="801240"/>
          </a:xfrm>
          <a:prstGeom prst="bentConnector3">
            <a:avLst>
              <a:gd name="adj1" fmla="val 18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18759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8</a:t>
            </a:fld>
            <a:endParaRPr lang="es-EC" dirty="0"/>
          </a:p>
        </p:txBody>
      </p: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1897863714"/>
              </p:ext>
            </p:extLst>
          </p:nvPr>
        </p:nvGraphicFramePr>
        <p:xfrm>
          <a:off x="1111298" y="1026160"/>
          <a:ext cx="9595413" cy="5455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uadroTexto 10"/>
          <p:cNvSpPr txBox="1"/>
          <p:nvPr/>
        </p:nvSpPr>
        <p:spPr>
          <a:xfrm>
            <a:off x="4554766" y="2951149"/>
            <a:ext cx="2708476" cy="1605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eaLnBrk="1" latinLnBrk="0" hangingPunct="1">
              <a:lnSpc>
                <a:spcPct val="90000"/>
              </a:lnSpc>
              <a:buNone/>
              <a:defRPr sz="3400" b="1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s-EC" dirty="0">
                <a:solidFill>
                  <a:srgbClr val="1F67B0"/>
                </a:solidFill>
                <a:latin typeface="Montserrat" panose="02000505000000020004" pitchFamily="2" charset="0"/>
              </a:rPr>
              <a:t>78</a:t>
            </a:r>
          </a:p>
          <a:p>
            <a:r>
              <a:rPr lang="es-EC" sz="2500" b="0" dirty="0">
                <a:solidFill>
                  <a:srgbClr val="1F67B0"/>
                </a:solidFill>
                <a:latin typeface="Montserrat" panose="02000505000000020004" pitchFamily="2" charset="0"/>
              </a:rPr>
              <a:t>causas activa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F097ADD-1135-49F1-9DFF-2E6E9A971301}"/>
              </a:ext>
            </a:extLst>
          </p:cNvPr>
          <p:cNvSpPr/>
          <p:nvPr/>
        </p:nvSpPr>
        <p:spPr>
          <a:xfrm>
            <a:off x="676000" y="376162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Asuntos Internacionales</a:t>
            </a:r>
          </a:p>
        </p:txBody>
      </p:sp>
    </p:spTree>
    <p:extLst>
      <p:ext uri="{BB962C8B-B14F-4D97-AF65-F5344CB8AC3E}">
        <p14:creationId xmlns:p14="http://schemas.microsoft.com/office/powerpoint/2010/main" val="10816719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35079C93-701B-090D-35F7-8DBD19C20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9492204"/>
              </p:ext>
            </p:extLst>
          </p:nvPr>
        </p:nvGraphicFramePr>
        <p:xfrm>
          <a:off x="2032000" y="113717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A2DAF4EE-9F65-43B0-A09F-2A1A572BE6EA}"/>
              </a:ext>
            </a:extLst>
          </p:cNvPr>
          <p:cNvSpPr txBox="1"/>
          <p:nvPr/>
        </p:nvSpPr>
        <p:spPr>
          <a:xfrm>
            <a:off x="4584539" y="2707735"/>
            <a:ext cx="3022921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7000" b="1" dirty="0">
                <a:solidFill>
                  <a:srgbClr val="004B8E"/>
                </a:solidFill>
                <a:latin typeface="Montserrat" pitchFamily="2" charset="0"/>
              </a:rPr>
              <a:t>93,4%</a:t>
            </a:r>
          </a:p>
          <a:p>
            <a:pPr algn="ctr"/>
            <a:r>
              <a:rPr lang="es-MX" sz="3600" dirty="0">
                <a:solidFill>
                  <a:srgbClr val="004B8E"/>
                </a:solidFill>
              </a:rPr>
              <a:t>Pago evitado</a:t>
            </a:r>
          </a:p>
          <a:p>
            <a:pPr algn="ctr"/>
            <a:r>
              <a:rPr lang="es-MX" sz="2400" b="1" dirty="0">
                <a:solidFill>
                  <a:srgbClr val="004B8E"/>
                </a:solidFill>
              </a:rPr>
              <a:t>USD 3.350 millones </a:t>
            </a:r>
            <a:r>
              <a:rPr lang="es-MX" sz="2400" dirty="0">
                <a:solidFill>
                  <a:srgbClr val="004B8E"/>
                </a:solidFill>
              </a:rPr>
              <a:t>(incluye intereses)</a:t>
            </a:r>
            <a:endParaRPr lang="es-EC" sz="2400" dirty="0">
              <a:solidFill>
                <a:srgbClr val="004B8E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447419D7-6595-EF9C-DADE-E6C1526E571D}"/>
              </a:ext>
            </a:extLst>
          </p:cNvPr>
          <p:cNvSpPr/>
          <p:nvPr/>
        </p:nvSpPr>
        <p:spPr>
          <a:xfrm>
            <a:off x="571828" y="452643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Asuntos Internacionales</a:t>
            </a:r>
          </a:p>
        </p:txBody>
      </p:sp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EC934F8B-4D74-B85F-F21C-8A1EDDAA8E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697"/>
          <a:stretch/>
        </p:blipFill>
        <p:spPr>
          <a:xfrm>
            <a:off x="571828" y="1401231"/>
            <a:ext cx="1927412" cy="437361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70E6221B-5BE1-E1FC-B6DA-8AB55D25EC5F}"/>
              </a:ext>
            </a:extLst>
          </p:cNvPr>
          <p:cNvSpPr txBox="1"/>
          <p:nvPr/>
        </p:nvSpPr>
        <p:spPr>
          <a:xfrm>
            <a:off x="2380861" y="1137176"/>
            <a:ext cx="11990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48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III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556D50D-BD56-D16E-AC71-10E790F33974}"/>
              </a:ext>
            </a:extLst>
          </p:cNvPr>
          <p:cNvSpPr txBox="1"/>
          <p:nvPr/>
        </p:nvSpPr>
        <p:spPr>
          <a:xfrm>
            <a:off x="8731494" y="3791424"/>
            <a:ext cx="16427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mnización</a:t>
            </a:r>
          </a:p>
          <a:p>
            <a:pPr algn="ctr"/>
            <a:r>
              <a:rPr lang="es-MX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D 220 millones</a:t>
            </a:r>
            <a:endParaRPr lang="es-EC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70EAAF8-7A72-7C1A-F040-6FF584D34C43}"/>
              </a:ext>
            </a:extLst>
          </p:cNvPr>
          <p:cNvSpPr txBox="1"/>
          <p:nvPr/>
        </p:nvSpPr>
        <p:spPr>
          <a:xfrm>
            <a:off x="7710991" y="3741411"/>
            <a:ext cx="10680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6,6%</a:t>
            </a:r>
          </a:p>
        </p:txBody>
      </p:sp>
    </p:spTree>
    <p:extLst>
      <p:ext uri="{BB962C8B-B14F-4D97-AF65-F5344CB8AC3E}">
        <p14:creationId xmlns:p14="http://schemas.microsoft.com/office/powerpoint/2010/main" val="1737815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Ecuador, bandera, contra, ciudad, borrosa, plano de fondo, sunrise,  contraluz | Foto Premium">
            <a:extLst>
              <a:ext uri="{FF2B5EF4-FFF2-40B4-BE49-F238E27FC236}">
                <a16:creationId xmlns:a16="http://schemas.microsoft.com/office/drawing/2014/main" id="{BBEC349B-0C5C-49A3-8A17-FB21D51E48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" t="217" b="1875"/>
          <a:stretch/>
        </p:blipFill>
        <p:spPr bwMode="auto">
          <a:xfrm>
            <a:off x="1" y="0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9"/>
          <p:cNvSpPr/>
          <p:nvPr/>
        </p:nvSpPr>
        <p:spPr bwMode="gray">
          <a:xfrm>
            <a:off x="0" y="-1"/>
            <a:ext cx="12192001" cy="6858000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3B0AB-64BB-4E48-89CB-C2B2B2CEB7F8}" type="slidenum">
              <a:rPr kumimoji="0" lang="es-EC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C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38" y="2338423"/>
            <a:ext cx="3338502" cy="2181154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202AA576-F1E0-4CF3-AD36-0BBE9A3248C5}"/>
              </a:ext>
            </a:extLst>
          </p:cNvPr>
          <p:cNvSpPr txBox="1"/>
          <p:nvPr/>
        </p:nvSpPr>
        <p:spPr>
          <a:xfrm>
            <a:off x="4381206" y="2705724"/>
            <a:ext cx="697259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4400" dirty="0">
                <a:solidFill>
                  <a:schemeClr val="bg1"/>
                </a:solidFill>
                <a:latin typeface="Sansation" panose="02000000000000000000" pitchFamily="2" charset="0"/>
              </a:rPr>
              <a:t>Defendemos al </a:t>
            </a:r>
            <a:r>
              <a:rPr lang="es-EC" sz="4400" b="1" dirty="0">
                <a:solidFill>
                  <a:schemeClr val="bg1"/>
                </a:solidFill>
                <a:latin typeface="Sansation" panose="02000000000000000000" pitchFamily="2" charset="0"/>
              </a:rPr>
              <a:t>Estado</a:t>
            </a:r>
            <a:r>
              <a:rPr lang="es-EC" sz="4400" dirty="0">
                <a:solidFill>
                  <a:schemeClr val="bg1"/>
                </a:solidFill>
                <a:latin typeface="Sansation" panose="02000000000000000000" pitchFamily="2" charset="0"/>
              </a:rPr>
              <a:t> para proteger </a:t>
            </a:r>
            <a:r>
              <a:rPr lang="es-EC" sz="4400" b="1" dirty="0">
                <a:solidFill>
                  <a:schemeClr val="bg1"/>
                </a:solidFill>
                <a:latin typeface="Sansation" panose="02000000000000000000" pitchFamily="2" charset="0"/>
              </a:rPr>
              <a:t>tus derecho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Entrada de lápiz 2">
                <a:extLst>
                  <a:ext uri="{FF2B5EF4-FFF2-40B4-BE49-F238E27FC236}">
                    <a16:creationId xmlns:a16="http://schemas.microsoft.com/office/drawing/2014/main" id="{E5FE2BCA-D1B9-5E5E-2B21-DEEC38DE689E}"/>
                  </a:ext>
                </a:extLst>
              </p14:cNvPr>
              <p14:cNvContentPartPr/>
              <p14:nvPr/>
            </p14:nvContentPartPr>
            <p14:xfrm>
              <a:off x="5664240" y="4826160"/>
              <a:ext cx="360" cy="360"/>
            </p14:xfrm>
          </p:contentPart>
        </mc:Choice>
        <mc:Fallback xmlns="">
          <p:pic>
            <p:nvPicPr>
              <p:cNvPr id="3" name="Entrada de lápiz 2">
                <a:extLst>
                  <a:ext uri="{FF2B5EF4-FFF2-40B4-BE49-F238E27FC236}">
                    <a16:creationId xmlns:a16="http://schemas.microsoft.com/office/drawing/2014/main" id="{E5FE2BCA-D1B9-5E5E-2B21-DEEC38DE689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54880" y="4816800"/>
                <a:ext cx="19080" cy="19080"/>
              </a:xfrm>
              <a:prstGeom prst="rect">
                <a:avLst/>
              </a:prstGeom>
            </p:spPr>
          </p:pic>
        </mc:Fallback>
      </mc:AlternateContent>
      <p:pic>
        <p:nvPicPr>
          <p:cNvPr id="5" name="Himno Nacional del Ecuador (para eventos) (128kbit_AAC)">
            <a:hlinkClick r:id="" action="ppaction://media"/>
            <a:extLst>
              <a:ext uri="{FF2B5EF4-FFF2-40B4-BE49-F238E27FC236}">
                <a16:creationId xmlns:a16="http://schemas.microsoft.com/office/drawing/2014/main" id="{E0FB4CF7-5102-88A0-B838-E2EC813AF8C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644131" y="6420009"/>
            <a:ext cx="241139" cy="24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998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004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X2Twitter.com_lLmaLRie_iGissoA_720p">
            <a:hlinkClick r:id="" action="ppaction://media"/>
            <a:extLst>
              <a:ext uri="{FF2B5EF4-FFF2-40B4-BE49-F238E27FC236}">
                <a16:creationId xmlns:a16="http://schemas.microsoft.com/office/drawing/2014/main" id="{385DF970-23E2-D468-D961-63819C84786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7643C18C-BC04-1BC4-9FDC-A72359E588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66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5DDD5B3-C435-3EB5-2052-5C7278CDC0F6}"/>
              </a:ext>
            </a:extLst>
          </p:cNvPr>
          <p:cNvSpPr txBox="1"/>
          <p:nvPr/>
        </p:nvSpPr>
        <p:spPr>
          <a:xfrm>
            <a:off x="3200400" y="3007548"/>
            <a:ext cx="8656320" cy="3508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4300" dirty="0">
                <a:solidFill>
                  <a:schemeClr val="bg1"/>
                </a:solidFill>
                <a:latin typeface="Bebas Neue" panose="020B0606020202050201" pitchFamily="34" charset="0"/>
              </a:rPr>
              <a:t>De una pretensión de 3.300 millones a un pago de 220 millones a Chevron no es victoria, pero sí una reducción del 93% lograda con estrategia jurídica sólida”</a:t>
            </a:r>
          </a:p>
          <a:p>
            <a:pPr algn="r"/>
            <a:r>
              <a:rPr lang="es-MX" sz="2500" dirty="0">
                <a:solidFill>
                  <a:schemeClr val="bg1"/>
                </a:solidFill>
                <a:latin typeface="+mj-lt"/>
              </a:rPr>
              <a:t>Juan Carlos Larrea</a:t>
            </a:r>
          </a:p>
          <a:p>
            <a:pPr algn="r"/>
            <a:r>
              <a:rPr lang="es-MX" sz="2500" dirty="0">
                <a:solidFill>
                  <a:schemeClr val="bg1"/>
                </a:solidFill>
                <a:latin typeface="+mj-lt"/>
              </a:rPr>
              <a:t>Procurador General del Estado</a:t>
            </a:r>
            <a:endParaRPr lang="es-EC" sz="25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Google Shape;110;p4">
            <a:extLst>
              <a:ext uri="{FF2B5EF4-FFF2-40B4-BE49-F238E27FC236}">
                <a16:creationId xmlns:a16="http://schemas.microsoft.com/office/drawing/2014/main" id="{6E4D5831-7F27-DE75-03EF-73727480096A}"/>
              </a:ext>
            </a:extLst>
          </p:cNvPr>
          <p:cNvSpPr/>
          <p:nvPr/>
        </p:nvSpPr>
        <p:spPr>
          <a:xfrm>
            <a:off x="1259220" y="3007548"/>
            <a:ext cx="522738" cy="1197836"/>
          </a:xfrm>
          <a:custGeom>
            <a:avLst/>
            <a:gdLst/>
            <a:ahLst/>
            <a:cxnLst/>
            <a:rect l="l" t="t" r="r" b="b"/>
            <a:pathLst>
              <a:path w="309539" h="580653" extrusionOk="0">
                <a:moveTo>
                  <a:pt x="0" y="0"/>
                </a:moveTo>
                <a:lnTo>
                  <a:pt x="309539" y="0"/>
                </a:lnTo>
                <a:lnTo>
                  <a:pt x="309539" y="238380"/>
                </a:lnTo>
                <a:cubicBezTo>
                  <a:pt x="309539" y="326143"/>
                  <a:pt x="291275" y="395522"/>
                  <a:pt x="254747" y="446519"/>
                </a:cubicBezTo>
                <a:cubicBezTo>
                  <a:pt x="218219" y="497516"/>
                  <a:pt x="155837" y="542227"/>
                  <a:pt x="67601" y="580653"/>
                </a:cubicBezTo>
                <a:lnTo>
                  <a:pt x="0" y="453991"/>
                </a:lnTo>
                <a:cubicBezTo>
                  <a:pt x="55029" y="428374"/>
                  <a:pt x="92862" y="402875"/>
                  <a:pt x="113498" y="377495"/>
                </a:cubicBezTo>
                <a:cubicBezTo>
                  <a:pt x="134134" y="352115"/>
                  <a:pt x="145638" y="322110"/>
                  <a:pt x="148010" y="287480"/>
                </a:cubicBezTo>
                <a:lnTo>
                  <a:pt x="0" y="28748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111;p4">
            <a:extLst>
              <a:ext uri="{FF2B5EF4-FFF2-40B4-BE49-F238E27FC236}">
                <a16:creationId xmlns:a16="http://schemas.microsoft.com/office/drawing/2014/main" id="{BD717081-F4F6-345C-5C98-64F453FD5E6A}"/>
              </a:ext>
            </a:extLst>
          </p:cNvPr>
          <p:cNvSpPr/>
          <p:nvPr/>
        </p:nvSpPr>
        <p:spPr>
          <a:xfrm>
            <a:off x="2022342" y="3007548"/>
            <a:ext cx="522738" cy="1197836"/>
          </a:xfrm>
          <a:custGeom>
            <a:avLst/>
            <a:gdLst/>
            <a:ahLst/>
            <a:cxnLst/>
            <a:rect l="l" t="t" r="r" b="b"/>
            <a:pathLst>
              <a:path w="309539" h="580653" extrusionOk="0">
                <a:moveTo>
                  <a:pt x="0" y="0"/>
                </a:moveTo>
                <a:lnTo>
                  <a:pt x="309539" y="0"/>
                </a:lnTo>
                <a:lnTo>
                  <a:pt x="309539" y="238380"/>
                </a:lnTo>
                <a:cubicBezTo>
                  <a:pt x="309539" y="326143"/>
                  <a:pt x="291275" y="395522"/>
                  <a:pt x="254747" y="446519"/>
                </a:cubicBezTo>
                <a:cubicBezTo>
                  <a:pt x="218219" y="497516"/>
                  <a:pt x="155837" y="542227"/>
                  <a:pt x="67600" y="580653"/>
                </a:cubicBezTo>
                <a:lnTo>
                  <a:pt x="0" y="453991"/>
                </a:lnTo>
                <a:cubicBezTo>
                  <a:pt x="55029" y="428374"/>
                  <a:pt x="92861" y="402875"/>
                  <a:pt x="113497" y="377495"/>
                </a:cubicBezTo>
                <a:cubicBezTo>
                  <a:pt x="134133" y="352115"/>
                  <a:pt x="145637" y="322110"/>
                  <a:pt x="148009" y="287480"/>
                </a:cubicBezTo>
                <a:lnTo>
                  <a:pt x="0" y="28748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3824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62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remove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asangucho\Desktop\Power Point\Asuntos-Internacionales.png">
            <a:hlinkClick r:id="" action="ppaction://noaction"/>
            <a:extLst>
              <a:ext uri="{FF2B5EF4-FFF2-40B4-BE49-F238E27FC236}">
                <a16:creationId xmlns:a16="http://schemas.microsoft.com/office/drawing/2014/main" id="{3F91A083-CA31-B3DD-4088-6120796A0A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9999" y="1750989"/>
            <a:ext cx="3351334" cy="335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7 CuadroTexto"/>
          <p:cNvSpPr txBox="1"/>
          <p:nvPr/>
        </p:nvSpPr>
        <p:spPr>
          <a:xfrm>
            <a:off x="4524374" y="3165046"/>
            <a:ext cx="3961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Derechos Humanos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3F81B5F4-4E59-7C39-4F27-D029A623FA72}"/>
              </a:ext>
            </a:extLst>
          </p:cNvPr>
          <p:cNvSpPr/>
          <p:nvPr/>
        </p:nvSpPr>
        <p:spPr>
          <a:xfrm>
            <a:off x="4730114" y="3748308"/>
            <a:ext cx="6125846" cy="646986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Defender al Estado en los procesos judiciales y cuasi judiciales ante los organismos de Derechos Humanos.</a:t>
            </a:r>
          </a:p>
        </p:txBody>
      </p:sp>
    </p:spTree>
    <p:extLst>
      <p:ext uri="{BB962C8B-B14F-4D97-AF65-F5344CB8AC3E}">
        <p14:creationId xmlns:p14="http://schemas.microsoft.com/office/powerpoint/2010/main" val="9128167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22</a:t>
            </a:fld>
            <a:endParaRPr lang="es-EC" dirty="0"/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239549004"/>
              </p:ext>
            </p:extLst>
          </p:nvPr>
        </p:nvGraphicFramePr>
        <p:xfrm>
          <a:off x="4188969" y="2177409"/>
          <a:ext cx="8349024" cy="3504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CuadroTexto 12">
            <a:extLst>
              <a:ext uri="{FF2B5EF4-FFF2-40B4-BE49-F238E27FC236}">
                <a16:creationId xmlns:a16="http://schemas.microsoft.com/office/drawing/2014/main" id="{E4110049-B030-49AA-BD9A-E9251D9B5FD3}"/>
              </a:ext>
            </a:extLst>
          </p:cNvPr>
          <p:cNvSpPr txBox="1"/>
          <p:nvPr/>
        </p:nvSpPr>
        <p:spPr>
          <a:xfrm>
            <a:off x="3760127" y="4566156"/>
            <a:ext cx="619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600" dirty="0">
                <a:solidFill>
                  <a:srgbClr val="47707C"/>
                </a:solidFill>
                <a:sym typeface="Wingdings" panose="05000000000000000000" pitchFamily="2" charset="2"/>
              </a:rPr>
              <a:t></a:t>
            </a:r>
            <a:endParaRPr lang="es-EC" sz="2400" dirty="0">
              <a:solidFill>
                <a:srgbClr val="47707C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2987142-0CE0-6EE5-19FC-3B449755D3B6}"/>
              </a:ext>
            </a:extLst>
          </p:cNvPr>
          <p:cNvSpPr/>
          <p:nvPr/>
        </p:nvSpPr>
        <p:spPr>
          <a:xfrm>
            <a:off x="715316" y="491468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DERECHOS HUMANOS</a:t>
            </a:r>
          </a:p>
        </p:txBody>
      </p:sp>
      <p:sp>
        <p:nvSpPr>
          <p:cNvPr id="5" name="Llamada rectangular 5">
            <a:extLst>
              <a:ext uri="{FF2B5EF4-FFF2-40B4-BE49-F238E27FC236}">
                <a16:creationId xmlns:a16="http://schemas.microsoft.com/office/drawing/2014/main" id="{BEABC487-69A3-30E2-8026-E7C43D99D323}"/>
              </a:ext>
            </a:extLst>
          </p:cNvPr>
          <p:cNvSpPr/>
          <p:nvPr/>
        </p:nvSpPr>
        <p:spPr>
          <a:xfrm>
            <a:off x="592137" y="3424787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asta 31 de diciembre de 2025</a:t>
            </a:r>
          </a:p>
          <a:p>
            <a:pPr algn="ctr"/>
            <a:r>
              <a:rPr lang="es-EC" sz="21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06 causas activas</a:t>
            </a:r>
          </a:p>
        </p:txBody>
      </p:sp>
      <p:sp>
        <p:nvSpPr>
          <p:cNvPr id="8" name="Llamada rectangular 6">
            <a:extLst>
              <a:ext uri="{FF2B5EF4-FFF2-40B4-BE49-F238E27FC236}">
                <a16:creationId xmlns:a16="http://schemas.microsoft.com/office/drawing/2014/main" id="{B8ED0E55-C6C3-7BCB-11EB-0CC3F7961139}"/>
              </a:ext>
            </a:extLst>
          </p:cNvPr>
          <p:cNvSpPr/>
          <p:nvPr/>
        </p:nvSpPr>
        <p:spPr>
          <a:xfrm>
            <a:off x="555327" y="4511322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rgbClr val="47707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Enero a diciembre 2025</a:t>
            </a:r>
            <a:endParaRPr lang="es-EC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46 causas nueva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FEB1423-0473-46FC-8FBC-E7C67C39430A}"/>
              </a:ext>
            </a:extLst>
          </p:cNvPr>
          <p:cNvSpPr/>
          <p:nvPr/>
        </p:nvSpPr>
        <p:spPr>
          <a:xfrm>
            <a:off x="598487" y="2592252"/>
            <a:ext cx="3168000" cy="756000"/>
          </a:xfrm>
          <a:prstGeom prst="rect">
            <a:avLst/>
          </a:prstGeo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Enero a diciembre 2025</a:t>
            </a:r>
            <a:endParaRPr lang="es-EC" b="1" dirty="0">
              <a:solidFill>
                <a:schemeClr val="bg1"/>
              </a:solidFill>
            </a:endParaRPr>
          </a:p>
          <a:p>
            <a:pPr algn="ctr"/>
            <a:r>
              <a:rPr lang="es-EC" sz="2000" b="1" dirty="0">
                <a:solidFill>
                  <a:schemeClr val="bg1"/>
                </a:solidFill>
              </a:rPr>
              <a:t>14 causas terminadas</a:t>
            </a:r>
          </a:p>
        </p:txBody>
      </p:sp>
      <p:sp>
        <p:nvSpPr>
          <p:cNvPr id="12" name="Llamada rectangular 5">
            <a:extLst>
              <a:ext uri="{FF2B5EF4-FFF2-40B4-BE49-F238E27FC236}">
                <a16:creationId xmlns:a16="http://schemas.microsoft.com/office/drawing/2014/main" id="{A415F72F-1BC5-44B5-3740-A65E7697DF29}"/>
              </a:ext>
            </a:extLst>
          </p:cNvPr>
          <p:cNvSpPr/>
          <p:nvPr/>
        </p:nvSpPr>
        <p:spPr>
          <a:xfrm>
            <a:off x="592137" y="1729707"/>
            <a:ext cx="3168000" cy="756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asta 31 de diciembre de 2025</a:t>
            </a:r>
          </a:p>
          <a:p>
            <a:pPr algn="ctr"/>
            <a:r>
              <a:rPr lang="es-EC" sz="21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20 causas procesadas</a:t>
            </a:r>
          </a:p>
        </p:txBody>
      </p:sp>
      <p:cxnSp>
        <p:nvCxnSpPr>
          <p:cNvPr id="14" name="Conector: angular 13">
            <a:extLst>
              <a:ext uri="{FF2B5EF4-FFF2-40B4-BE49-F238E27FC236}">
                <a16:creationId xmlns:a16="http://schemas.microsoft.com/office/drawing/2014/main" id="{F8D5F19E-9569-C385-A947-086D6A8C9CFF}"/>
              </a:ext>
            </a:extLst>
          </p:cNvPr>
          <p:cNvCxnSpPr>
            <a:cxnSpLocks/>
            <a:stCxn id="12" idx="1"/>
            <a:endCxn id="5" idx="1"/>
          </p:cNvCxnSpPr>
          <p:nvPr/>
        </p:nvCxnSpPr>
        <p:spPr>
          <a:xfrm rot="10800000" flipV="1">
            <a:off x="592137" y="2107707"/>
            <a:ext cx="12700" cy="1695080"/>
          </a:xfrm>
          <a:prstGeom prst="bentConnector3">
            <a:avLst>
              <a:gd name="adj1" fmla="val 18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: angular 14">
            <a:extLst>
              <a:ext uri="{FF2B5EF4-FFF2-40B4-BE49-F238E27FC236}">
                <a16:creationId xmlns:a16="http://schemas.microsoft.com/office/drawing/2014/main" id="{188028BA-BE40-B0D8-752E-FF967C8C1E25}"/>
              </a:ext>
            </a:extLst>
          </p:cNvPr>
          <p:cNvCxnSpPr>
            <a:cxnSpLocks/>
            <a:stCxn id="12" idx="1"/>
            <a:endCxn id="9" idx="1"/>
          </p:cNvCxnSpPr>
          <p:nvPr/>
        </p:nvCxnSpPr>
        <p:spPr>
          <a:xfrm rot="10800000" flipH="1" flipV="1">
            <a:off x="592137" y="2107706"/>
            <a:ext cx="6350" cy="862545"/>
          </a:xfrm>
          <a:prstGeom prst="bentConnector3">
            <a:avLst>
              <a:gd name="adj1" fmla="val -3600000"/>
            </a:avLst>
          </a:prstGeom>
          <a:ln w="19050">
            <a:solidFill>
              <a:schemeClr val="bg1">
                <a:lumMod val="65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82638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23</a:t>
            </a:fld>
            <a:endParaRPr lang="es-EC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4110049-B030-49AA-BD9A-E9251D9B5FD3}"/>
              </a:ext>
            </a:extLst>
          </p:cNvPr>
          <p:cNvSpPr txBox="1"/>
          <p:nvPr/>
        </p:nvSpPr>
        <p:spPr>
          <a:xfrm>
            <a:off x="4530682" y="3022680"/>
            <a:ext cx="619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600" dirty="0">
                <a:solidFill>
                  <a:srgbClr val="1F67B0"/>
                </a:solidFill>
                <a:sym typeface="Wingdings" panose="05000000000000000000" pitchFamily="2" charset="2"/>
              </a:rPr>
              <a:t></a:t>
            </a:r>
            <a:endParaRPr lang="es-EC" sz="2400" dirty="0">
              <a:solidFill>
                <a:srgbClr val="1F67B0"/>
              </a:solidFill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61536EA-BDF0-1838-CFF4-AF0A9682535E}"/>
              </a:ext>
            </a:extLst>
          </p:cNvPr>
          <p:cNvSpPr/>
          <p:nvPr/>
        </p:nvSpPr>
        <p:spPr>
          <a:xfrm>
            <a:off x="1346616" y="2946400"/>
            <a:ext cx="3168000" cy="756000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3600" dirty="0">
                <a:solidFill>
                  <a:srgbClr val="004B8E"/>
                </a:solidFill>
              </a:rPr>
              <a:t>Pago evitado</a:t>
            </a:r>
            <a:endParaRPr lang="es-EC" sz="4000" b="1" dirty="0">
              <a:solidFill>
                <a:srgbClr val="004B8E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3984C44-DB49-D469-D5A9-EA82246611A7}"/>
              </a:ext>
            </a:extLst>
          </p:cNvPr>
          <p:cNvSpPr txBox="1"/>
          <p:nvPr/>
        </p:nvSpPr>
        <p:spPr>
          <a:xfrm>
            <a:off x="5374401" y="2638640"/>
            <a:ext cx="5514975" cy="1371520"/>
          </a:xfrm>
          <a:prstGeom prst="rect">
            <a:avLst/>
          </a:prstGeo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C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C" sz="5400" dirty="0"/>
              <a:t> USD 4.293.383,71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6015DC9-792C-80D4-22E3-F43E5B8EABA4}"/>
              </a:ext>
            </a:extLst>
          </p:cNvPr>
          <p:cNvSpPr/>
          <p:nvPr/>
        </p:nvSpPr>
        <p:spPr>
          <a:xfrm>
            <a:off x="715316" y="491468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DERECHOS HUMANO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CD46D7A-0A7B-A504-5E50-AD8B05B6CB22}"/>
              </a:ext>
            </a:extLst>
          </p:cNvPr>
          <p:cNvSpPr txBox="1"/>
          <p:nvPr/>
        </p:nvSpPr>
        <p:spPr>
          <a:xfrm>
            <a:off x="5374400" y="4111397"/>
            <a:ext cx="551497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C" sz="1600" dirty="0">
                <a:solidFill>
                  <a:srgbClr val="004B8E"/>
                </a:solidFill>
              </a:rPr>
              <a:t>Casos: Gattass Sahih; Reyes Mantilla; Peralta Armijos; Aguas Acosta; Pueblos Indígenas Tagaeri y Taromenane</a:t>
            </a:r>
          </a:p>
          <a:p>
            <a:r>
              <a:rPr lang="es-EC" sz="1600" dirty="0">
                <a:solidFill>
                  <a:srgbClr val="004B8E"/>
                </a:solidFill>
              </a:rPr>
              <a:t>Inadmisibilidades: Ángel Hormaza, Grace Tatiana Valenzuela Lozada, Palacios Cisneros, Juan Fernando Garaicoa Crespo,  Walter Marcelo Vásquez Piña. </a:t>
            </a:r>
          </a:p>
        </p:txBody>
      </p:sp>
    </p:spTree>
    <p:extLst>
      <p:ext uri="{BB962C8B-B14F-4D97-AF65-F5344CB8AC3E}">
        <p14:creationId xmlns:p14="http://schemas.microsoft.com/office/powerpoint/2010/main" val="4092391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ACD57015-3D0A-B5EB-FECE-95DCC484B9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0" t="20000" r="10093" b="8166"/>
          <a:stretch>
            <a:fillRect/>
          </a:stretch>
        </p:blipFill>
        <p:spPr>
          <a:xfrm>
            <a:off x="765810" y="1080134"/>
            <a:ext cx="9855352" cy="526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029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35E167F8-341D-C414-A584-28B58422AB08}"/>
              </a:ext>
            </a:extLst>
          </p:cNvPr>
          <p:cNvSpPr/>
          <p:nvPr/>
        </p:nvSpPr>
        <p:spPr>
          <a:xfrm>
            <a:off x="715316" y="491468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DERECHOS HUMANOS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398ED338-FC6D-7BD1-F186-FA963E689F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8424"/>
            <a:ext cx="3168000" cy="4491552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A011417C-0246-9525-2070-6CEF9643E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002" y="1439898"/>
            <a:ext cx="3168000" cy="449007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">
            <a:extLst>
              <a:ext uri="{FF2B5EF4-FFF2-40B4-BE49-F238E27FC236}">
                <a16:creationId xmlns:a16="http://schemas.microsoft.com/office/drawing/2014/main" id="{3F7363A8-D75A-2268-91DA-1186AA0C6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001" y="1438424"/>
            <a:ext cx="3168000" cy="4491552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">
            <a:extLst>
              <a:ext uri="{FF2B5EF4-FFF2-40B4-BE49-F238E27FC236}">
                <a16:creationId xmlns:a16="http://schemas.microsoft.com/office/drawing/2014/main" id="{589073EF-CADE-C16E-2E35-F8B76C024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4002" y="1439898"/>
            <a:ext cx="3168000" cy="449007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77773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2" descr="C:\Users\asangucho\Desktop\Power Point\Mediaci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8869" y="1699859"/>
            <a:ext cx="3453594" cy="3453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26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4858835" y="3165046"/>
            <a:ext cx="3961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Mediación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A92E48E9-1B1D-1495-27E9-651D73D889CC}"/>
              </a:ext>
            </a:extLst>
          </p:cNvPr>
          <p:cNvSpPr/>
          <p:nvPr/>
        </p:nvSpPr>
        <p:spPr>
          <a:xfrm>
            <a:off x="4963794" y="3688266"/>
            <a:ext cx="6125846" cy="646986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Promover la cultura de paz y la solución de controversias, mediante la mediación.</a:t>
            </a:r>
          </a:p>
        </p:txBody>
      </p:sp>
    </p:spTree>
    <p:extLst>
      <p:ext uri="{BB962C8B-B14F-4D97-AF65-F5344CB8AC3E}">
        <p14:creationId xmlns:p14="http://schemas.microsoft.com/office/powerpoint/2010/main" val="33545835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518275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27</a:t>
            </a:fld>
            <a:endParaRPr lang="es-EC" dirty="0"/>
          </a:p>
        </p:txBody>
      </p:sp>
      <p:sp>
        <p:nvSpPr>
          <p:cNvPr id="7" name="Rectángulo 6"/>
          <p:cNvSpPr/>
          <p:nvPr/>
        </p:nvSpPr>
        <p:spPr>
          <a:xfrm>
            <a:off x="729828" y="3907536"/>
            <a:ext cx="2844000" cy="90000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/>
              <a:t>De enero a diciembre 2025</a:t>
            </a:r>
            <a:endParaRPr lang="es-EC" b="1" dirty="0"/>
          </a:p>
          <a:p>
            <a:pPr algn="ctr"/>
            <a:r>
              <a:rPr lang="es-EC" sz="2000" b="1" dirty="0"/>
              <a:t>1.212  casos terminados</a:t>
            </a:r>
          </a:p>
        </p:txBody>
      </p:sp>
      <p:sp>
        <p:nvSpPr>
          <p:cNvPr id="9" name="Llamada rectangular 8"/>
          <p:cNvSpPr/>
          <p:nvPr/>
        </p:nvSpPr>
        <p:spPr>
          <a:xfrm>
            <a:off x="729828" y="3017059"/>
            <a:ext cx="2844000" cy="648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rgbClr val="47707C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De enero a diciembre 2025</a:t>
            </a:r>
            <a:endParaRPr lang="es-EC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1.153 casos nuevo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3772286" y="4124359"/>
            <a:ext cx="521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rgbClr val="004B8E"/>
                </a:solidFill>
                <a:sym typeface="Wingdings" panose="05000000000000000000" pitchFamily="2" charset="2"/>
              </a:rPr>
              <a:t></a:t>
            </a:r>
            <a:endParaRPr lang="es-EC" dirty="0">
              <a:solidFill>
                <a:srgbClr val="004B8E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B97BE6D-CAAD-60BA-CB19-47CFD6625A95}"/>
              </a:ext>
            </a:extLst>
          </p:cNvPr>
          <p:cNvSpPr txBox="1"/>
          <p:nvPr/>
        </p:nvSpPr>
        <p:spPr>
          <a:xfrm>
            <a:off x="4566445" y="4645778"/>
            <a:ext cx="1971873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ES" sz="1800" b="1" dirty="0">
                <a:solidFill>
                  <a:srgbClr val="1F67B0"/>
                </a:solidFill>
              </a:rPr>
              <a:t>Acuerd</a:t>
            </a:r>
            <a:r>
              <a:rPr lang="es-ES" b="1" dirty="0">
                <a:solidFill>
                  <a:srgbClr val="1F67B0"/>
                </a:solidFill>
              </a:rPr>
              <a:t>os</a:t>
            </a:r>
            <a:endParaRPr lang="es-ES" sz="1800" b="1" dirty="0">
              <a:solidFill>
                <a:srgbClr val="1F67B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FBCD2B4-144F-251C-C49B-494318BC1113}"/>
              </a:ext>
            </a:extLst>
          </p:cNvPr>
          <p:cNvSpPr txBox="1"/>
          <p:nvPr/>
        </p:nvSpPr>
        <p:spPr>
          <a:xfrm>
            <a:off x="4566445" y="2451579"/>
            <a:ext cx="1971873" cy="2196000"/>
          </a:xfrm>
          <a:prstGeom prst="rect">
            <a:avLst/>
          </a:prstGeom>
          <a:solidFill>
            <a:srgbClr val="1F67B0"/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ES" sz="8800" b="1" dirty="0">
                <a:solidFill>
                  <a:schemeClr val="bg1"/>
                </a:solidFill>
              </a:rPr>
              <a:t>301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1958633-9D86-1281-57BA-6E81A01E4A2F}"/>
              </a:ext>
            </a:extLst>
          </p:cNvPr>
          <p:cNvSpPr/>
          <p:nvPr/>
        </p:nvSpPr>
        <p:spPr>
          <a:xfrm>
            <a:off x="729828" y="290598"/>
            <a:ext cx="455748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MEDIACIÓN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ED9706C-65D1-927C-B3BB-C6D52219224E}"/>
              </a:ext>
            </a:extLst>
          </p:cNvPr>
          <p:cNvSpPr/>
          <p:nvPr/>
        </p:nvSpPr>
        <p:spPr>
          <a:xfrm>
            <a:off x="7962735" y="3907536"/>
            <a:ext cx="3571844" cy="648000"/>
          </a:xfrm>
          <a:prstGeom prst="rect">
            <a:avLst/>
          </a:prstGeom>
          <a:solidFill>
            <a:srgbClr val="1F67B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C" sz="2400" dirty="0">
                <a:solidFill>
                  <a:schemeClr val="bg1"/>
                </a:solidFill>
              </a:rPr>
              <a:t>Ahorro USD 10 millone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BDF09AF-96C2-33B4-38FD-701E1A66C29F}"/>
              </a:ext>
            </a:extLst>
          </p:cNvPr>
          <p:cNvSpPr txBox="1"/>
          <p:nvPr/>
        </p:nvSpPr>
        <p:spPr>
          <a:xfrm>
            <a:off x="7962735" y="1891410"/>
            <a:ext cx="3571845" cy="29347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S" sz="1600" dirty="0">
                <a:solidFill>
                  <a:srgbClr val="1F67B0"/>
                </a:solidFill>
              </a:rPr>
              <a:t>Acuerdos destacados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2CED97E-DAAF-2AE3-DC12-FECB5CEEED98}"/>
              </a:ext>
            </a:extLst>
          </p:cNvPr>
          <p:cNvSpPr/>
          <p:nvPr/>
        </p:nvSpPr>
        <p:spPr>
          <a:xfrm>
            <a:off x="7962735" y="2359333"/>
            <a:ext cx="3571844" cy="1305725"/>
          </a:xfrm>
          <a:prstGeom prst="rect">
            <a:avLst/>
          </a:prstGeom>
          <a:solidFill>
            <a:srgbClr val="1F67B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C" sz="2500" b="1" dirty="0">
                <a:solidFill>
                  <a:schemeClr val="bg1"/>
                </a:solidFill>
              </a:rPr>
              <a:t>Caso CETC – </a:t>
            </a:r>
          </a:p>
          <a:p>
            <a:pPr algn="ctr"/>
            <a:r>
              <a:rPr lang="es-EC" sz="2500" b="1" dirty="0">
                <a:solidFill>
                  <a:schemeClr val="bg1"/>
                </a:solidFill>
              </a:rPr>
              <a:t>Ministerio de Defensa</a:t>
            </a:r>
          </a:p>
        </p:txBody>
      </p:sp>
    </p:spTree>
    <p:extLst>
      <p:ext uri="{BB962C8B-B14F-4D97-AF65-F5344CB8AC3E}">
        <p14:creationId xmlns:p14="http://schemas.microsoft.com/office/powerpoint/2010/main" val="1228135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5657CAD-CC37-86F0-94FC-C34D9F649B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157" y="0"/>
            <a:ext cx="8221843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68268A9B-531A-9814-CA9C-7732535A4C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5257800" cy="689208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E0F0E64-B069-3911-7450-F33FE09CF7EF}"/>
              </a:ext>
            </a:extLst>
          </p:cNvPr>
          <p:cNvSpPr txBox="1"/>
          <p:nvPr/>
        </p:nvSpPr>
        <p:spPr>
          <a:xfrm>
            <a:off x="1485900" y="4568102"/>
            <a:ext cx="228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dirty="0">
                <a:solidFill>
                  <a:schemeClr val="bg1"/>
                </a:solidFill>
              </a:rPr>
              <a:t>Antes</a:t>
            </a:r>
            <a:endParaRPr lang="es-EC" dirty="0">
              <a:solidFill>
                <a:schemeClr val="bg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FDBA3AB-BBC3-7356-30A1-8590CD048A15}"/>
              </a:ext>
            </a:extLst>
          </p:cNvPr>
          <p:cNvSpPr txBox="1"/>
          <p:nvPr/>
        </p:nvSpPr>
        <p:spPr>
          <a:xfrm>
            <a:off x="6438900" y="4716958"/>
            <a:ext cx="228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dirty="0">
                <a:solidFill>
                  <a:schemeClr val="bg1"/>
                </a:solidFill>
              </a:rPr>
              <a:t>Después</a:t>
            </a:r>
            <a:endParaRPr lang="es-EC" dirty="0">
              <a:solidFill>
                <a:schemeClr val="bg1"/>
              </a:solidFill>
            </a:endParaRPr>
          </a:p>
        </p:txBody>
      </p:sp>
      <p:pic>
        <p:nvPicPr>
          <p:cNvPr id="6" name="Imagen 5" descr="Logotipo&#10;&#10;El contenido generado por IA puede ser incorrecto.">
            <a:extLst>
              <a:ext uri="{FF2B5EF4-FFF2-40B4-BE49-F238E27FC236}">
                <a16:creationId xmlns:a16="http://schemas.microsoft.com/office/drawing/2014/main" id="{E0D0B23E-535F-C8D8-8867-A2B041269BC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307145"/>
            <a:ext cx="1378059" cy="90033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A5937073-CF56-9EF4-AD87-51DAE80341B0}"/>
              </a:ext>
            </a:extLst>
          </p:cNvPr>
          <p:cNvSpPr txBox="1"/>
          <p:nvPr/>
        </p:nvSpPr>
        <p:spPr>
          <a:xfrm>
            <a:off x="5257800" y="5821030"/>
            <a:ext cx="6934200" cy="729826"/>
          </a:xfrm>
          <a:prstGeom prst="rect">
            <a:avLst/>
          </a:prstGeom>
          <a:solidFill>
            <a:srgbClr val="004B8E"/>
          </a:solidFill>
        </p:spPr>
        <p:txBody>
          <a:bodyPr wrap="square" anchor="ctr" anchorCtr="0">
            <a:noAutofit/>
          </a:bodyPr>
          <a:lstStyle>
            <a:defPPr>
              <a:defRPr lang="es-EC"/>
            </a:defPPr>
            <a:lvl1pPr algn="r">
              <a:defRPr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r>
              <a:rPr lang="es-ES" b="1" dirty="0"/>
              <a:t>Remodelación Centro de Mediación Quito</a:t>
            </a:r>
          </a:p>
          <a:p>
            <a:r>
              <a:rPr lang="es-EC" dirty="0"/>
              <a:t>Quito, agosto 2025</a:t>
            </a:r>
          </a:p>
        </p:txBody>
      </p:sp>
    </p:spTree>
    <p:extLst>
      <p:ext uri="{BB962C8B-B14F-4D97-AF65-F5344CB8AC3E}">
        <p14:creationId xmlns:p14="http://schemas.microsoft.com/office/powerpoint/2010/main" val="29001970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A6BE870-BE4E-B9DC-E749-8D8237FF44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4" r="5411"/>
          <a:stretch>
            <a:fillRect/>
          </a:stretch>
        </p:blipFill>
        <p:spPr bwMode="auto">
          <a:xfrm>
            <a:off x="4085863" y="0"/>
            <a:ext cx="8106138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n 3" descr="Logotipo&#10;&#10;El contenido generado por IA puede ser incorrecto.">
            <a:extLst>
              <a:ext uri="{FF2B5EF4-FFF2-40B4-BE49-F238E27FC236}">
                <a16:creationId xmlns:a16="http://schemas.microsoft.com/office/drawing/2014/main" id="{076BF554-16CE-6B3E-213E-53D91B7593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745"/>
            <a:ext cx="1378059" cy="90033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trada de lápiz 2">
                <a:extLst>
                  <a:ext uri="{FF2B5EF4-FFF2-40B4-BE49-F238E27FC236}">
                    <a16:creationId xmlns:a16="http://schemas.microsoft.com/office/drawing/2014/main" id="{8344CDEF-9C01-97F0-5822-5AE1CEFA227A}"/>
                  </a:ext>
                </a:extLst>
              </p14:cNvPr>
              <p14:cNvContentPartPr/>
              <p14:nvPr/>
            </p14:nvContentPartPr>
            <p14:xfrm>
              <a:off x="4794120" y="1968480"/>
              <a:ext cx="360" cy="360"/>
            </p14:xfrm>
          </p:contentPart>
        </mc:Choice>
        <mc:Fallback xmlns="">
          <p:pic>
            <p:nvPicPr>
              <p:cNvPr id="3" name="Entrada de lápiz 2">
                <a:extLst>
                  <a:ext uri="{FF2B5EF4-FFF2-40B4-BE49-F238E27FC236}">
                    <a16:creationId xmlns:a16="http://schemas.microsoft.com/office/drawing/2014/main" id="{8344CDEF-9C01-97F0-5822-5AE1CEFA227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84760" y="1959120"/>
                <a:ext cx="19080" cy="19080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Imagen 5">
            <a:extLst>
              <a:ext uri="{FF2B5EF4-FFF2-40B4-BE49-F238E27FC236}">
                <a16:creationId xmlns:a16="http://schemas.microsoft.com/office/drawing/2014/main" id="{B8BBA8E1-877D-34AE-7AFC-C40592E853C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407" r="45754"/>
          <a:stretch>
            <a:fillRect/>
          </a:stretch>
        </p:blipFill>
        <p:spPr bwMode="auto">
          <a:xfrm>
            <a:off x="0" y="0"/>
            <a:ext cx="408586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B56F8E1E-CEC7-2BA4-576D-634CF8692183}"/>
              </a:ext>
            </a:extLst>
          </p:cNvPr>
          <p:cNvSpPr txBox="1"/>
          <p:nvPr/>
        </p:nvSpPr>
        <p:spPr>
          <a:xfrm>
            <a:off x="1485900" y="4568102"/>
            <a:ext cx="228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dirty="0">
                <a:solidFill>
                  <a:schemeClr val="bg1"/>
                </a:solidFill>
              </a:rPr>
              <a:t>Antes</a:t>
            </a:r>
            <a:endParaRPr lang="es-EC" dirty="0">
              <a:solidFill>
                <a:schemeClr val="bg1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1ECE85B-9DCC-35BC-C600-64B23B421025}"/>
              </a:ext>
            </a:extLst>
          </p:cNvPr>
          <p:cNvSpPr txBox="1"/>
          <p:nvPr/>
        </p:nvSpPr>
        <p:spPr>
          <a:xfrm>
            <a:off x="6438900" y="4716958"/>
            <a:ext cx="228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dirty="0">
                <a:solidFill>
                  <a:schemeClr val="bg1"/>
                </a:solidFill>
              </a:rPr>
              <a:t>Después</a:t>
            </a:r>
            <a:endParaRPr lang="es-EC" dirty="0">
              <a:solidFill>
                <a:schemeClr val="bg1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D8C670C-A575-9C8C-C1B6-81BBF4DF6D84}"/>
              </a:ext>
            </a:extLst>
          </p:cNvPr>
          <p:cNvSpPr txBox="1"/>
          <p:nvPr/>
        </p:nvSpPr>
        <p:spPr>
          <a:xfrm>
            <a:off x="4085862" y="5821030"/>
            <a:ext cx="8106138" cy="729826"/>
          </a:xfrm>
          <a:prstGeom prst="rect">
            <a:avLst/>
          </a:prstGeom>
          <a:solidFill>
            <a:srgbClr val="004B8E"/>
          </a:solidFill>
        </p:spPr>
        <p:txBody>
          <a:bodyPr wrap="square" anchor="ctr" anchorCtr="0">
            <a:noAutofit/>
          </a:bodyPr>
          <a:lstStyle>
            <a:defPPr>
              <a:defRPr lang="es-EC"/>
            </a:defPPr>
            <a:lvl1pPr algn="r">
              <a:defRPr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r>
              <a:rPr lang="es-ES" b="1" dirty="0"/>
              <a:t>Remodelación Centro de Mediación Quito</a:t>
            </a:r>
          </a:p>
          <a:p>
            <a:r>
              <a:rPr lang="es-EC" dirty="0"/>
              <a:t>Quito, agosto 2025</a:t>
            </a:r>
          </a:p>
        </p:txBody>
      </p:sp>
    </p:spTree>
    <p:extLst>
      <p:ext uri="{BB962C8B-B14F-4D97-AF65-F5344CB8AC3E}">
        <p14:creationId xmlns:p14="http://schemas.microsoft.com/office/powerpoint/2010/main" val="3541929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8321D38-93A0-A20C-C33E-A22C59AE6F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3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7EFFE954-C781-D3D3-D5B1-C40302F91B3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F67AF">
              <a:alpha val="7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666B0BB-DE30-1468-9F82-E75F5DAE4F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3</a:t>
            </a:fld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A47185A-7DE8-3ACD-651A-0BB87DB25F62}"/>
              </a:ext>
            </a:extLst>
          </p:cNvPr>
          <p:cNvSpPr txBox="1"/>
          <p:nvPr/>
        </p:nvSpPr>
        <p:spPr>
          <a:xfrm>
            <a:off x="5428526" y="3043921"/>
            <a:ext cx="6127291" cy="1729630"/>
          </a:xfrm>
          <a:prstGeom prst="rect">
            <a:avLst/>
          </a:prstGeom>
          <a:noFill/>
        </p:spPr>
        <p:txBody>
          <a:bodyPr wrap="square" lIns="180000" tIns="0" rIns="108000" bIns="134447" anchor="ctr" anchorCtr="0">
            <a:noAutofit/>
          </a:bodyPr>
          <a:lstStyle>
            <a:defPPr>
              <a:defRPr lang="es-EC"/>
            </a:defPPr>
            <a:lvl1pPr marR="0" lvl="0" indent="0" defTabSz="6829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bas Neue" panose="020B0606020202050201" pitchFamily="34" charset="0"/>
              </a:defRPr>
            </a:lvl1pPr>
          </a:lstStyle>
          <a:p>
            <a:pPr algn="ctr"/>
            <a:r>
              <a:rPr lang="es-EC" sz="1800" dirty="0">
                <a:latin typeface="Montserrat" pitchFamily="2" charset="0"/>
              </a:rPr>
              <a:t>EN  CUMPLIMIENTO DEL </a:t>
            </a:r>
          </a:p>
          <a:p>
            <a:pPr algn="ctr"/>
            <a:r>
              <a:rPr lang="es-EC" sz="3400" b="1" dirty="0">
                <a:latin typeface="Montserrat" pitchFamily="2" charset="0"/>
              </a:rPr>
              <a:t>ARTÍCULO 90 </a:t>
            </a:r>
          </a:p>
          <a:p>
            <a:pPr algn="ctr"/>
            <a:r>
              <a:rPr lang="es-EC" sz="1800" dirty="0">
                <a:latin typeface="Montserrat" pitchFamily="2" charset="0"/>
              </a:rPr>
              <a:t>LEY ORGÁNICA DE PARTICIPACIÓN CIUDADANA</a:t>
            </a:r>
          </a:p>
        </p:txBody>
      </p:sp>
      <p:pic>
        <p:nvPicPr>
          <p:cNvPr id="16" name="Imagen 15" descr="Logotipo&#10;&#10;Descripción generada automáticamente">
            <a:extLst>
              <a:ext uri="{FF2B5EF4-FFF2-40B4-BE49-F238E27FC236}">
                <a16:creationId xmlns:a16="http://schemas.microsoft.com/office/drawing/2014/main" id="{CA32FE4C-5BD8-2F73-82EA-3B278E9F3D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850" y="1895425"/>
            <a:ext cx="1982644" cy="129532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5014971D-F7B8-38F9-30FA-80D9A97ADC72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rcRect b="5346"/>
          <a:stretch>
            <a:fillRect/>
          </a:stretch>
        </p:blipFill>
        <p:spPr>
          <a:xfrm>
            <a:off x="850157" y="2006028"/>
            <a:ext cx="4393220" cy="284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771093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3E5FD-8C6A-127F-31EA-6D99C322E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id="{B1D72FD7-8CA7-1DD8-26F5-6A4EE737E511}"/>
              </a:ext>
            </a:extLst>
          </p:cNvPr>
          <p:cNvSpPr/>
          <p:nvPr/>
        </p:nvSpPr>
        <p:spPr>
          <a:xfrm>
            <a:off x="709770" y="2633923"/>
            <a:ext cx="2414697" cy="864774"/>
          </a:xfrm>
          <a:prstGeom prst="roundRect">
            <a:avLst>
              <a:gd name="adj" fmla="val 34290"/>
            </a:avLst>
          </a:prstGeom>
          <a:solidFill>
            <a:srgbClr val="004B8E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053F83-126C-FD37-86E2-B4CC3EC4111B}"/>
              </a:ext>
            </a:extLst>
          </p:cNvPr>
          <p:cNvSpPr>
            <a:spLocks/>
          </p:cNvSpPr>
          <p:nvPr/>
        </p:nvSpPr>
        <p:spPr bwMode="auto">
          <a:xfrm>
            <a:off x="5485758" y="4939353"/>
            <a:ext cx="1130382" cy="1667055"/>
          </a:xfrm>
          <a:custGeom>
            <a:avLst/>
            <a:gdLst>
              <a:gd name="T0" fmla="*/ 534 w 727"/>
              <a:gd name="T1" fmla="*/ 152 h 1133"/>
              <a:gd name="T2" fmla="*/ 555 w 727"/>
              <a:gd name="T3" fmla="*/ 144 h 1133"/>
              <a:gd name="T4" fmla="*/ 726 w 727"/>
              <a:gd name="T5" fmla="*/ 138 h 1133"/>
              <a:gd name="T6" fmla="*/ 708 w 727"/>
              <a:gd name="T7" fmla="*/ 182 h 1133"/>
              <a:gd name="T8" fmla="*/ 709 w 727"/>
              <a:gd name="T9" fmla="*/ 239 h 1133"/>
              <a:gd name="T10" fmla="*/ 693 w 727"/>
              <a:gd name="T11" fmla="*/ 249 h 1133"/>
              <a:gd name="T12" fmla="*/ 681 w 727"/>
              <a:gd name="T13" fmla="*/ 330 h 1133"/>
              <a:gd name="T14" fmla="*/ 656 w 727"/>
              <a:gd name="T15" fmla="*/ 353 h 1133"/>
              <a:gd name="T16" fmla="*/ 642 w 727"/>
              <a:gd name="T17" fmla="*/ 423 h 1133"/>
              <a:gd name="T18" fmla="*/ 609 w 727"/>
              <a:gd name="T19" fmla="*/ 433 h 1133"/>
              <a:gd name="T20" fmla="*/ 592 w 727"/>
              <a:gd name="T21" fmla="*/ 521 h 1133"/>
              <a:gd name="T22" fmla="*/ 526 w 727"/>
              <a:gd name="T23" fmla="*/ 659 h 1133"/>
              <a:gd name="T24" fmla="*/ 536 w 727"/>
              <a:gd name="T25" fmla="*/ 736 h 1133"/>
              <a:gd name="T26" fmla="*/ 530 w 727"/>
              <a:gd name="T27" fmla="*/ 785 h 1133"/>
              <a:gd name="T28" fmla="*/ 522 w 727"/>
              <a:gd name="T29" fmla="*/ 835 h 1133"/>
              <a:gd name="T30" fmla="*/ 407 w 727"/>
              <a:gd name="T31" fmla="*/ 891 h 1133"/>
              <a:gd name="T32" fmla="*/ 357 w 727"/>
              <a:gd name="T33" fmla="*/ 974 h 1133"/>
              <a:gd name="T34" fmla="*/ 353 w 727"/>
              <a:gd name="T35" fmla="*/ 1038 h 1133"/>
              <a:gd name="T36" fmla="*/ 308 w 727"/>
              <a:gd name="T37" fmla="*/ 1084 h 1133"/>
              <a:gd name="T38" fmla="*/ 253 w 727"/>
              <a:gd name="T39" fmla="*/ 1121 h 1133"/>
              <a:gd name="T40" fmla="*/ 221 w 727"/>
              <a:gd name="T41" fmla="*/ 1113 h 1133"/>
              <a:gd name="T42" fmla="*/ 169 w 727"/>
              <a:gd name="T43" fmla="*/ 1101 h 1133"/>
              <a:gd name="T44" fmla="*/ 96 w 727"/>
              <a:gd name="T45" fmla="*/ 1088 h 1133"/>
              <a:gd name="T46" fmla="*/ 62 w 727"/>
              <a:gd name="T47" fmla="*/ 1053 h 1133"/>
              <a:gd name="T48" fmla="*/ 44 w 727"/>
              <a:gd name="T49" fmla="*/ 1023 h 1133"/>
              <a:gd name="T50" fmla="*/ 2 w 727"/>
              <a:gd name="T51" fmla="*/ 983 h 1133"/>
              <a:gd name="T52" fmla="*/ 57 w 727"/>
              <a:gd name="T53" fmla="*/ 901 h 1133"/>
              <a:gd name="T54" fmla="*/ 94 w 727"/>
              <a:gd name="T55" fmla="*/ 845 h 1133"/>
              <a:gd name="T56" fmla="*/ 95 w 727"/>
              <a:gd name="T57" fmla="*/ 798 h 1133"/>
              <a:gd name="T58" fmla="*/ 118 w 727"/>
              <a:gd name="T59" fmla="*/ 773 h 1133"/>
              <a:gd name="T60" fmla="*/ 147 w 727"/>
              <a:gd name="T61" fmla="*/ 779 h 1133"/>
              <a:gd name="T62" fmla="*/ 171 w 727"/>
              <a:gd name="T63" fmla="*/ 792 h 1133"/>
              <a:gd name="T64" fmla="*/ 188 w 727"/>
              <a:gd name="T65" fmla="*/ 776 h 1133"/>
              <a:gd name="T66" fmla="*/ 210 w 727"/>
              <a:gd name="T67" fmla="*/ 759 h 1133"/>
              <a:gd name="T68" fmla="*/ 233 w 727"/>
              <a:gd name="T69" fmla="*/ 728 h 1133"/>
              <a:gd name="T70" fmla="*/ 236 w 727"/>
              <a:gd name="T71" fmla="*/ 668 h 1133"/>
              <a:gd name="T72" fmla="*/ 240 w 727"/>
              <a:gd name="T73" fmla="*/ 592 h 1133"/>
              <a:gd name="T74" fmla="*/ 228 w 727"/>
              <a:gd name="T75" fmla="*/ 569 h 1133"/>
              <a:gd name="T76" fmla="*/ 212 w 727"/>
              <a:gd name="T77" fmla="*/ 560 h 1133"/>
              <a:gd name="T78" fmla="*/ 205 w 727"/>
              <a:gd name="T79" fmla="*/ 547 h 1133"/>
              <a:gd name="T80" fmla="*/ 218 w 727"/>
              <a:gd name="T81" fmla="*/ 475 h 1133"/>
              <a:gd name="T82" fmla="*/ 220 w 727"/>
              <a:gd name="T83" fmla="*/ 404 h 1133"/>
              <a:gd name="T84" fmla="*/ 227 w 727"/>
              <a:gd name="T85" fmla="*/ 365 h 1133"/>
              <a:gd name="T86" fmla="*/ 198 w 727"/>
              <a:gd name="T87" fmla="*/ 319 h 1133"/>
              <a:gd name="T88" fmla="*/ 179 w 727"/>
              <a:gd name="T89" fmla="*/ 274 h 1133"/>
              <a:gd name="T90" fmla="*/ 189 w 727"/>
              <a:gd name="T91" fmla="*/ 263 h 1133"/>
              <a:gd name="T92" fmla="*/ 207 w 727"/>
              <a:gd name="T93" fmla="*/ 260 h 1133"/>
              <a:gd name="T94" fmla="*/ 212 w 727"/>
              <a:gd name="T95" fmla="*/ 237 h 1133"/>
              <a:gd name="T96" fmla="*/ 252 w 727"/>
              <a:gd name="T97" fmla="*/ 208 h 1133"/>
              <a:gd name="T98" fmla="*/ 267 w 727"/>
              <a:gd name="T99" fmla="*/ 192 h 1133"/>
              <a:gd name="T100" fmla="*/ 273 w 727"/>
              <a:gd name="T101" fmla="*/ 114 h 1133"/>
              <a:gd name="T102" fmla="*/ 272 w 727"/>
              <a:gd name="T103" fmla="*/ 87 h 1133"/>
              <a:gd name="T104" fmla="*/ 272 w 727"/>
              <a:gd name="T105" fmla="*/ 59 h 1133"/>
              <a:gd name="T106" fmla="*/ 336 w 727"/>
              <a:gd name="T107" fmla="*/ 13 h 1133"/>
              <a:gd name="T108" fmla="*/ 412 w 727"/>
              <a:gd name="T109" fmla="*/ 49 h 1133"/>
              <a:gd name="T110" fmla="*/ 400 w 727"/>
              <a:gd name="T111" fmla="*/ 68 h 1133"/>
              <a:gd name="T112" fmla="*/ 393 w 727"/>
              <a:gd name="T113" fmla="*/ 84 h 1133"/>
              <a:gd name="T114" fmla="*/ 400 w 727"/>
              <a:gd name="T115" fmla="*/ 117 h 1133"/>
              <a:gd name="T116" fmla="*/ 414 w 727"/>
              <a:gd name="T117" fmla="*/ 134 h 1133"/>
              <a:gd name="T118" fmla="*/ 428 w 727"/>
              <a:gd name="T119" fmla="*/ 150 h 1133"/>
              <a:gd name="T120" fmla="*/ 504 w 727"/>
              <a:gd name="T121" fmla="*/ 165 h 1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7" h="1133">
                <a:moveTo>
                  <a:pt x="520" y="172"/>
                </a:moveTo>
                <a:lnTo>
                  <a:pt x="524" y="169"/>
                </a:lnTo>
                <a:lnTo>
                  <a:pt x="527" y="164"/>
                </a:lnTo>
                <a:lnTo>
                  <a:pt x="534" y="152"/>
                </a:lnTo>
                <a:lnTo>
                  <a:pt x="536" y="149"/>
                </a:lnTo>
                <a:lnTo>
                  <a:pt x="540" y="147"/>
                </a:lnTo>
                <a:lnTo>
                  <a:pt x="546" y="145"/>
                </a:lnTo>
                <a:lnTo>
                  <a:pt x="555" y="144"/>
                </a:lnTo>
                <a:lnTo>
                  <a:pt x="581" y="147"/>
                </a:lnTo>
                <a:lnTo>
                  <a:pt x="594" y="147"/>
                </a:lnTo>
                <a:lnTo>
                  <a:pt x="642" y="137"/>
                </a:lnTo>
                <a:lnTo>
                  <a:pt x="726" y="138"/>
                </a:lnTo>
                <a:lnTo>
                  <a:pt x="727" y="138"/>
                </a:lnTo>
                <a:lnTo>
                  <a:pt x="726" y="140"/>
                </a:lnTo>
                <a:lnTo>
                  <a:pt x="713" y="167"/>
                </a:lnTo>
                <a:lnTo>
                  <a:pt x="708" y="182"/>
                </a:lnTo>
                <a:lnTo>
                  <a:pt x="707" y="195"/>
                </a:lnTo>
                <a:lnTo>
                  <a:pt x="707" y="218"/>
                </a:lnTo>
                <a:lnTo>
                  <a:pt x="711" y="233"/>
                </a:lnTo>
                <a:lnTo>
                  <a:pt x="709" y="239"/>
                </a:lnTo>
                <a:lnTo>
                  <a:pt x="705" y="243"/>
                </a:lnTo>
                <a:lnTo>
                  <a:pt x="696" y="244"/>
                </a:lnTo>
                <a:lnTo>
                  <a:pt x="693" y="246"/>
                </a:lnTo>
                <a:lnTo>
                  <a:pt x="693" y="249"/>
                </a:lnTo>
                <a:lnTo>
                  <a:pt x="693" y="257"/>
                </a:lnTo>
                <a:lnTo>
                  <a:pt x="701" y="301"/>
                </a:lnTo>
                <a:lnTo>
                  <a:pt x="698" y="314"/>
                </a:lnTo>
                <a:lnTo>
                  <a:pt x="681" y="330"/>
                </a:lnTo>
                <a:lnTo>
                  <a:pt x="676" y="333"/>
                </a:lnTo>
                <a:lnTo>
                  <a:pt x="667" y="337"/>
                </a:lnTo>
                <a:lnTo>
                  <a:pt x="663" y="340"/>
                </a:lnTo>
                <a:lnTo>
                  <a:pt x="656" y="353"/>
                </a:lnTo>
                <a:lnTo>
                  <a:pt x="652" y="366"/>
                </a:lnTo>
                <a:lnTo>
                  <a:pt x="644" y="416"/>
                </a:lnTo>
                <a:lnTo>
                  <a:pt x="646" y="420"/>
                </a:lnTo>
                <a:lnTo>
                  <a:pt x="642" y="423"/>
                </a:lnTo>
                <a:lnTo>
                  <a:pt x="633" y="428"/>
                </a:lnTo>
                <a:lnTo>
                  <a:pt x="624" y="431"/>
                </a:lnTo>
                <a:lnTo>
                  <a:pt x="616" y="431"/>
                </a:lnTo>
                <a:lnTo>
                  <a:pt x="609" y="433"/>
                </a:lnTo>
                <a:lnTo>
                  <a:pt x="602" y="441"/>
                </a:lnTo>
                <a:lnTo>
                  <a:pt x="599" y="451"/>
                </a:lnTo>
                <a:lnTo>
                  <a:pt x="599" y="491"/>
                </a:lnTo>
                <a:lnTo>
                  <a:pt x="592" y="521"/>
                </a:lnTo>
                <a:lnTo>
                  <a:pt x="551" y="606"/>
                </a:lnTo>
                <a:lnTo>
                  <a:pt x="545" y="636"/>
                </a:lnTo>
                <a:lnTo>
                  <a:pt x="539" y="649"/>
                </a:lnTo>
                <a:lnTo>
                  <a:pt x="526" y="659"/>
                </a:lnTo>
                <a:lnTo>
                  <a:pt x="521" y="673"/>
                </a:lnTo>
                <a:lnTo>
                  <a:pt x="522" y="698"/>
                </a:lnTo>
                <a:lnTo>
                  <a:pt x="527" y="723"/>
                </a:lnTo>
                <a:lnTo>
                  <a:pt x="536" y="736"/>
                </a:lnTo>
                <a:lnTo>
                  <a:pt x="551" y="746"/>
                </a:lnTo>
                <a:lnTo>
                  <a:pt x="550" y="757"/>
                </a:lnTo>
                <a:lnTo>
                  <a:pt x="539" y="770"/>
                </a:lnTo>
                <a:lnTo>
                  <a:pt x="530" y="785"/>
                </a:lnTo>
                <a:lnTo>
                  <a:pt x="529" y="797"/>
                </a:lnTo>
                <a:lnTo>
                  <a:pt x="529" y="811"/>
                </a:lnTo>
                <a:lnTo>
                  <a:pt x="527" y="824"/>
                </a:lnTo>
                <a:lnTo>
                  <a:pt x="522" y="835"/>
                </a:lnTo>
                <a:lnTo>
                  <a:pt x="504" y="847"/>
                </a:lnTo>
                <a:lnTo>
                  <a:pt x="496" y="851"/>
                </a:lnTo>
                <a:lnTo>
                  <a:pt x="435" y="876"/>
                </a:lnTo>
                <a:lnTo>
                  <a:pt x="407" y="891"/>
                </a:lnTo>
                <a:lnTo>
                  <a:pt x="377" y="921"/>
                </a:lnTo>
                <a:lnTo>
                  <a:pt x="364" y="937"/>
                </a:lnTo>
                <a:lnTo>
                  <a:pt x="356" y="956"/>
                </a:lnTo>
                <a:lnTo>
                  <a:pt x="357" y="974"/>
                </a:lnTo>
                <a:lnTo>
                  <a:pt x="373" y="1004"/>
                </a:lnTo>
                <a:lnTo>
                  <a:pt x="376" y="1020"/>
                </a:lnTo>
                <a:lnTo>
                  <a:pt x="368" y="1033"/>
                </a:lnTo>
                <a:lnTo>
                  <a:pt x="353" y="1038"/>
                </a:lnTo>
                <a:lnTo>
                  <a:pt x="336" y="1038"/>
                </a:lnTo>
                <a:lnTo>
                  <a:pt x="322" y="1041"/>
                </a:lnTo>
                <a:lnTo>
                  <a:pt x="315" y="1052"/>
                </a:lnTo>
                <a:lnTo>
                  <a:pt x="308" y="1084"/>
                </a:lnTo>
                <a:lnTo>
                  <a:pt x="302" y="1098"/>
                </a:lnTo>
                <a:lnTo>
                  <a:pt x="285" y="1117"/>
                </a:lnTo>
                <a:lnTo>
                  <a:pt x="266" y="1133"/>
                </a:lnTo>
                <a:lnTo>
                  <a:pt x="253" y="1121"/>
                </a:lnTo>
                <a:lnTo>
                  <a:pt x="246" y="1116"/>
                </a:lnTo>
                <a:lnTo>
                  <a:pt x="239" y="1112"/>
                </a:lnTo>
                <a:lnTo>
                  <a:pt x="232" y="1111"/>
                </a:lnTo>
                <a:lnTo>
                  <a:pt x="221" y="1113"/>
                </a:lnTo>
                <a:lnTo>
                  <a:pt x="214" y="1114"/>
                </a:lnTo>
                <a:lnTo>
                  <a:pt x="202" y="1111"/>
                </a:lnTo>
                <a:lnTo>
                  <a:pt x="181" y="1104"/>
                </a:lnTo>
                <a:lnTo>
                  <a:pt x="169" y="1101"/>
                </a:lnTo>
                <a:lnTo>
                  <a:pt x="153" y="1103"/>
                </a:lnTo>
                <a:lnTo>
                  <a:pt x="121" y="1104"/>
                </a:lnTo>
                <a:lnTo>
                  <a:pt x="106" y="1099"/>
                </a:lnTo>
                <a:lnTo>
                  <a:pt x="96" y="1088"/>
                </a:lnTo>
                <a:lnTo>
                  <a:pt x="89" y="1074"/>
                </a:lnTo>
                <a:lnTo>
                  <a:pt x="80" y="1061"/>
                </a:lnTo>
                <a:lnTo>
                  <a:pt x="75" y="1057"/>
                </a:lnTo>
                <a:lnTo>
                  <a:pt x="62" y="1053"/>
                </a:lnTo>
                <a:lnTo>
                  <a:pt x="55" y="1048"/>
                </a:lnTo>
                <a:lnTo>
                  <a:pt x="52" y="1042"/>
                </a:lnTo>
                <a:lnTo>
                  <a:pt x="48" y="1029"/>
                </a:lnTo>
                <a:lnTo>
                  <a:pt x="44" y="1023"/>
                </a:lnTo>
                <a:lnTo>
                  <a:pt x="32" y="1015"/>
                </a:lnTo>
                <a:lnTo>
                  <a:pt x="18" y="1007"/>
                </a:lnTo>
                <a:lnTo>
                  <a:pt x="7" y="997"/>
                </a:lnTo>
                <a:lnTo>
                  <a:pt x="2" y="983"/>
                </a:lnTo>
                <a:lnTo>
                  <a:pt x="0" y="971"/>
                </a:lnTo>
                <a:lnTo>
                  <a:pt x="6" y="968"/>
                </a:lnTo>
                <a:lnTo>
                  <a:pt x="35" y="937"/>
                </a:lnTo>
                <a:lnTo>
                  <a:pt x="57" y="901"/>
                </a:lnTo>
                <a:lnTo>
                  <a:pt x="66" y="892"/>
                </a:lnTo>
                <a:lnTo>
                  <a:pt x="87" y="862"/>
                </a:lnTo>
                <a:lnTo>
                  <a:pt x="91" y="854"/>
                </a:lnTo>
                <a:lnTo>
                  <a:pt x="94" y="845"/>
                </a:lnTo>
                <a:lnTo>
                  <a:pt x="95" y="838"/>
                </a:lnTo>
                <a:lnTo>
                  <a:pt x="92" y="825"/>
                </a:lnTo>
                <a:lnTo>
                  <a:pt x="92" y="819"/>
                </a:lnTo>
                <a:lnTo>
                  <a:pt x="95" y="798"/>
                </a:lnTo>
                <a:lnTo>
                  <a:pt x="106" y="791"/>
                </a:lnTo>
                <a:lnTo>
                  <a:pt x="109" y="785"/>
                </a:lnTo>
                <a:lnTo>
                  <a:pt x="114" y="778"/>
                </a:lnTo>
                <a:lnTo>
                  <a:pt x="118" y="773"/>
                </a:lnTo>
                <a:lnTo>
                  <a:pt x="123" y="773"/>
                </a:lnTo>
                <a:lnTo>
                  <a:pt x="130" y="774"/>
                </a:lnTo>
                <a:lnTo>
                  <a:pt x="139" y="778"/>
                </a:lnTo>
                <a:lnTo>
                  <a:pt x="147" y="779"/>
                </a:lnTo>
                <a:lnTo>
                  <a:pt x="153" y="782"/>
                </a:lnTo>
                <a:lnTo>
                  <a:pt x="159" y="786"/>
                </a:lnTo>
                <a:lnTo>
                  <a:pt x="166" y="792"/>
                </a:lnTo>
                <a:lnTo>
                  <a:pt x="171" y="792"/>
                </a:lnTo>
                <a:lnTo>
                  <a:pt x="175" y="787"/>
                </a:lnTo>
                <a:lnTo>
                  <a:pt x="179" y="782"/>
                </a:lnTo>
                <a:lnTo>
                  <a:pt x="183" y="779"/>
                </a:lnTo>
                <a:lnTo>
                  <a:pt x="188" y="776"/>
                </a:lnTo>
                <a:lnTo>
                  <a:pt x="194" y="775"/>
                </a:lnTo>
                <a:lnTo>
                  <a:pt x="200" y="773"/>
                </a:lnTo>
                <a:lnTo>
                  <a:pt x="205" y="769"/>
                </a:lnTo>
                <a:lnTo>
                  <a:pt x="210" y="759"/>
                </a:lnTo>
                <a:lnTo>
                  <a:pt x="220" y="745"/>
                </a:lnTo>
                <a:lnTo>
                  <a:pt x="227" y="737"/>
                </a:lnTo>
                <a:lnTo>
                  <a:pt x="231" y="733"/>
                </a:lnTo>
                <a:lnTo>
                  <a:pt x="233" y="728"/>
                </a:lnTo>
                <a:lnTo>
                  <a:pt x="237" y="706"/>
                </a:lnTo>
                <a:lnTo>
                  <a:pt x="238" y="692"/>
                </a:lnTo>
                <a:lnTo>
                  <a:pt x="237" y="676"/>
                </a:lnTo>
                <a:lnTo>
                  <a:pt x="236" y="668"/>
                </a:lnTo>
                <a:lnTo>
                  <a:pt x="241" y="630"/>
                </a:lnTo>
                <a:lnTo>
                  <a:pt x="239" y="613"/>
                </a:lnTo>
                <a:lnTo>
                  <a:pt x="240" y="604"/>
                </a:lnTo>
                <a:lnTo>
                  <a:pt x="240" y="592"/>
                </a:lnTo>
                <a:lnTo>
                  <a:pt x="239" y="587"/>
                </a:lnTo>
                <a:lnTo>
                  <a:pt x="237" y="581"/>
                </a:lnTo>
                <a:lnTo>
                  <a:pt x="231" y="573"/>
                </a:lnTo>
                <a:lnTo>
                  <a:pt x="228" y="569"/>
                </a:lnTo>
                <a:lnTo>
                  <a:pt x="225" y="566"/>
                </a:lnTo>
                <a:lnTo>
                  <a:pt x="222" y="564"/>
                </a:lnTo>
                <a:lnTo>
                  <a:pt x="215" y="561"/>
                </a:lnTo>
                <a:lnTo>
                  <a:pt x="212" y="560"/>
                </a:lnTo>
                <a:lnTo>
                  <a:pt x="210" y="558"/>
                </a:lnTo>
                <a:lnTo>
                  <a:pt x="209" y="555"/>
                </a:lnTo>
                <a:lnTo>
                  <a:pt x="207" y="552"/>
                </a:lnTo>
                <a:lnTo>
                  <a:pt x="205" y="547"/>
                </a:lnTo>
                <a:lnTo>
                  <a:pt x="206" y="537"/>
                </a:lnTo>
                <a:lnTo>
                  <a:pt x="207" y="523"/>
                </a:lnTo>
                <a:lnTo>
                  <a:pt x="217" y="485"/>
                </a:lnTo>
                <a:lnTo>
                  <a:pt x="218" y="475"/>
                </a:lnTo>
                <a:lnTo>
                  <a:pt x="214" y="455"/>
                </a:lnTo>
                <a:lnTo>
                  <a:pt x="213" y="439"/>
                </a:lnTo>
                <a:lnTo>
                  <a:pt x="215" y="419"/>
                </a:lnTo>
                <a:lnTo>
                  <a:pt x="220" y="404"/>
                </a:lnTo>
                <a:lnTo>
                  <a:pt x="225" y="390"/>
                </a:lnTo>
                <a:lnTo>
                  <a:pt x="228" y="382"/>
                </a:lnTo>
                <a:lnTo>
                  <a:pt x="228" y="376"/>
                </a:lnTo>
                <a:lnTo>
                  <a:pt x="227" y="365"/>
                </a:lnTo>
                <a:lnTo>
                  <a:pt x="225" y="358"/>
                </a:lnTo>
                <a:lnTo>
                  <a:pt x="218" y="344"/>
                </a:lnTo>
                <a:lnTo>
                  <a:pt x="205" y="329"/>
                </a:lnTo>
                <a:lnTo>
                  <a:pt x="198" y="319"/>
                </a:lnTo>
                <a:lnTo>
                  <a:pt x="188" y="296"/>
                </a:lnTo>
                <a:lnTo>
                  <a:pt x="182" y="285"/>
                </a:lnTo>
                <a:lnTo>
                  <a:pt x="181" y="279"/>
                </a:lnTo>
                <a:lnTo>
                  <a:pt x="179" y="274"/>
                </a:lnTo>
                <a:lnTo>
                  <a:pt x="180" y="268"/>
                </a:lnTo>
                <a:lnTo>
                  <a:pt x="182" y="265"/>
                </a:lnTo>
                <a:lnTo>
                  <a:pt x="185" y="264"/>
                </a:lnTo>
                <a:lnTo>
                  <a:pt x="189" y="263"/>
                </a:lnTo>
                <a:lnTo>
                  <a:pt x="193" y="264"/>
                </a:lnTo>
                <a:lnTo>
                  <a:pt x="200" y="263"/>
                </a:lnTo>
                <a:lnTo>
                  <a:pt x="204" y="262"/>
                </a:lnTo>
                <a:lnTo>
                  <a:pt x="207" y="260"/>
                </a:lnTo>
                <a:lnTo>
                  <a:pt x="210" y="255"/>
                </a:lnTo>
                <a:lnTo>
                  <a:pt x="210" y="251"/>
                </a:lnTo>
                <a:lnTo>
                  <a:pt x="210" y="241"/>
                </a:lnTo>
                <a:lnTo>
                  <a:pt x="212" y="237"/>
                </a:lnTo>
                <a:lnTo>
                  <a:pt x="222" y="228"/>
                </a:lnTo>
                <a:lnTo>
                  <a:pt x="227" y="226"/>
                </a:lnTo>
                <a:lnTo>
                  <a:pt x="240" y="210"/>
                </a:lnTo>
                <a:lnTo>
                  <a:pt x="252" y="208"/>
                </a:lnTo>
                <a:lnTo>
                  <a:pt x="257" y="206"/>
                </a:lnTo>
                <a:lnTo>
                  <a:pt x="261" y="204"/>
                </a:lnTo>
                <a:lnTo>
                  <a:pt x="265" y="199"/>
                </a:lnTo>
                <a:lnTo>
                  <a:pt x="267" y="192"/>
                </a:lnTo>
                <a:lnTo>
                  <a:pt x="275" y="153"/>
                </a:lnTo>
                <a:lnTo>
                  <a:pt x="271" y="130"/>
                </a:lnTo>
                <a:lnTo>
                  <a:pt x="272" y="122"/>
                </a:lnTo>
                <a:lnTo>
                  <a:pt x="273" y="114"/>
                </a:lnTo>
                <a:lnTo>
                  <a:pt x="277" y="101"/>
                </a:lnTo>
                <a:lnTo>
                  <a:pt x="277" y="96"/>
                </a:lnTo>
                <a:lnTo>
                  <a:pt x="275" y="92"/>
                </a:lnTo>
                <a:lnTo>
                  <a:pt x="272" y="87"/>
                </a:lnTo>
                <a:lnTo>
                  <a:pt x="269" y="78"/>
                </a:lnTo>
                <a:lnTo>
                  <a:pt x="267" y="72"/>
                </a:lnTo>
                <a:lnTo>
                  <a:pt x="269" y="67"/>
                </a:lnTo>
                <a:lnTo>
                  <a:pt x="272" y="59"/>
                </a:lnTo>
                <a:lnTo>
                  <a:pt x="278" y="50"/>
                </a:lnTo>
                <a:lnTo>
                  <a:pt x="287" y="42"/>
                </a:lnTo>
                <a:lnTo>
                  <a:pt x="299" y="33"/>
                </a:lnTo>
                <a:lnTo>
                  <a:pt x="336" y="13"/>
                </a:lnTo>
                <a:lnTo>
                  <a:pt x="350" y="0"/>
                </a:lnTo>
                <a:lnTo>
                  <a:pt x="405" y="39"/>
                </a:lnTo>
                <a:lnTo>
                  <a:pt x="409" y="44"/>
                </a:lnTo>
                <a:lnTo>
                  <a:pt x="412" y="49"/>
                </a:lnTo>
                <a:lnTo>
                  <a:pt x="412" y="53"/>
                </a:lnTo>
                <a:lnTo>
                  <a:pt x="410" y="57"/>
                </a:lnTo>
                <a:lnTo>
                  <a:pt x="407" y="60"/>
                </a:lnTo>
                <a:lnTo>
                  <a:pt x="400" y="68"/>
                </a:lnTo>
                <a:lnTo>
                  <a:pt x="396" y="71"/>
                </a:lnTo>
                <a:lnTo>
                  <a:pt x="393" y="75"/>
                </a:lnTo>
                <a:lnTo>
                  <a:pt x="393" y="80"/>
                </a:lnTo>
                <a:lnTo>
                  <a:pt x="393" y="84"/>
                </a:lnTo>
                <a:lnTo>
                  <a:pt x="396" y="94"/>
                </a:lnTo>
                <a:lnTo>
                  <a:pt x="397" y="106"/>
                </a:lnTo>
                <a:lnTo>
                  <a:pt x="399" y="112"/>
                </a:lnTo>
                <a:lnTo>
                  <a:pt x="400" y="117"/>
                </a:lnTo>
                <a:lnTo>
                  <a:pt x="403" y="121"/>
                </a:lnTo>
                <a:lnTo>
                  <a:pt x="406" y="125"/>
                </a:lnTo>
                <a:lnTo>
                  <a:pt x="412" y="130"/>
                </a:lnTo>
                <a:lnTo>
                  <a:pt x="414" y="134"/>
                </a:lnTo>
                <a:lnTo>
                  <a:pt x="416" y="137"/>
                </a:lnTo>
                <a:lnTo>
                  <a:pt x="417" y="143"/>
                </a:lnTo>
                <a:lnTo>
                  <a:pt x="420" y="146"/>
                </a:lnTo>
                <a:lnTo>
                  <a:pt x="428" y="150"/>
                </a:lnTo>
                <a:lnTo>
                  <a:pt x="446" y="152"/>
                </a:lnTo>
                <a:lnTo>
                  <a:pt x="474" y="160"/>
                </a:lnTo>
                <a:lnTo>
                  <a:pt x="497" y="163"/>
                </a:lnTo>
                <a:lnTo>
                  <a:pt x="504" y="165"/>
                </a:lnTo>
                <a:lnTo>
                  <a:pt x="516" y="171"/>
                </a:lnTo>
                <a:lnTo>
                  <a:pt x="520" y="17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0219E286-1757-E8D3-73B7-E298B0264295}"/>
              </a:ext>
            </a:extLst>
          </p:cNvPr>
          <p:cNvSpPr>
            <a:spLocks/>
          </p:cNvSpPr>
          <p:nvPr/>
        </p:nvSpPr>
        <p:spPr bwMode="auto">
          <a:xfrm>
            <a:off x="6040840" y="2613130"/>
            <a:ext cx="845842" cy="554704"/>
          </a:xfrm>
          <a:custGeom>
            <a:avLst/>
            <a:gdLst>
              <a:gd name="T0" fmla="*/ 417 w 544"/>
              <a:gd name="T1" fmla="*/ 120 h 377"/>
              <a:gd name="T2" fmla="*/ 435 w 544"/>
              <a:gd name="T3" fmla="*/ 118 h 377"/>
              <a:gd name="T4" fmla="*/ 454 w 544"/>
              <a:gd name="T5" fmla="*/ 122 h 377"/>
              <a:gd name="T6" fmla="*/ 473 w 544"/>
              <a:gd name="T7" fmla="*/ 118 h 377"/>
              <a:gd name="T8" fmla="*/ 478 w 544"/>
              <a:gd name="T9" fmla="*/ 124 h 377"/>
              <a:gd name="T10" fmla="*/ 482 w 544"/>
              <a:gd name="T11" fmla="*/ 132 h 377"/>
              <a:gd name="T12" fmla="*/ 494 w 544"/>
              <a:gd name="T13" fmla="*/ 131 h 377"/>
              <a:gd name="T14" fmla="*/ 503 w 544"/>
              <a:gd name="T15" fmla="*/ 147 h 377"/>
              <a:gd name="T16" fmla="*/ 537 w 544"/>
              <a:gd name="T17" fmla="*/ 154 h 377"/>
              <a:gd name="T18" fmla="*/ 543 w 544"/>
              <a:gd name="T19" fmla="*/ 164 h 377"/>
              <a:gd name="T20" fmla="*/ 544 w 544"/>
              <a:gd name="T21" fmla="*/ 253 h 377"/>
              <a:gd name="T22" fmla="*/ 540 w 544"/>
              <a:gd name="T23" fmla="*/ 274 h 377"/>
              <a:gd name="T24" fmla="*/ 505 w 544"/>
              <a:gd name="T25" fmla="*/ 324 h 377"/>
              <a:gd name="T26" fmla="*/ 486 w 544"/>
              <a:gd name="T27" fmla="*/ 342 h 377"/>
              <a:gd name="T28" fmla="*/ 465 w 544"/>
              <a:gd name="T29" fmla="*/ 350 h 377"/>
              <a:gd name="T30" fmla="*/ 425 w 544"/>
              <a:gd name="T31" fmla="*/ 346 h 377"/>
              <a:gd name="T32" fmla="*/ 403 w 544"/>
              <a:gd name="T33" fmla="*/ 356 h 377"/>
              <a:gd name="T34" fmla="*/ 385 w 544"/>
              <a:gd name="T35" fmla="*/ 377 h 377"/>
              <a:gd name="T36" fmla="*/ 377 w 544"/>
              <a:gd name="T37" fmla="*/ 357 h 377"/>
              <a:gd name="T38" fmla="*/ 370 w 544"/>
              <a:gd name="T39" fmla="*/ 352 h 377"/>
              <a:gd name="T40" fmla="*/ 354 w 544"/>
              <a:gd name="T41" fmla="*/ 344 h 377"/>
              <a:gd name="T42" fmla="*/ 333 w 544"/>
              <a:gd name="T43" fmla="*/ 338 h 377"/>
              <a:gd name="T44" fmla="*/ 308 w 544"/>
              <a:gd name="T45" fmla="*/ 324 h 377"/>
              <a:gd name="T46" fmla="*/ 293 w 544"/>
              <a:gd name="T47" fmla="*/ 320 h 377"/>
              <a:gd name="T48" fmla="*/ 282 w 544"/>
              <a:gd name="T49" fmla="*/ 338 h 377"/>
              <a:gd name="T50" fmla="*/ 268 w 544"/>
              <a:gd name="T51" fmla="*/ 347 h 377"/>
              <a:gd name="T52" fmla="*/ 246 w 544"/>
              <a:gd name="T53" fmla="*/ 344 h 377"/>
              <a:gd name="T54" fmla="*/ 222 w 544"/>
              <a:gd name="T55" fmla="*/ 350 h 377"/>
              <a:gd name="T56" fmla="*/ 189 w 544"/>
              <a:gd name="T57" fmla="*/ 352 h 377"/>
              <a:gd name="T58" fmla="*/ 137 w 544"/>
              <a:gd name="T59" fmla="*/ 338 h 377"/>
              <a:gd name="T60" fmla="*/ 103 w 544"/>
              <a:gd name="T61" fmla="*/ 315 h 377"/>
              <a:gd name="T62" fmla="*/ 86 w 544"/>
              <a:gd name="T63" fmla="*/ 308 h 377"/>
              <a:gd name="T64" fmla="*/ 68 w 544"/>
              <a:gd name="T65" fmla="*/ 313 h 377"/>
              <a:gd name="T66" fmla="*/ 32 w 544"/>
              <a:gd name="T67" fmla="*/ 331 h 377"/>
              <a:gd name="T68" fmla="*/ 19 w 544"/>
              <a:gd name="T69" fmla="*/ 314 h 377"/>
              <a:gd name="T70" fmla="*/ 0 w 544"/>
              <a:gd name="T71" fmla="*/ 280 h 377"/>
              <a:gd name="T72" fmla="*/ 12 w 544"/>
              <a:gd name="T73" fmla="*/ 235 h 377"/>
              <a:gd name="T74" fmla="*/ 24 w 544"/>
              <a:gd name="T75" fmla="*/ 204 h 377"/>
              <a:gd name="T76" fmla="*/ 26 w 544"/>
              <a:gd name="T77" fmla="*/ 170 h 377"/>
              <a:gd name="T78" fmla="*/ 60 w 544"/>
              <a:gd name="T79" fmla="*/ 136 h 377"/>
              <a:gd name="T80" fmla="*/ 95 w 544"/>
              <a:gd name="T81" fmla="*/ 115 h 377"/>
              <a:gd name="T82" fmla="*/ 120 w 544"/>
              <a:gd name="T83" fmla="*/ 112 h 377"/>
              <a:gd name="T84" fmla="*/ 167 w 544"/>
              <a:gd name="T85" fmla="*/ 120 h 377"/>
              <a:gd name="T86" fmla="*/ 190 w 544"/>
              <a:gd name="T87" fmla="*/ 111 h 377"/>
              <a:gd name="T88" fmla="*/ 213 w 544"/>
              <a:gd name="T89" fmla="*/ 96 h 377"/>
              <a:gd name="T90" fmla="*/ 237 w 544"/>
              <a:gd name="T91" fmla="*/ 93 h 377"/>
              <a:gd name="T92" fmla="*/ 243 w 544"/>
              <a:gd name="T93" fmla="*/ 84 h 377"/>
              <a:gd name="T94" fmla="*/ 244 w 544"/>
              <a:gd name="T95" fmla="*/ 71 h 377"/>
              <a:gd name="T96" fmla="*/ 257 w 544"/>
              <a:gd name="T97" fmla="*/ 64 h 377"/>
              <a:gd name="T98" fmla="*/ 269 w 544"/>
              <a:gd name="T99" fmla="*/ 66 h 377"/>
              <a:gd name="T100" fmla="*/ 278 w 544"/>
              <a:gd name="T101" fmla="*/ 72 h 377"/>
              <a:gd name="T102" fmla="*/ 292 w 544"/>
              <a:gd name="T103" fmla="*/ 79 h 377"/>
              <a:gd name="T104" fmla="*/ 317 w 544"/>
              <a:gd name="T105" fmla="*/ 74 h 377"/>
              <a:gd name="T106" fmla="*/ 331 w 544"/>
              <a:gd name="T107" fmla="*/ 54 h 377"/>
              <a:gd name="T108" fmla="*/ 331 w 544"/>
              <a:gd name="T109" fmla="*/ 35 h 377"/>
              <a:gd name="T110" fmla="*/ 337 w 544"/>
              <a:gd name="T111" fmla="*/ 21 h 377"/>
              <a:gd name="T112" fmla="*/ 359 w 544"/>
              <a:gd name="T113" fmla="*/ 0 h 377"/>
              <a:gd name="T114" fmla="*/ 390 w 544"/>
              <a:gd name="T115" fmla="*/ 43 h 377"/>
              <a:gd name="T116" fmla="*/ 399 w 544"/>
              <a:gd name="T117" fmla="*/ 64 h 377"/>
              <a:gd name="T118" fmla="*/ 398 w 544"/>
              <a:gd name="T119" fmla="*/ 105 h 377"/>
              <a:gd name="T120" fmla="*/ 390 w 544"/>
              <a:gd name="T121" fmla="*/ 123 h 377"/>
              <a:gd name="T122" fmla="*/ 390 w 544"/>
              <a:gd name="T123" fmla="*/ 134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" h="377">
                <a:moveTo>
                  <a:pt x="395" y="134"/>
                </a:moveTo>
                <a:lnTo>
                  <a:pt x="417" y="120"/>
                </a:lnTo>
                <a:lnTo>
                  <a:pt x="426" y="118"/>
                </a:lnTo>
                <a:lnTo>
                  <a:pt x="435" y="118"/>
                </a:lnTo>
                <a:lnTo>
                  <a:pt x="449" y="121"/>
                </a:lnTo>
                <a:lnTo>
                  <a:pt x="454" y="122"/>
                </a:lnTo>
                <a:lnTo>
                  <a:pt x="466" y="119"/>
                </a:lnTo>
                <a:lnTo>
                  <a:pt x="473" y="118"/>
                </a:lnTo>
                <a:lnTo>
                  <a:pt x="476" y="120"/>
                </a:lnTo>
                <a:lnTo>
                  <a:pt x="478" y="124"/>
                </a:lnTo>
                <a:lnTo>
                  <a:pt x="479" y="131"/>
                </a:lnTo>
                <a:lnTo>
                  <a:pt x="482" y="132"/>
                </a:lnTo>
                <a:lnTo>
                  <a:pt x="490" y="131"/>
                </a:lnTo>
                <a:lnTo>
                  <a:pt x="494" y="131"/>
                </a:lnTo>
                <a:lnTo>
                  <a:pt x="497" y="134"/>
                </a:lnTo>
                <a:lnTo>
                  <a:pt x="503" y="147"/>
                </a:lnTo>
                <a:lnTo>
                  <a:pt x="514" y="150"/>
                </a:lnTo>
                <a:lnTo>
                  <a:pt x="537" y="154"/>
                </a:lnTo>
                <a:lnTo>
                  <a:pt x="541" y="158"/>
                </a:lnTo>
                <a:lnTo>
                  <a:pt x="543" y="164"/>
                </a:lnTo>
                <a:lnTo>
                  <a:pt x="543" y="181"/>
                </a:lnTo>
                <a:lnTo>
                  <a:pt x="544" y="253"/>
                </a:lnTo>
                <a:lnTo>
                  <a:pt x="543" y="264"/>
                </a:lnTo>
                <a:lnTo>
                  <a:pt x="540" y="274"/>
                </a:lnTo>
                <a:lnTo>
                  <a:pt x="521" y="308"/>
                </a:lnTo>
                <a:lnTo>
                  <a:pt x="505" y="324"/>
                </a:lnTo>
                <a:lnTo>
                  <a:pt x="492" y="337"/>
                </a:lnTo>
                <a:lnTo>
                  <a:pt x="486" y="342"/>
                </a:lnTo>
                <a:lnTo>
                  <a:pt x="475" y="346"/>
                </a:lnTo>
                <a:lnTo>
                  <a:pt x="465" y="350"/>
                </a:lnTo>
                <a:lnTo>
                  <a:pt x="448" y="351"/>
                </a:lnTo>
                <a:lnTo>
                  <a:pt x="425" y="346"/>
                </a:lnTo>
                <a:lnTo>
                  <a:pt x="416" y="349"/>
                </a:lnTo>
                <a:lnTo>
                  <a:pt x="403" y="356"/>
                </a:lnTo>
                <a:lnTo>
                  <a:pt x="396" y="362"/>
                </a:lnTo>
                <a:lnTo>
                  <a:pt x="385" y="377"/>
                </a:lnTo>
                <a:lnTo>
                  <a:pt x="380" y="369"/>
                </a:lnTo>
                <a:lnTo>
                  <a:pt x="377" y="357"/>
                </a:lnTo>
                <a:lnTo>
                  <a:pt x="374" y="354"/>
                </a:lnTo>
                <a:lnTo>
                  <a:pt x="370" y="352"/>
                </a:lnTo>
                <a:lnTo>
                  <a:pt x="361" y="349"/>
                </a:lnTo>
                <a:lnTo>
                  <a:pt x="354" y="344"/>
                </a:lnTo>
                <a:lnTo>
                  <a:pt x="346" y="341"/>
                </a:lnTo>
                <a:lnTo>
                  <a:pt x="333" y="338"/>
                </a:lnTo>
                <a:lnTo>
                  <a:pt x="324" y="333"/>
                </a:lnTo>
                <a:lnTo>
                  <a:pt x="308" y="324"/>
                </a:lnTo>
                <a:lnTo>
                  <a:pt x="299" y="319"/>
                </a:lnTo>
                <a:lnTo>
                  <a:pt x="293" y="320"/>
                </a:lnTo>
                <a:lnTo>
                  <a:pt x="286" y="327"/>
                </a:lnTo>
                <a:lnTo>
                  <a:pt x="282" y="338"/>
                </a:lnTo>
                <a:lnTo>
                  <a:pt x="277" y="345"/>
                </a:lnTo>
                <a:lnTo>
                  <a:pt x="268" y="347"/>
                </a:lnTo>
                <a:lnTo>
                  <a:pt x="257" y="345"/>
                </a:lnTo>
                <a:lnTo>
                  <a:pt x="246" y="344"/>
                </a:lnTo>
                <a:lnTo>
                  <a:pt x="234" y="345"/>
                </a:lnTo>
                <a:lnTo>
                  <a:pt x="222" y="350"/>
                </a:lnTo>
                <a:lnTo>
                  <a:pt x="206" y="352"/>
                </a:lnTo>
                <a:lnTo>
                  <a:pt x="189" y="352"/>
                </a:lnTo>
                <a:lnTo>
                  <a:pt x="153" y="344"/>
                </a:lnTo>
                <a:lnTo>
                  <a:pt x="137" y="338"/>
                </a:lnTo>
                <a:lnTo>
                  <a:pt x="124" y="330"/>
                </a:lnTo>
                <a:lnTo>
                  <a:pt x="103" y="315"/>
                </a:lnTo>
                <a:lnTo>
                  <a:pt x="95" y="311"/>
                </a:lnTo>
                <a:lnTo>
                  <a:pt x="86" y="308"/>
                </a:lnTo>
                <a:lnTo>
                  <a:pt x="76" y="308"/>
                </a:lnTo>
                <a:lnTo>
                  <a:pt x="68" y="313"/>
                </a:lnTo>
                <a:lnTo>
                  <a:pt x="46" y="327"/>
                </a:lnTo>
                <a:lnTo>
                  <a:pt x="32" y="331"/>
                </a:lnTo>
                <a:lnTo>
                  <a:pt x="26" y="323"/>
                </a:lnTo>
                <a:lnTo>
                  <a:pt x="19" y="314"/>
                </a:lnTo>
                <a:lnTo>
                  <a:pt x="3" y="290"/>
                </a:lnTo>
                <a:lnTo>
                  <a:pt x="0" y="280"/>
                </a:lnTo>
                <a:lnTo>
                  <a:pt x="8" y="247"/>
                </a:lnTo>
                <a:lnTo>
                  <a:pt x="12" y="235"/>
                </a:lnTo>
                <a:lnTo>
                  <a:pt x="21" y="215"/>
                </a:lnTo>
                <a:lnTo>
                  <a:pt x="24" y="204"/>
                </a:lnTo>
                <a:lnTo>
                  <a:pt x="25" y="178"/>
                </a:lnTo>
                <a:lnTo>
                  <a:pt x="26" y="170"/>
                </a:lnTo>
                <a:lnTo>
                  <a:pt x="42" y="144"/>
                </a:lnTo>
                <a:lnTo>
                  <a:pt x="60" y="136"/>
                </a:lnTo>
                <a:lnTo>
                  <a:pt x="78" y="120"/>
                </a:lnTo>
                <a:lnTo>
                  <a:pt x="95" y="115"/>
                </a:lnTo>
                <a:lnTo>
                  <a:pt x="108" y="112"/>
                </a:lnTo>
                <a:lnTo>
                  <a:pt x="120" y="112"/>
                </a:lnTo>
                <a:lnTo>
                  <a:pt x="151" y="119"/>
                </a:lnTo>
                <a:lnTo>
                  <a:pt x="167" y="120"/>
                </a:lnTo>
                <a:lnTo>
                  <a:pt x="178" y="117"/>
                </a:lnTo>
                <a:lnTo>
                  <a:pt x="190" y="111"/>
                </a:lnTo>
                <a:lnTo>
                  <a:pt x="205" y="98"/>
                </a:lnTo>
                <a:lnTo>
                  <a:pt x="213" y="96"/>
                </a:lnTo>
                <a:lnTo>
                  <a:pt x="230" y="95"/>
                </a:lnTo>
                <a:lnTo>
                  <a:pt x="237" y="93"/>
                </a:lnTo>
                <a:lnTo>
                  <a:pt x="241" y="89"/>
                </a:lnTo>
                <a:lnTo>
                  <a:pt x="243" y="84"/>
                </a:lnTo>
                <a:lnTo>
                  <a:pt x="243" y="74"/>
                </a:lnTo>
                <a:lnTo>
                  <a:pt x="244" y="71"/>
                </a:lnTo>
                <a:lnTo>
                  <a:pt x="251" y="65"/>
                </a:lnTo>
                <a:lnTo>
                  <a:pt x="257" y="64"/>
                </a:lnTo>
                <a:lnTo>
                  <a:pt x="265" y="64"/>
                </a:lnTo>
                <a:lnTo>
                  <a:pt x="269" y="66"/>
                </a:lnTo>
                <a:lnTo>
                  <a:pt x="274" y="68"/>
                </a:lnTo>
                <a:lnTo>
                  <a:pt x="278" y="72"/>
                </a:lnTo>
                <a:lnTo>
                  <a:pt x="283" y="77"/>
                </a:lnTo>
                <a:lnTo>
                  <a:pt x="292" y="79"/>
                </a:lnTo>
                <a:lnTo>
                  <a:pt x="308" y="78"/>
                </a:lnTo>
                <a:lnTo>
                  <a:pt x="317" y="74"/>
                </a:lnTo>
                <a:lnTo>
                  <a:pt x="322" y="67"/>
                </a:lnTo>
                <a:lnTo>
                  <a:pt x="331" y="54"/>
                </a:lnTo>
                <a:lnTo>
                  <a:pt x="331" y="42"/>
                </a:lnTo>
                <a:lnTo>
                  <a:pt x="331" y="35"/>
                </a:lnTo>
                <a:lnTo>
                  <a:pt x="333" y="28"/>
                </a:lnTo>
                <a:lnTo>
                  <a:pt x="337" y="21"/>
                </a:lnTo>
                <a:lnTo>
                  <a:pt x="339" y="16"/>
                </a:lnTo>
                <a:lnTo>
                  <a:pt x="359" y="0"/>
                </a:lnTo>
                <a:lnTo>
                  <a:pt x="373" y="22"/>
                </a:lnTo>
                <a:lnTo>
                  <a:pt x="390" y="43"/>
                </a:lnTo>
                <a:lnTo>
                  <a:pt x="397" y="54"/>
                </a:lnTo>
                <a:lnTo>
                  <a:pt x="399" y="64"/>
                </a:lnTo>
                <a:lnTo>
                  <a:pt x="399" y="96"/>
                </a:lnTo>
                <a:lnTo>
                  <a:pt x="398" y="105"/>
                </a:lnTo>
                <a:lnTo>
                  <a:pt x="396" y="112"/>
                </a:lnTo>
                <a:lnTo>
                  <a:pt x="390" y="123"/>
                </a:lnTo>
                <a:lnTo>
                  <a:pt x="388" y="131"/>
                </a:lnTo>
                <a:lnTo>
                  <a:pt x="390" y="134"/>
                </a:lnTo>
                <a:lnTo>
                  <a:pt x="395" y="13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65201A33-5D93-4183-DC07-3450908D5A51}"/>
              </a:ext>
            </a:extLst>
          </p:cNvPr>
          <p:cNvSpPr>
            <a:spLocks/>
          </p:cNvSpPr>
          <p:nvPr/>
        </p:nvSpPr>
        <p:spPr bwMode="auto">
          <a:xfrm>
            <a:off x="7037504" y="1012286"/>
            <a:ext cx="2826731" cy="1284499"/>
          </a:xfrm>
          <a:custGeom>
            <a:avLst/>
            <a:gdLst>
              <a:gd name="T0" fmla="*/ 619 w 1818"/>
              <a:gd name="T1" fmla="*/ 238 h 873"/>
              <a:gd name="T2" fmla="*/ 719 w 1818"/>
              <a:gd name="T3" fmla="*/ 278 h 873"/>
              <a:gd name="T4" fmla="*/ 826 w 1818"/>
              <a:gd name="T5" fmla="*/ 260 h 873"/>
              <a:gd name="T6" fmla="*/ 940 w 1818"/>
              <a:gd name="T7" fmla="*/ 298 h 873"/>
              <a:gd name="T8" fmla="*/ 1041 w 1818"/>
              <a:gd name="T9" fmla="*/ 173 h 873"/>
              <a:gd name="T10" fmla="*/ 1098 w 1818"/>
              <a:gd name="T11" fmla="*/ 145 h 873"/>
              <a:gd name="T12" fmla="*/ 1184 w 1818"/>
              <a:gd name="T13" fmla="*/ 173 h 873"/>
              <a:gd name="T14" fmla="*/ 1239 w 1818"/>
              <a:gd name="T15" fmla="*/ 207 h 873"/>
              <a:gd name="T16" fmla="*/ 1341 w 1818"/>
              <a:gd name="T17" fmla="*/ 283 h 873"/>
              <a:gd name="T18" fmla="*/ 1460 w 1818"/>
              <a:gd name="T19" fmla="*/ 386 h 873"/>
              <a:gd name="T20" fmla="*/ 1569 w 1818"/>
              <a:gd name="T21" fmla="*/ 390 h 873"/>
              <a:gd name="T22" fmla="*/ 1693 w 1818"/>
              <a:gd name="T23" fmla="*/ 474 h 873"/>
              <a:gd name="T24" fmla="*/ 1767 w 1818"/>
              <a:gd name="T25" fmla="*/ 539 h 873"/>
              <a:gd name="T26" fmla="*/ 1637 w 1818"/>
              <a:gd name="T27" fmla="*/ 525 h 873"/>
              <a:gd name="T28" fmla="*/ 1562 w 1818"/>
              <a:gd name="T29" fmla="*/ 517 h 873"/>
              <a:gd name="T30" fmla="*/ 1601 w 1818"/>
              <a:gd name="T31" fmla="*/ 564 h 873"/>
              <a:gd name="T32" fmla="*/ 1685 w 1818"/>
              <a:gd name="T33" fmla="*/ 684 h 873"/>
              <a:gd name="T34" fmla="*/ 1756 w 1818"/>
              <a:gd name="T35" fmla="*/ 758 h 873"/>
              <a:gd name="T36" fmla="*/ 1804 w 1818"/>
              <a:gd name="T37" fmla="*/ 793 h 873"/>
              <a:gd name="T38" fmla="*/ 1818 w 1818"/>
              <a:gd name="T39" fmla="*/ 860 h 873"/>
              <a:gd name="T40" fmla="*/ 1798 w 1818"/>
              <a:gd name="T41" fmla="*/ 860 h 873"/>
              <a:gd name="T42" fmla="*/ 1744 w 1818"/>
              <a:gd name="T43" fmla="*/ 848 h 873"/>
              <a:gd name="T44" fmla="*/ 1719 w 1818"/>
              <a:gd name="T45" fmla="*/ 821 h 873"/>
              <a:gd name="T46" fmla="*/ 1646 w 1818"/>
              <a:gd name="T47" fmla="*/ 812 h 873"/>
              <a:gd name="T48" fmla="*/ 1606 w 1818"/>
              <a:gd name="T49" fmla="*/ 776 h 873"/>
              <a:gd name="T50" fmla="*/ 1579 w 1818"/>
              <a:gd name="T51" fmla="*/ 762 h 873"/>
              <a:gd name="T52" fmla="*/ 1521 w 1818"/>
              <a:gd name="T53" fmla="*/ 753 h 873"/>
              <a:gd name="T54" fmla="*/ 1481 w 1818"/>
              <a:gd name="T55" fmla="*/ 727 h 873"/>
              <a:gd name="T56" fmla="*/ 1424 w 1818"/>
              <a:gd name="T57" fmla="*/ 733 h 873"/>
              <a:gd name="T58" fmla="*/ 1352 w 1818"/>
              <a:gd name="T59" fmla="*/ 732 h 873"/>
              <a:gd name="T60" fmla="*/ 1361 w 1818"/>
              <a:gd name="T61" fmla="*/ 819 h 873"/>
              <a:gd name="T62" fmla="*/ 1263 w 1818"/>
              <a:gd name="T63" fmla="*/ 773 h 873"/>
              <a:gd name="T64" fmla="*/ 1129 w 1818"/>
              <a:gd name="T65" fmla="*/ 741 h 873"/>
              <a:gd name="T66" fmla="*/ 1033 w 1818"/>
              <a:gd name="T67" fmla="*/ 768 h 873"/>
              <a:gd name="T68" fmla="*/ 903 w 1818"/>
              <a:gd name="T69" fmla="*/ 727 h 873"/>
              <a:gd name="T70" fmla="*/ 835 w 1818"/>
              <a:gd name="T71" fmla="*/ 663 h 873"/>
              <a:gd name="T72" fmla="*/ 806 w 1818"/>
              <a:gd name="T73" fmla="*/ 612 h 873"/>
              <a:gd name="T74" fmla="*/ 668 w 1818"/>
              <a:gd name="T75" fmla="*/ 490 h 873"/>
              <a:gd name="T76" fmla="*/ 563 w 1818"/>
              <a:gd name="T77" fmla="*/ 500 h 873"/>
              <a:gd name="T78" fmla="*/ 480 w 1818"/>
              <a:gd name="T79" fmla="*/ 481 h 873"/>
              <a:gd name="T80" fmla="*/ 416 w 1818"/>
              <a:gd name="T81" fmla="*/ 531 h 873"/>
              <a:gd name="T82" fmla="*/ 350 w 1818"/>
              <a:gd name="T83" fmla="*/ 522 h 873"/>
              <a:gd name="T84" fmla="*/ 349 w 1818"/>
              <a:gd name="T85" fmla="*/ 493 h 873"/>
              <a:gd name="T86" fmla="*/ 345 w 1818"/>
              <a:gd name="T87" fmla="*/ 465 h 873"/>
              <a:gd name="T88" fmla="*/ 313 w 1818"/>
              <a:gd name="T89" fmla="*/ 473 h 873"/>
              <a:gd name="T90" fmla="*/ 260 w 1818"/>
              <a:gd name="T91" fmla="*/ 508 h 873"/>
              <a:gd name="T92" fmla="*/ 133 w 1818"/>
              <a:gd name="T93" fmla="*/ 486 h 873"/>
              <a:gd name="T94" fmla="*/ 126 w 1818"/>
              <a:gd name="T95" fmla="*/ 439 h 873"/>
              <a:gd name="T96" fmla="*/ 92 w 1818"/>
              <a:gd name="T97" fmla="*/ 421 h 873"/>
              <a:gd name="T98" fmla="*/ 74 w 1818"/>
              <a:gd name="T99" fmla="*/ 396 h 873"/>
              <a:gd name="T100" fmla="*/ 26 w 1818"/>
              <a:gd name="T101" fmla="*/ 373 h 873"/>
              <a:gd name="T102" fmla="*/ 2 w 1818"/>
              <a:gd name="T103" fmla="*/ 366 h 873"/>
              <a:gd name="T104" fmla="*/ 49 w 1818"/>
              <a:gd name="T105" fmla="*/ 303 h 873"/>
              <a:gd name="T106" fmla="*/ 85 w 1818"/>
              <a:gd name="T107" fmla="*/ 266 h 873"/>
              <a:gd name="T108" fmla="*/ 84 w 1818"/>
              <a:gd name="T109" fmla="*/ 256 h 873"/>
              <a:gd name="T110" fmla="*/ 83 w 1818"/>
              <a:gd name="T111" fmla="*/ 238 h 873"/>
              <a:gd name="T112" fmla="*/ 125 w 1818"/>
              <a:gd name="T113" fmla="*/ 152 h 873"/>
              <a:gd name="T114" fmla="*/ 214 w 1818"/>
              <a:gd name="T115" fmla="*/ 49 h 873"/>
              <a:gd name="T116" fmla="*/ 199 w 1818"/>
              <a:gd name="T117" fmla="*/ 18 h 873"/>
              <a:gd name="T118" fmla="*/ 233 w 1818"/>
              <a:gd name="T119" fmla="*/ 18 h 873"/>
              <a:gd name="T120" fmla="*/ 308 w 1818"/>
              <a:gd name="T121" fmla="*/ 0 h 873"/>
              <a:gd name="T122" fmla="*/ 383 w 1818"/>
              <a:gd name="T123" fmla="*/ 18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18" h="873">
                <a:moveTo>
                  <a:pt x="511" y="219"/>
                </a:moveTo>
                <a:lnTo>
                  <a:pt x="526" y="218"/>
                </a:lnTo>
                <a:lnTo>
                  <a:pt x="560" y="206"/>
                </a:lnTo>
                <a:lnTo>
                  <a:pt x="571" y="204"/>
                </a:lnTo>
                <a:lnTo>
                  <a:pt x="580" y="206"/>
                </a:lnTo>
                <a:lnTo>
                  <a:pt x="594" y="209"/>
                </a:lnTo>
                <a:lnTo>
                  <a:pt x="619" y="238"/>
                </a:lnTo>
                <a:lnTo>
                  <a:pt x="640" y="245"/>
                </a:lnTo>
                <a:lnTo>
                  <a:pt x="666" y="245"/>
                </a:lnTo>
                <a:lnTo>
                  <a:pt x="675" y="247"/>
                </a:lnTo>
                <a:lnTo>
                  <a:pt x="685" y="250"/>
                </a:lnTo>
                <a:lnTo>
                  <a:pt x="693" y="256"/>
                </a:lnTo>
                <a:lnTo>
                  <a:pt x="707" y="270"/>
                </a:lnTo>
                <a:lnTo>
                  <a:pt x="719" y="278"/>
                </a:lnTo>
                <a:lnTo>
                  <a:pt x="729" y="282"/>
                </a:lnTo>
                <a:lnTo>
                  <a:pt x="739" y="283"/>
                </a:lnTo>
                <a:lnTo>
                  <a:pt x="785" y="275"/>
                </a:lnTo>
                <a:lnTo>
                  <a:pt x="794" y="276"/>
                </a:lnTo>
                <a:lnTo>
                  <a:pt x="818" y="287"/>
                </a:lnTo>
                <a:lnTo>
                  <a:pt x="827" y="286"/>
                </a:lnTo>
                <a:lnTo>
                  <a:pt x="826" y="260"/>
                </a:lnTo>
                <a:lnTo>
                  <a:pt x="834" y="257"/>
                </a:lnTo>
                <a:lnTo>
                  <a:pt x="858" y="263"/>
                </a:lnTo>
                <a:lnTo>
                  <a:pt x="890" y="266"/>
                </a:lnTo>
                <a:lnTo>
                  <a:pt x="900" y="270"/>
                </a:lnTo>
                <a:lnTo>
                  <a:pt x="910" y="277"/>
                </a:lnTo>
                <a:lnTo>
                  <a:pt x="928" y="293"/>
                </a:lnTo>
                <a:lnTo>
                  <a:pt x="940" y="298"/>
                </a:lnTo>
                <a:lnTo>
                  <a:pt x="951" y="297"/>
                </a:lnTo>
                <a:lnTo>
                  <a:pt x="968" y="288"/>
                </a:lnTo>
                <a:lnTo>
                  <a:pt x="1034" y="280"/>
                </a:lnTo>
                <a:lnTo>
                  <a:pt x="1046" y="272"/>
                </a:lnTo>
                <a:lnTo>
                  <a:pt x="1039" y="227"/>
                </a:lnTo>
                <a:lnTo>
                  <a:pt x="1041" y="178"/>
                </a:lnTo>
                <a:lnTo>
                  <a:pt x="1041" y="173"/>
                </a:lnTo>
                <a:lnTo>
                  <a:pt x="1046" y="174"/>
                </a:lnTo>
                <a:lnTo>
                  <a:pt x="1061" y="173"/>
                </a:lnTo>
                <a:lnTo>
                  <a:pt x="1068" y="172"/>
                </a:lnTo>
                <a:lnTo>
                  <a:pt x="1074" y="170"/>
                </a:lnTo>
                <a:lnTo>
                  <a:pt x="1091" y="150"/>
                </a:lnTo>
                <a:lnTo>
                  <a:pt x="1095" y="147"/>
                </a:lnTo>
                <a:lnTo>
                  <a:pt x="1098" y="145"/>
                </a:lnTo>
                <a:lnTo>
                  <a:pt x="1110" y="135"/>
                </a:lnTo>
                <a:lnTo>
                  <a:pt x="1118" y="133"/>
                </a:lnTo>
                <a:lnTo>
                  <a:pt x="1124" y="136"/>
                </a:lnTo>
                <a:lnTo>
                  <a:pt x="1143" y="156"/>
                </a:lnTo>
                <a:lnTo>
                  <a:pt x="1156" y="165"/>
                </a:lnTo>
                <a:lnTo>
                  <a:pt x="1170" y="170"/>
                </a:lnTo>
                <a:lnTo>
                  <a:pt x="1184" y="173"/>
                </a:lnTo>
                <a:lnTo>
                  <a:pt x="1200" y="174"/>
                </a:lnTo>
                <a:lnTo>
                  <a:pt x="1215" y="174"/>
                </a:lnTo>
                <a:lnTo>
                  <a:pt x="1222" y="174"/>
                </a:lnTo>
                <a:lnTo>
                  <a:pt x="1228" y="176"/>
                </a:lnTo>
                <a:lnTo>
                  <a:pt x="1231" y="184"/>
                </a:lnTo>
                <a:lnTo>
                  <a:pt x="1236" y="201"/>
                </a:lnTo>
                <a:lnTo>
                  <a:pt x="1239" y="207"/>
                </a:lnTo>
                <a:lnTo>
                  <a:pt x="1251" y="207"/>
                </a:lnTo>
                <a:lnTo>
                  <a:pt x="1268" y="201"/>
                </a:lnTo>
                <a:lnTo>
                  <a:pt x="1283" y="199"/>
                </a:lnTo>
                <a:lnTo>
                  <a:pt x="1290" y="209"/>
                </a:lnTo>
                <a:lnTo>
                  <a:pt x="1292" y="217"/>
                </a:lnTo>
                <a:lnTo>
                  <a:pt x="1338" y="274"/>
                </a:lnTo>
                <a:lnTo>
                  <a:pt x="1341" y="283"/>
                </a:lnTo>
                <a:lnTo>
                  <a:pt x="1344" y="295"/>
                </a:lnTo>
                <a:lnTo>
                  <a:pt x="1352" y="305"/>
                </a:lnTo>
                <a:lnTo>
                  <a:pt x="1368" y="322"/>
                </a:lnTo>
                <a:lnTo>
                  <a:pt x="1408" y="347"/>
                </a:lnTo>
                <a:lnTo>
                  <a:pt x="1415" y="355"/>
                </a:lnTo>
                <a:lnTo>
                  <a:pt x="1441" y="376"/>
                </a:lnTo>
                <a:lnTo>
                  <a:pt x="1460" y="386"/>
                </a:lnTo>
                <a:lnTo>
                  <a:pt x="1471" y="390"/>
                </a:lnTo>
                <a:lnTo>
                  <a:pt x="1484" y="393"/>
                </a:lnTo>
                <a:lnTo>
                  <a:pt x="1499" y="395"/>
                </a:lnTo>
                <a:lnTo>
                  <a:pt x="1514" y="393"/>
                </a:lnTo>
                <a:lnTo>
                  <a:pt x="1543" y="387"/>
                </a:lnTo>
                <a:lnTo>
                  <a:pt x="1555" y="386"/>
                </a:lnTo>
                <a:lnTo>
                  <a:pt x="1569" y="390"/>
                </a:lnTo>
                <a:lnTo>
                  <a:pt x="1579" y="400"/>
                </a:lnTo>
                <a:lnTo>
                  <a:pt x="1588" y="408"/>
                </a:lnTo>
                <a:lnTo>
                  <a:pt x="1595" y="413"/>
                </a:lnTo>
                <a:lnTo>
                  <a:pt x="1607" y="417"/>
                </a:lnTo>
                <a:lnTo>
                  <a:pt x="1639" y="445"/>
                </a:lnTo>
                <a:lnTo>
                  <a:pt x="1678" y="469"/>
                </a:lnTo>
                <a:lnTo>
                  <a:pt x="1693" y="474"/>
                </a:lnTo>
                <a:lnTo>
                  <a:pt x="1706" y="484"/>
                </a:lnTo>
                <a:lnTo>
                  <a:pt x="1744" y="491"/>
                </a:lnTo>
                <a:lnTo>
                  <a:pt x="1786" y="507"/>
                </a:lnTo>
                <a:lnTo>
                  <a:pt x="1799" y="514"/>
                </a:lnTo>
                <a:lnTo>
                  <a:pt x="1791" y="524"/>
                </a:lnTo>
                <a:lnTo>
                  <a:pt x="1775" y="535"/>
                </a:lnTo>
                <a:lnTo>
                  <a:pt x="1767" y="539"/>
                </a:lnTo>
                <a:lnTo>
                  <a:pt x="1758" y="543"/>
                </a:lnTo>
                <a:lnTo>
                  <a:pt x="1747" y="543"/>
                </a:lnTo>
                <a:lnTo>
                  <a:pt x="1724" y="539"/>
                </a:lnTo>
                <a:lnTo>
                  <a:pt x="1719" y="540"/>
                </a:lnTo>
                <a:lnTo>
                  <a:pt x="1701" y="552"/>
                </a:lnTo>
                <a:lnTo>
                  <a:pt x="1683" y="550"/>
                </a:lnTo>
                <a:lnTo>
                  <a:pt x="1637" y="525"/>
                </a:lnTo>
                <a:lnTo>
                  <a:pt x="1628" y="523"/>
                </a:lnTo>
                <a:lnTo>
                  <a:pt x="1618" y="523"/>
                </a:lnTo>
                <a:lnTo>
                  <a:pt x="1606" y="524"/>
                </a:lnTo>
                <a:lnTo>
                  <a:pt x="1595" y="522"/>
                </a:lnTo>
                <a:lnTo>
                  <a:pt x="1584" y="517"/>
                </a:lnTo>
                <a:lnTo>
                  <a:pt x="1572" y="513"/>
                </a:lnTo>
                <a:lnTo>
                  <a:pt x="1562" y="517"/>
                </a:lnTo>
                <a:lnTo>
                  <a:pt x="1558" y="529"/>
                </a:lnTo>
                <a:lnTo>
                  <a:pt x="1561" y="544"/>
                </a:lnTo>
                <a:lnTo>
                  <a:pt x="1567" y="557"/>
                </a:lnTo>
                <a:lnTo>
                  <a:pt x="1574" y="563"/>
                </a:lnTo>
                <a:lnTo>
                  <a:pt x="1580" y="565"/>
                </a:lnTo>
                <a:lnTo>
                  <a:pt x="1594" y="564"/>
                </a:lnTo>
                <a:lnTo>
                  <a:pt x="1601" y="564"/>
                </a:lnTo>
                <a:lnTo>
                  <a:pt x="1610" y="570"/>
                </a:lnTo>
                <a:lnTo>
                  <a:pt x="1623" y="583"/>
                </a:lnTo>
                <a:lnTo>
                  <a:pt x="1631" y="587"/>
                </a:lnTo>
                <a:lnTo>
                  <a:pt x="1645" y="591"/>
                </a:lnTo>
                <a:lnTo>
                  <a:pt x="1656" y="599"/>
                </a:lnTo>
                <a:lnTo>
                  <a:pt x="1664" y="609"/>
                </a:lnTo>
                <a:lnTo>
                  <a:pt x="1685" y="684"/>
                </a:lnTo>
                <a:lnTo>
                  <a:pt x="1697" y="713"/>
                </a:lnTo>
                <a:lnTo>
                  <a:pt x="1717" y="739"/>
                </a:lnTo>
                <a:lnTo>
                  <a:pt x="1730" y="751"/>
                </a:lnTo>
                <a:lnTo>
                  <a:pt x="1737" y="755"/>
                </a:lnTo>
                <a:lnTo>
                  <a:pt x="1744" y="756"/>
                </a:lnTo>
                <a:lnTo>
                  <a:pt x="1753" y="756"/>
                </a:lnTo>
                <a:lnTo>
                  <a:pt x="1756" y="758"/>
                </a:lnTo>
                <a:lnTo>
                  <a:pt x="1759" y="762"/>
                </a:lnTo>
                <a:lnTo>
                  <a:pt x="1785" y="782"/>
                </a:lnTo>
                <a:lnTo>
                  <a:pt x="1787" y="785"/>
                </a:lnTo>
                <a:lnTo>
                  <a:pt x="1792" y="793"/>
                </a:lnTo>
                <a:lnTo>
                  <a:pt x="1794" y="796"/>
                </a:lnTo>
                <a:lnTo>
                  <a:pt x="1797" y="796"/>
                </a:lnTo>
                <a:lnTo>
                  <a:pt x="1804" y="793"/>
                </a:lnTo>
                <a:lnTo>
                  <a:pt x="1807" y="794"/>
                </a:lnTo>
                <a:lnTo>
                  <a:pt x="1814" y="806"/>
                </a:lnTo>
                <a:lnTo>
                  <a:pt x="1817" y="819"/>
                </a:lnTo>
                <a:lnTo>
                  <a:pt x="1814" y="845"/>
                </a:lnTo>
                <a:lnTo>
                  <a:pt x="1815" y="850"/>
                </a:lnTo>
                <a:lnTo>
                  <a:pt x="1817" y="856"/>
                </a:lnTo>
                <a:lnTo>
                  <a:pt x="1818" y="860"/>
                </a:lnTo>
                <a:lnTo>
                  <a:pt x="1817" y="867"/>
                </a:lnTo>
                <a:lnTo>
                  <a:pt x="1810" y="873"/>
                </a:lnTo>
                <a:lnTo>
                  <a:pt x="1809" y="873"/>
                </a:lnTo>
                <a:lnTo>
                  <a:pt x="1800" y="873"/>
                </a:lnTo>
                <a:lnTo>
                  <a:pt x="1798" y="872"/>
                </a:lnTo>
                <a:lnTo>
                  <a:pt x="1797" y="868"/>
                </a:lnTo>
                <a:lnTo>
                  <a:pt x="1798" y="860"/>
                </a:lnTo>
                <a:lnTo>
                  <a:pt x="1797" y="858"/>
                </a:lnTo>
                <a:lnTo>
                  <a:pt x="1795" y="857"/>
                </a:lnTo>
                <a:lnTo>
                  <a:pt x="1791" y="858"/>
                </a:lnTo>
                <a:lnTo>
                  <a:pt x="1785" y="859"/>
                </a:lnTo>
                <a:lnTo>
                  <a:pt x="1778" y="859"/>
                </a:lnTo>
                <a:lnTo>
                  <a:pt x="1755" y="853"/>
                </a:lnTo>
                <a:lnTo>
                  <a:pt x="1744" y="848"/>
                </a:lnTo>
                <a:lnTo>
                  <a:pt x="1737" y="847"/>
                </a:lnTo>
                <a:lnTo>
                  <a:pt x="1732" y="845"/>
                </a:lnTo>
                <a:lnTo>
                  <a:pt x="1729" y="842"/>
                </a:lnTo>
                <a:lnTo>
                  <a:pt x="1727" y="835"/>
                </a:lnTo>
                <a:lnTo>
                  <a:pt x="1724" y="829"/>
                </a:lnTo>
                <a:lnTo>
                  <a:pt x="1722" y="823"/>
                </a:lnTo>
                <a:lnTo>
                  <a:pt x="1719" y="821"/>
                </a:lnTo>
                <a:lnTo>
                  <a:pt x="1708" y="821"/>
                </a:lnTo>
                <a:lnTo>
                  <a:pt x="1703" y="819"/>
                </a:lnTo>
                <a:lnTo>
                  <a:pt x="1695" y="815"/>
                </a:lnTo>
                <a:lnTo>
                  <a:pt x="1688" y="812"/>
                </a:lnTo>
                <a:lnTo>
                  <a:pt x="1657" y="811"/>
                </a:lnTo>
                <a:lnTo>
                  <a:pt x="1653" y="812"/>
                </a:lnTo>
                <a:lnTo>
                  <a:pt x="1646" y="812"/>
                </a:lnTo>
                <a:lnTo>
                  <a:pt x="1626" y="806"/>
                </a:lnTo>
                <a:lnTo>
                  <a:pt x="1617" y="799"/>
                </a:lnTo>
                <a:lnTo>
                  <a:pt x="1614" y="795"/>
                </a:lnTo>
                <a:lnTo>
                  <a:pt x="1611" y="791"/>
                </a:lnTo>
                <a:lnTo>
                  <a:pt x="1608" y="786"/>
                </a:lnTo>
                <a:lnTo>
                  <a:pt x="1607" y="779"/>
                </a:lnTo>
                <a:lnTo>
                  <a:pt x="1606" y="776"/>
                </a:lnTo>
                <a:lnTo>
                  <a:pt x="1604" y="773"/>
                </a:lnTo>
                <a:lnTo>
                  <a:pt x="1598" y="778"/>
                </a:lnTo>
                <a:lnTo>
                  <a:pt x="1594" y="777"/>
                </a:lnTo>
                <a:lnTo>
                  <a:pt x="1592" y="773"/>
                </a:lnTo>
                <a:lnTo>
                  <a:pt x="1591" y="769"/>
                </a:lnTo>
                <a:lnTo>
                  <a:pt x="1587" y="766"/>
                </a:lnTo>
                <a:lnTo>
                  <a:pt x="1579" y="762"/>
                </a:lnTo>
                <a:lnTo>
                  <a:pt x="1564" y="755"/>
                </a:lnTo>
                <a:lnTo>
                  <a:pt x="1556" y="750"/>
                </a:lnTo>
                <a:lnTo>
                  <a:pt x="1550" y="747"/>
                </a:lnTo>
                <a:lnTo>
                  <a:pt x="1545" y="747"/>
                </a:lnTo>
                <a:lnTo>
                  <a:pt x="1538" y="751"/>
                </a:lnTo>
                <a:lnTo>
                  <a:pt x="1528" y="753"/>
                </a:lnTo>
                <a:lnTo>
                  <a:pt x="1521" y="753"/>
                </a:lnTo>
                <a:lnTo>
                  <a:pt x="1512" y="750"/>
                </a:lnTo>
                <a:lnTo>
                  <a:pt x="1508" y="744"/>
                </a:lnTo>
                <a:lnTo>
                  <a:pt x="1502" y="734"/>
                </a:lnTo>
                <a:lnTo>
                  <a:pt x="1499" y="730"/>
                </a:lnTo>
                <a:lnTo>
                  <a:pt x="1493" y="727"/>
                </a:lnTo>
                <a:lnTo>
                  <a:pt x="1487" y="726"/>
                </a:lnTo>
                <a:lnTo>
                  <a:pt x="1481" y="727"/>
                </a:lnTo>
                <a:lnTo>
                  <a:pt x="1474" y="729"/>
                </a:lnTo>
                <a:lnTo>
                  <a:pt x="1467" y="731"/>
                </a:lnTo>
                <a:lnTo>
                  <a:pt x="1450" y="731"/>
                </a:lnTo>
                <a:lnTo>
                  <a:pt x="1444" y="732"/>
                </a:lnTo>
                <a:lnTo>
                  <a:pt x="1437" y="734"/>
                </a:lnTo>
                <a:lnTo>
                  <a:pt x="1432" y="734"/>
                </a:lnTo>
                <a:lnTo>
                  <a:pt x="1424" y="733"/>
                </a:lnTo>
                <a:lnTo>
                  <a:pt x="1417" y="728"/>
                </a:lnTo>
                <a:lnTo>
                  <a:pt x="1407" y="723"/>
                </a:lnTo>
                <a:lnTo>
                  <a:pt x="1395" y="719"/>
                </a:lnTo>
                <a:lnTo>
                  <a:pt x="1373" y="719"/>
                </a:lnTo>
                <a:lnTo>
                  <a:pt x="1363" y="721"/>
                </a:lnTo>
                <a:lnTo>
                  <a:pt x="1354" y="726"/>
                </a:lnTo>
                <a:lnTo>
                  <a:pt x="1352" y="732"/>
                </a:lnTo>
                <a:lnTo>
                  <a:pt x="1352" y="743"/>
                </a:lnTo>
                <a:lnTo>
                  <a:pt x="1358" y="798"/>
                </a:lnTo>
                <a:lnTo>
                  <a:pt x="1361" y="806"/>
                </a:lnTo>
                <a:lnTo>
                  <a:pt x="1365" y="811"/>
                </a:lnTo>
                <a:lnTo>
                  <a:pt x="1366" y="814"/>
                </a:lnTo>
                <a:lnTo>
                  <a:pt x="1365" y="817"/>
                </a:lnTo>
                <a:lnTo>
                  <a:pt x="1361" y="819"/>
                </a:lnTo>
                <a:lnTo>
                  <a:pt x="1354" y="818"/>
                </a:lnTo>
                <a:lnTo>
                  <a:pt x="1338" y="817"/>
                </a:lnTo>
                <a:lnTo>
                  <a:pt x="1322" y="812"/>
                </a:lnTo>
                <a:lnTo>
                  <a:pt x="1307" y="804"/>
                </a:lnTo>
                <a:lnTo>
                  <a:pt x="1280" y="784"/>
                </a:lnTo>
                <a:lnTo>
                  <a:pt x="1267" y="778"/>
                </a:lnTo>
                <a:lnTo>
                  <a:pt x="1263" y="773"/>
                </a:lnTo>
                <a:lnTo>
                  <a:pt x="1261" y="757"/>
                </a:lnTo>
                <a:lnTo>
                  <a:pt x="1257" y="750"/>
                </a:lnTo>
                <a:lnTo>
                  <a:pt x="1253" y="742"/>
                </a:lnTo>
                <a:lnTo>
                  <a:pt x="1250" y="739"/>
                </a:lnTo>
                <a:lnTo>
                  <a:pt x="1187" y="734"/>
                </a:lnTo>
                <a:lnTo>
                  <a:pt x="1135" y="739"/>
                </a:lnTo>
                <a:lnTo>
                  <a:pt x="1129" y="741"/>
                </a:lnTo>
                <a:lnTo>
                  <a:pt x="1116" y="747"/>
                </a:lnTo>
                <a:lnTo>
                  <a:pt x="1094" y="755"/>
                </a:lnTo>
                <a:lnTo>
                  <a:pt x="1087" y="757"/>
                </a:lnTo>
                <a:lnTo>
                  <a:pt x="1060" y="777"/>
                </a:lnTo>
                <a:lnTo>
                  <a:pt x="1044" y="784"/>
                </a:lnTo>
                <a:lnTo>
                  <a:pt x="1038" y="778"/>
                </a:lnTo>
                <a:lnTo>
                  <a:pt x="1033" y="768"/>
                </a:lnTo>
                <a:lnTo>
                  <a:pt x="1022" y="765"/>
                </a:lnTo>
                <a:lnTo>
                  <a:pt x="995" y="766"/>
                </a:lnTo>
                <a:lnTo>
                  <a:pt x="983" y="759"/>
                </a:lnTo>
                <a:lnTo>
                  <a:pt x="948" y="733"/>
                </a:lnTo>
                <a:lnTo>
                  <a:pt x="934" y="714"/>
                </a:lnTo>
                <a:lnTo>
                  <a:pt x="917" y="718"/>
                </a:lnTo>
                <a:lnTo>
                  <a:pt x="903" y="727"/>
                </a:lnTo>
                <a:lnTo>
                  <a:pt x="896" y="717"/>
                </a:lnTo>
                <a:lnTo>
                  <a:pt x="892" y="712"/>
                </a:lnTo>
                <a:lnTo>
                  <a:pt x="886" y="704"/>
                </a:lnTo>
                <a:lnTo>
                  <a:pt x="849" y="678"/>
                </a:lnTo>
                <a:lnTo>
                  <a:pt x="841" y="672"/>
                </a:lnTo>
                <a:lnTo>
                  <a:pt x="837" y="666"/>
                </a:lnTo>
                <a:lnTo>
                  <a:pt x="835" y="663"/>
                </a:lnTo>
                <a:lnTo>
                  <a:pt x="828" y="652"/>
                </a:lnTo>
                <a:lnTo>
                  <a:pt x="823" y="646"/>
                </a:lnTo>
                <a:lnTo>
                  <a:pt x="810" y="627"/>
                </a:lnTo>
                <a:lnTo>
                  <a:pt x="809" y="623"/>
                </a:lnTo>
                <a:lnTo>
                  <a:pt x="809" y="617"/>
                </a:lnTo>
                <a:lnTo>
                  <a:pt x="808" y="615"/>
                </a:lnTo>
                <a:lnTo>
                  <a:pt x="806" y="612"/>
                </a:lnTo>
                <a:lnTo>
                  <a:pt x="785" y="594"/>
                </a:lnTo>
                <a:lnTo>
                  <a:pt x="716" y="512"/>
                </a:lnTo>
                <a:lnTo>
                  <a:pt x="709" y="500"/>
                </a:lnTo>
                <a:lnTo>
                  <a:pt x="705" y="495"/>
                </a:lnTo>
                <a:lnTo>
                  <a:pt x="695" y="490"/>
                </a:lnTo>
                <a:lnTo>
                  <a:pt x="687" y="486"/>
                </a:lnTo>
                <a:lnTo>
                  <a:pt x="668" y="490"/>
                </a:lnTo>
                <a:lnTo>
                  <a:pt x="658" y="494"/>
                </a:lnTo>
                <a:lnTo>
                  <a:pt x="649" y="498"/>
                </a:lnTo>
                <a:lnTo>
                  <a:pt x="641" y="504"/>
                </a:lnTo>
                <a:lnTo>
                  <a:pt x="631" y="509"/>
                </a:lnTo>
                <a:lnTo>
                  <a:pt x="617" y="511"/>
                </a:lnTo>
                <a:lnTo>
                  <a:pt x="600" y="511"/>
                </a:lnTo>
                <a:lnTo>
                  <a:pt x="563" y="500"/>
                </a:lnTo>
                <a:lnTo>
                  <a:pt x="551" y="498"/>
                </a:lnTo>
                <a:lnTo>
                  <a:pt x="540" y="500"/>
                </a:lnTo>
                <a:lnTo>
                  <a:pt x="533" y="504"/>
                </a:lnTo>
                <a:lnTo>
                  <a:pt x="525" y="505"/>
                </a:lnTo>
                <a:lnTo>
                  <a:pt x="518" y="503"/>
                </a:lnTo>
                <a:lnTo>
                  <a:pt x="498" y="490"/>
                </a:lnTo>
                <a:lnTo>
                  <a:pt x="480" y="481"/>
                </a:lnTo>
                <a:lnTo>
                  <a:pt x="469" y="477"/>
                </a:lnTo>
                <a:lnTo>
                  <a:pt x="459" y="474"/>
                </a:lnTo>
                <a:lnTo>
                  <a:pt x="449" y="482"/>
                </a:lnTo>
                <a:lnTo>
                  <a:pt x="432" y="501"/>
                </a:lnTo>
                <a:lnTo>
                  <a:pt x="427" y="510"/>
                </a:lnTo>
                <a:lnTo>
                  <a:pt x="419" y="525"/>
                </a:lnTo>
                <a:lnTo>
                  <a:pt x="416" y="531"/>
                </a:lnTo>
                <a:lnTo>
                  <a:pt x="411" y="534"/>
                </a:lnTo>
                <a:lnTo>
                  <a:pt x="407" y="536"/>
                </a:lnTo>
                <a:lnTo>
                  <a:pt x="399" y="537"/>
                </a:lnTo>
                <a:lnTo>
                  <a:pt x="388" y="536"/>
                </a:lnTo>
                <a:lnTo>
                  <a:pt x="356" y="529"/>
                </a:lnTo>
                <a:lnTo>
                  <a:pt x="351" y="526"/>
                </a:lnTo>
                <a:lnTo>
                  <a:pt x="350" y="522"/>
                </a:lnTo>
                <a:lnTo>
                  <a:pt x="350" y="518"/>
                </a:lnTo>
                <a:lnTo>
                  <a:pt x="350" y="513"/>
                </a:lnTo>
                <a:lnTo>
                  <a:pt x="351" y="509"/>
                </a:lnTo>
                <a:lnTo>
                  <a:pt x="352" y="506"/>
                </a:lnTo>
                <a:lnTo>
                  <a:pt x="352" y="503"/>
                </a:lnTo>
                <a:lnTo>
                  <a:pt x="349" y="496"/>
                </a:lnTo>
                <a:lnTo>
                  <a:pt x="349" y="493"/>
                </a:lnTo>
                <a:lnTo>
                  <a:pt x="350" y="490"/>
                </a:lnTo>
                <a:lnTo>
                  <a:pt x="352" y="486"/>
                </a:lnTo>
                <a:lnTo>
                  <a:pt x="353" y="483"/>
                </a:lnTo>
                <a:lnTo>
                  <a:pt x="352" y="480"/>
                </a:lnTo>
                <a:lnTo>
                  <a:pt x="350" y="477"/>
                </a:lnTo>
                <a:lnTo>
                  <a:pt x="347" y="472"/>
                </a:lnTo>
                <a:lnTo>
                  <a:pt x="345" y="465"/>
                </a:lnTo>
                <a:lnTo>
                  <a:pt x="342" y="460"/>
                </a:lnTo>
                <a:lnTo>
                  <a:pt x="339" y="458"/>
                </a:lnTo>
                <a:lnTo>
                  <a:pt x="330" y="461"/>
                </a:lnTo>
                <a:lnTo>
                  <a:pt x="321" y="468"/>
                </a:lnTo>
                <a:lnTo>
                  <a:pt x="318" y="469"/>
                </a:lnTo>
                <a:lnTo>
                  <a:pt x="315" y="470"/>
                </a:lnTo>
                <a:lnTo>
                  <a:pt x="313" y="473"/>
                </a:lnTo>
                <a:lnTo>
                  <a:pt x="311" y="477"/>
                </a:lnTo>
                <a:lnTo>
                  <a:pt x="306" y="480"/>
                </a:lnTo>
                <a:lnTo>
                  <a:pt x="300" y="482"/>
                </a:lnTo>
                <a:lnTo>
                  <a:pt x="289" y="484"/>
                </a:lnTo>
                <a:lnTo>
                  <a:pt x="281" y="488"/>
                </a:lnTo>
                <a:lnTo>
                  <a:pt x="267" y="504"/>
                </a:lnTo>
                <a:lnTo>
                  <a:pt x="260" y="508"/>
                </a:lnTo>
                <a:lnTo>
                  <a:pt x="255" y="509"/>
                </a:lnTo>
                <a:lnTo>
                  <a:pt x="248" y="505"/>
                </a:lnTo>
                <a:lnTo>
                  <a:pt x="239" y="501"/>
                </a:lnTo>
                <a:lnTo>
                  <a:pt x="221" y="497"/>
                </a:lnTo>
                <a:lnTo>
                  <a:pt x="154" y="495"/>
                </a:lnTo>
                <a:lnTo>
                  <a:pt x="142" y="493"/>
                </a:lnTo>
                <a:lnTo>
                  <a:pt x="133" y="486"/>
                </a:lnTo>
                <a:lnTo>
                  <a:pt x="129" y="473"/>
                </a:lnTo>
                <a:lnTo>
                  <a:pt x="124" y="452"/>
                </a:lnTo>
                <a:lnTo>
                  <a:pt x="124" y="445"/>
                </a:lnTo>
                <a:lnTo>
                  <a:pt x="124" y="442"/>
                </a:lnTo>
                <a:lnTo>
                  <a:pt x="125" y="441"/>
                </a:lnTo>
                <a:lnTo>
                  <a:pt x="126" y="440"/>
                </a:lnTo>
                <a:lnTo>
                  <a:pt x="126" y="439"/>
                </a:lnTo>
                <a:lnTo>
                  <a:pt x="128" y="438"/>
                </a:lnTo>
                <a:lnTo>
                  <a:pt x="128" y="436"/>
                </a:lnTo>
                <a:lnTo>
                  <a:pt x="129" y="434"/>
                </a:lnTo>
                <a:lnTo>
                  <a:pt x="129" y="433"/>
                </a:lnTo>
                <a:lnTo>
                  <a:pt x="129" y="432"/>
                </a:lnTo>
                <a:lnTo>
                  <a:pt x="122" y="428"/>
                </a:lnTo>
                <a:lnTo>
                  <a:pt x="92" y="421"/>
                </a:lnTo>
                <a:lnTo>
                  <a:pt x="84" y="418"/>
                </a:lnTo>
                <a:lnTo>
                  <a:pt x="81" y="416"/>
                </a:lnTo>
                <a:lnTo>
                  <a:pt x="80" y="415"/>
                </a:lnTo>
                <a:lnTo>
                  <a:pt x="80" y="413"/>
                </a:lnTo>
                <a:lnTo>
                  <a:pt x="79" y="405"/>
                </a:lnTo>
                <a:lnTo>
                  <a:pt x="77" y="400"/>
                </a:lnTo>
                <a:lnTo>
                  <a:pt x="74" y="396"/>
                </a:lnTo>
                <a:lnTo>
                  <a:pt x="71" y="393"/>
                </a:lnTo>
                <a:lnTo>
                  <a:pt x="61" y="387"/>
                </a:lnTo>
                <a:lnTo>
                  <a:pt x="58" y="386"/>
                </a:lnTo>
                <a:lnTo>
                  <a:pt x="56" y="386"/>
                </a:lnTo>
                <a:lnTo>
                  <a:pt x="53" y="384"/>
                </a:lnTo>
                <a:lnTo>
                  <a:pt x="43" y="381"/>
                </a:lnTo>
                <a:lnTo>
                  <a:pt x="26" y="373"/>
                </a:lnTo>
                <a:lnTo>
                  <a:pt x="25" y="373"/>
                </a:lnTo>
                <a:lnTo>
                  <a:pt x="21" y="373"/>
                </a:lnTo>
                <a:lnTo>
                  <a:pt x="20" y="373"/>
                </a:lnTo>
                <a:lnTo>
                  <a:pt x="19" y="373"/>
                </a:lnTo>
                <a:lnTo>
                  <a:pt x="12" y="369"/>
                </a:lnTo>
                <a:lnTo>
                  <a:pt x="4" y="367"/>
                </a:lnTo>
                <a:lnTo>
                  <a:pt x="2" y="366"/>
                </a:lnTo>
                <a:lnTo>
                  <a:pt x="0" y="365"/>
                </a:lnTo>
                <a:lnTo>
                  <a:pt x="0" y="364"/>
                </a:lnTo>
                <a:lnTo>
                  <a:pt x="0" y="363"/>
                </a:lnTo>
                <a:lnTo>
                  <a:pt x="0" y="363"/>
                </a:lnTo>
                <a:lnTo>
                  <a:pt x="17" y="335"/>
                </a:lnTo>
                <a:lnTo>
                  <a:pt x="40" y="310"/>
                </a:lnTo>
                <a:lnTo>
                  <a:pt x="49" y="303"/>
                </a:lnTo>
                <a:lnTo>
                  <a:pt x="53" y="302"/>
                </a:lnTo>
                <a:lnTo>
                  <a:pt x="56" y="301"/>
                </a:lnTo>
                <a:lnTo>
                  <a:pt x="59" y="299"/>
                </a:lnTo>
                <a:lnTo>
                  <a:pt x="61" y="298"/>
                </a:lnTo>
                <a:lnTo>
                  <a:pt x="65" y="293"/>
                </a:lnTo>
                <a:lnTo>
                  <a:pt x="78" y="276"/>
                </a:lnTo>
                <a:lnTo>
                  <a:pt x="85" y="266"/>
                </a:lnTo>
                <a:lnTo>
                  <a:pt x="88" y="264"/>
                </a:lnTo>
                <a:lnTo>
                  <a:pt x="91" y="262"/>
                </a:lnTo>
                <a:lnTo>
                  <a:pt x="91" y="260"/>
                </a:lnTo>
                <a:lnTo>
                  <a:pt x="90" y="258"/>
                </a:lnTo>
                <a:lnTo>
                  <a:pt x="87" y="257"/>
                </a:lnTo>
                <a:lnTo>
                  <a:pt x="86" y="256"/>
                </a:lnTo>
                <a:lnTo>
                  <a:pt x="84" y="256"/>
                </a:lnTo>
                <a:lnTo>
                  <a:pt x="83" y="256"/>
                </a:lnTo>
                <a:lnTo>
                  <a:pt x="82" y="254"/>
                </a:lnTo>
                <a:lnTo>
                  <a:pt x="81" y="253"/>
                </a:lnTo>
                <a:lnTo>
                  <a:pt x="80" y="252"/>
                </a:lnTo>
                <a:lnTo>
                  <a:pt x="79" y="251"/>
                </a:lnTo>
                <a:lnTo>
                  <a:pt x="79" y="247"/>
                </a:lnTo>
                <a:lnTo>
                  <a:pt x="83" y="238"/>
                </a:lnTo>
                <a:lnTo>
                  <a:pt x="105" y="211"/>
                </a:lnTo>
                <a:lnTo>
                  <a:pt x="120" y="194"/>
                </a:lnTo>
                <a:lnTo>
                  <a:pt x="122" y="186"/>
                </a:lnTo>
                <a:lnTo>
                  <a:pt x="121" y="178"/>
                </a:lnTo>
                <a:lnTo>
                  <a:pt x="120" y="171"/>
                </a:lnTo>
                <a:lnTo>
                  <a:pt x="121" y="159"/>
                </a:lnTo>
                <a:lnTo>
                  <a:pt x="125" y="152"/>
                </a:lnTo>
                <a:lnTo>
                  <a:pt x="131" y="142"/>
                </a:lnTo>
                <a:lnTo>
                  <a:pt x="177" y="83"/>
                </a:lnTo>
                <a:lnTo>
                  <a:pt x="182" y="78"/>
                </a:lnTo>
                <a:lnTo>
                  <a:pt x="208" y="59"/>
                </a:lnTo>
                <a:lnTo>
                  <a:pt x="212" y="55"/>
                </a:lnTo>
                <a:lnTo>
                  <a:pt x="214" y="51"/>
                </a:lnTo>
                <a:lnTo>
                  <a:pt x="214" y="49"/>
                </a:lnTo>
                <a:lnTo>
                  <a:pt x="213" y="45"/>
                </a:lnTo>
                <a:lnTo>
                  <a:pt x="211" y="42"/>
                </a:lnTo>
                <a:lnTo>
                  <a:pt x="209" y="39"/>
                </a:lnTo>
                <a:lnTo>
                  <a:pt x="201" y="32"/>
                </a:lnTo>
                <a:lnTo>
                  <a:pt x="199" y="29"/>
                </a:lnTo>
                <a:lnTo>
                  <a:pt x="198" y="25"/>
                </a:lnTo>
                <a:lnTo>
                  <a:pt x="199" y="18"/>
                </a:lnTo>
                <a:lnTo>
                  <a:pt x="201" y="15"/>
                </a:lnTo>
                <a:lnTo>
                  <a:pt x="203" y="13"/>
                </a:lnTo>
                <a:lnTo>
                  <a:pt x="207" y="13"/>
                </a:lnTo>
                <a:lnTo>
                  <a:pt x="211" y="13"/>
                </a:lnTo>
                <a:lnTo>
                  <a:pt x="216" y="14"/>
                </a:lnTo>
                <a:lnTo>
                  <a:pt x="227" y="17"/>
                </a:lnTo>
                <a:lnTo>
                  <a:pt x="233" y="18"/>
                </a:lnTo>
                <a:lnTo>
                  <a:pt x="251" y="18"/>
                </a:lnTo>
                <a:lnTo>
                  <a:pt x="254" y="18"/>
                </a:lnTo>
                <a:lnTo>
                  <a:pt x="268" y="24"/>
                </a:lnTo>
                <a:lnTo>
                  <a:pt x="279" y="21"/>
                </a:lnTo>
                <a:lnTo>
                  <a:pt x="303" y="3"/>
                </a:lnTo>
                <a:lnTo>
                  <a:pt x="305" y="0"/>
                </a:lnTo>
                <a:lnTo>
                  <a:pt x="308" y="0"/>
                </a:lnTo>
                <a:lnTo>
                  <a:pt x="337" y="6"/>
                </a:lnTo>
                <a:lnTo>
                  <a:pt x="345" y="39"/>
                </a:lnTo>
                <a:lnTo>
                  <a:pt x="350" y="109"/>
                </a:lnTo>
                <a:lnTo>
                  <a:pt x="356" y="132"/>
                </a:lnTo>
                <a:lnTo>
                  <a:pt x="358" y="152"/>
                </a:lnTo>
                <a:lnTo>
                  <a:pt x="366" y="169"/>
                </a:lnTo>
                <a:lnTo>
                  <a:pt x="383" y="183"/>
                </a:lnTo>
                <a:lnTo>
                  <a:pt x="407" y="192"/>
                </a:lnTo>
                <a:lnTo>
                  <a:pt x="479" y="206"/>
                </a:lnTo>
                <a:lnTo>
                  <a:pt x="490" y="210"/>
                </a:lnTo>
                <a:lnTo>
                  <a:pt x="500" y="215"/>
                </a:lnTo>
                <a:lnTo>
                  <a:pt x="511" y="21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2C10B9B7-41D2-41CF-BD41-32F93E5550BF}"/>
              </a:ext>
            </a:extLst>
          </p:cNvPr>
          <p:cNvSpPr>
            <a:spLocks/>
          </p:cNvSpPr>
          <p:nvPr/>
        </p:nvSpPr>
        <p:spPr bwMode="auto">
          <a:xfrm>
            <a:off x="3870260" y="3294371"/>
            <a:ext cx="831849" cy="862218"/>
          </a:xfrm>
          <a:custGeom>
            <a:avLst/>
            <a:gdLst>
              <a:gd name="T0" fmla="*/ 339 w 535"/>
              <a:gd name="T1" fmla="*/ 153 h 586"/>
              <a:gd name="T2" fmla="*/ 393 w 535"/>
              <a:gd name="T3" fmla="*/ 205 h 586"/>
              <a:gd name="T4" fmla="*/ 485 w 535"/>
              <a:gd name="T5" fmla="*/ 242 h 586"/>
              <a:gd name="T6" fmla="*/ 535 w 535"/>
              <a:gd name="T7" fmla="*/ 305 h 586"/>
              <a:gd name="T8" fmla="*/ 523 w 535"/>
              <a:gd name="T9" fmla="*/ 432 h 586"/>
              <a:gd name="T10" fmla="*/ 460 w 535"/>
              <a:gd name="T11" fmla="*/ 496 h 586"/>
              <a:gd name="T12" fmla="*/ 363 w 535"/>
              <a:gd name="T13" fmla="*/ 540 h 586"/>
              <a:gd name="T14" fmla="*/ 293 w 535"/>
              <a:gd name="T15" fmla="*/ 561 h 586"/>
              <a:gd name="T16" fmla="*/ 217 w 535"/>
              <a:gd name="T17" fmla="*/ 502 h 586"/>
              <a:gd name="T18" fmla="*/ 175 w 535"/>
              <a:gd name="T19" fmla="*/ 493 h 586"/>
              <a:gd name="T20" fmla="*/ 128 w 535"/>
              <a:gd name="T21" fmla="*/ 476 h 586"/>
              <a:gd name="T22" fmla="*/ 85 w 535"/>
              <a:gd name="T23" fmla="*/ 446 h 586"/>
              <a:gd name="T24" fmla="*/ 67 w 535"/>
              <a:gd name="T25" fmla="*/ 445 h 586"/>
              <a:gd name="T26" fmla="*/ 57 w 535"/>
              <a:gd name="T27" fmla="*/ 415 h 586"/>
              <a:gd name="T28" fmla="*/ 41 w 535"/>
              <a:gd name="T29" fmla="*/ 390 h 586"/>
              <a:gd name="T30" fmla="*/ 7 w 535"/>
              <a:gd name="T31" fmla="*/ 360 h 586"/>
              <a:gd name="T32" fmla="*/ 1 w 535"/>
              <a:gd name="T33" fmla="*/ 349 h 586"/>
              <a:gd name="T34" fmla="*/ 3 w 535"/>
              <a:gd name="T35" fmla="*/ 340 h 586"/>
              <a:gd name="T36" fmla="*/ 11 w 535"/>
              <a:gd name="T37" fmla="*/ 344 h 586"/>
              <a:gd name="T38" fmla="*/ 14 w 535"/>
              <a:gd name="T39" fmla="*/ 349 h 586"/>
              <a:gd name="T40" fmla="*/ 39 w 535"/>
              <a:gd name="T41" fmla="*/ 354 h 586"/>
              <a:gd name="T42" fmla="*/ 46 w 535"/>
              <a:gd name="T43" fmla="*/ 367 h 586"/>
              <a:gd name="T44" fmla="*/ 71 w 535"/>
              <a:gd name="T45" fmla="*/ 375 h 586"/>
              <a:gd name="T46" fmla="*/ 130 w 535"/>
              <a:gd name="T47" fmla="*/ 340 h 586"/>
              <a:gd name="T48" fmla="*/ 180 w 535"/>
              <a:gd name="T49" fmla="*/ 299 h 586"/>
              <a:gd name="T50" fmla="*/ 175 w 535"/>
              <a:gd name="T51" fmla="*/ 240 h 586"/>
              <a:gd name="T52" fmla="*/ 168 w 535"/>
              <a:gd name="T53" fmla="*/ 213 h 586"/>
              <a:gd name="T54" fmla="*/ 178 w 535"/>
              <a:gd name="T55" fmla="*/ 205 h 586"/>
              <a:gd name="T56" fmla="*/ 189 w 535"/>
              <a:gd name="T57" fmla="*/ 184 h 586"/>
              <a:gd name="T58" fmla="*/ 169 w 535"/>
              <a:gd name="T59" fmla="*/ 95 h 586"/>
              <a:gd name="T60" fmla="*/ 155 w 535"/>
              <a:gd name="T61" fmla="*/ 55 h 586"/>
              <a:gd name="T62" fmla="*/ 143 w 535"/>
              <a:gd name="T63" fmla="*/ 36 h 586"/>
              <a:gd name="T64" fmla="*/ 131 w 535"/>
              <a:gd name="T65" fmla="*/ 15 h 586"/>
              <a:gd name="T66" fmla="*/ 148 w 535"/>
              <a:gd name="T67" fmla="*/ 10 h 586"/>
              <a:gd name="T68" fmla="*/ 166 w 535"/>
              <a:gd name="T69" fmla="*/ 11 h 586"/>
              <a:gd name="T70" fmla="*/ 223 w 535"/>
              <a:gd name="T71" fmla="*/ 11 h 586"/>
              <a:gd name="T72" fmla="*/ 260 w 535"/>
              <a:gd name="T73" fmla="*/ 0 h 586"/>
              <a:gd name="T74" fmla="*/ 291 w 535"/>
              <a:gd name="T75" fmla="*/ 3 h 586"/>
              <a:gd name="T76" fmla="*/ 304 w 535"/>
              <a:gd name="T77" fmla="*/ 13 h 586"/>
              <a:gd name="T78" fmla="*/ 303 w 535"/>
              <a:gd name="T79" fmla="*/ 24 h 586"/>
              <a:gd name="T80" fmla="*/ 313 w 535"/>
              <a:gd name="T81" fmla="*/ 37 h 586"/>
              <a:gd name="T82" fmla="*/ 317 w 535"/>
              <a:gd name="T83" fmla="*/ 48 h 586"/>
              <a:gd name="T84" fmla="*/ 313 w 535"/>
              <a:gd name="T85" fmla="*/ 72 h 586"/>
              <a:gd name="T86" fmla="*/ 303 w 535"/>
              <a:gd name="T87" fmla="*/ 89 h 586"/>
              <a:gd name="T88" fmla="*/ 301 w 535"/>
              <a:gd name="T89" fmla="*/ 102 h 586"/>
              <a:gd name="T90" fmla="*/ 309 w 535"/>
              <a:gd name="T91" fmla="*/ 115 h 586"/>
              <a:gd name="T92" fmla="*/ 332 w 535"/>
              <a:gd name="T93" fmla="*/ 124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35" h="586">
                <a:moveTo>
                  <a:pt x="332" y="124"/>
                </a:moveTo>
                <a:lnTo>
                  <a:pt x="339" y="153"/>
                </a:lnTo>
                <a:lnTo>
                  <a:pt x="358" y="185"/>
                </a:lnTo>
                <a:lnTo>
                  <a:pt x="393" y="205"/>
                </a:lnTo>
                <a:lnTo>
                  <a:pt x="445" y="218"/>
                </a:lnTo>
                <a:lnTo>
                  <a:pt x="485" y="242"/>
                </a:lnTo>
                <a:lnTo>
                  <a:pt x="509" y="265"/>
                </a:lnTo>
                <a:lnTo>
                  <a:pt x="535" y="305"/>
                </a:lnTo>
                <a:lnTo>
                  <a:pt x="534" y="363"/>
                </a:lnTo>
                <a:lnTo>
                  <a:pt x="523" y="432"/>
                </a:lnTo>
                <a:lnTo>
                  <a:pt x="493" y="477"/>
                </a:lnTo>
                <a:lnTo>
                  <a:pt x="460" y="496"/>
                </a:lnTo>
                <a:lnTo>
                  <a:pt x="403" y="510"/>
                </a:lnTo>
                <a:lnTo>
                  <a:pt x="363" y="540"/>
                </a:lnTo>
                <a:lnTo>
                  <a:pt x="315" y="586"/>
                </a:lnTo>
                <a:lnTo>
                  <a:pt x="293" y="561"/>
                </a:lnTo>
                <a:lnTo>
                  <a:pt x="238" y="510"/>
                </a:lnTo>
                <a:lnTo>
                  <a:pt x="217" y="502"/>
                </a:lnTo>
                <a:lnTo>
                  <a:pt x="197" y="493"/>
                </a:lnTo>
                <a:lnTo>
                  <a:pt x="175" y="493"/>
                </a:lnTo>
                <a:lnTo>
                  <a:pt x="141" y="482"/>
                </a:lnTo>
                <a:lnTo>
                  <a:pt x="128" y="476"/>
                </a:lnTo>
                <a:lnTo>
                  <a:pt x="100" y="451"/>
                </a:lnTo>
                <a:lnTo>
                  <a:pt x="85" y="446"/>
                </a:lnTo>
                <a:lnTo>
                  <a:pt x="75" y="446"/>
                </a:lnTo>
                <a:lnTo>
                  <a:pt x="67" y="445"/>
                </a:lnTo>
                <a:lnTo>
                  <a:pt x="62" y="438"/>
                </a:lnTo>
                <a:lnTo>
                  <a:pt x="57" y="415"/>
                </a:lnTo>
                <a:lnTo>
                  <a:pt x="52" y="406"/>
                </a:lnTo>
                <a:lnTo>
                  <a:pt x="41" y="390"/>
                </a:lnTo>
                <a:lnTo>
                  <a:pt x="32" y="381"/>
                </a:lnTo>
                <a:lnTo>
                  <a:pt x="7" y="360"/>
                </a:lnTo>
                <a:lnTo>
                  <a:pt x="4" y="356"/>
                </a:lnTo>
                <a:lnTo>
                  <a:pt x="1" y="349"/>
                </a:lnTo>
                <a:lnTo>
                  <a:pt x="0" y="343"/>
                </a:lnTo>
                <a:lnTo>
                  <a:pt x="3" y="340"/>
                </a:lnTo>
                <a:lnTo>
                  <a:pt x="7" y="341"/>
                </a:lnTo>
                <a:lnTo>
                  <a:pt x="11" y="344"/>
                </a:lnTo>
                <a:lnTo>
                  <a:pt x="12" y="347"/>
                </a:lnTo>
                <a:lnTo>
                  <a:pt x="14" y="349"/>
                </a:lnTo>
                <a:lnTo>
                  <a:pt x="31" y="353"/>
                </a:lnTo>
                <a:lnTo>
                  <a:pt x="39" y="354"/>
                </a:lnTo>
                <a:lnTo>
                  <a:pt x="42" y="356"/>
                </a:lnTo>
                <a:lnTo>
                  <a:pt x="46" y="367"/>
                </a:lnTo>
                <a:lnTo>
                  <a:pt x="55" y="376"/>
                </a:lnTo>
                <a:lnTo>
                  <a:pt x="71" y="375"/>
                </a:lnTo>
                <a:lnTo>
                  <a:pt x="95" y="367"/>
                </a:lnTo>
                <a:lnTo>
                  <a:pt x="130" y="340"/>
                </a:lnTo>
                <a:lnTo>
                  <a:pt x="156" y="327"/>
                </a:lnTo>
                <a:lnTo>
                  <a:pt x="180" y="299"/>
                </a:lnTo>
                <a:lnTo>
                  <a:pt x="184" y="260"/>
                </a:lnTo>
                <a:lnTo>
                  <a:pt x="175" y="240"/>
                </a:lnTo>
                <a:lnTo>
                  <a:pt x="170" y="219"/>
                </a:lnTo>
                <a:lnTo>
                  <a:pt x="168" y="213"/>
                </a:lnTo>
                <a:lnTo>
                  <a:pt x="171" y="206"/>
                </a:lnTo>
                <a:lnTo>
                  <a:pt x="178" y="205"/>
                </a:lnTo>
                <a:lnTo>
                  <a:pt x="187" y="200"/>
                </a:lnTo>
                <a:lnTo>
                  <a:pt x="189" y="184"/>
                </a:lnTo>
                <a:lnTo>
                  <a:pt x="187" y="166"/>
                </a:lnTo>
                <a:lnTo>
                  <a:pt x="169" y="95"/>
                </a:lnTo>
                <a:lnTo>
                  <a:pt x="159" y="67"/>
                </a:lnTo>
                <a:lnTo>
                  <a:pt x="155" y="55"/>
                </a:lnTo>
                <a:lnTo>
                  <a:pt x="148" y="45"/>
                </a:lnTo>
                <a:lnTo>
                  <a:pt x="143" y="36"/>
                </a:lnTo>
                <a:lnTo>
                  <a:pt x="134" y="24"/>
                </a:lnTo>
                <a:lnTo>
                  <a:pt x="131" y="15"/>
                </a:lnTo>
                <a:lnTo>
                  <a:pt x="131" y="15"/>
                </a:lnTo>
                <a:lnTo>
                  <a:pt x="148" y="10"/>
                </a:lnTo>
                <a:lnTo>
                  <a:pt x="161" y="12"/>
                </a:lnTo>
                <a:lnTo>
                  <a:pt x="166" y="11"/>
                </a:lnTo>
                <a:lnTo>
                  <a:pt x="175" y="8"/>
                </a:lnTo>
                <a:lnTo>
                  <a:pt x="223" y="11"/>
                </a:lnTo>
                <a:lnTo>
                  <a:pt x="236" y="8"/>
                </a:lnTo>
                <a:lnTo>
                  <a:pt x="260" y="0"/>
                </a:lnTo>
                <a:lnTo>
                  <a:pt x="272" y="0"/>
                </a:lnTo>
                <a:lnTo>
                  <a:pt x="291" y="3"/>
                </a:lnTo>
                <a:lnTo>
                  <a:pt x="301" y="8"/>
                </a:lnTo>
                <a:lnTo>
                  <a:pt x="304" y="13"/>
                </a:lnTo>
                <a:lnTo>
                  <a:pt x="303" y="20"/>
                </a:lnTo>
                <a:lnTo>
                  <a:pt x="303" y="24"/>
                </a:lnTo>
                <a:lnTo>
                  <a:pt x="304" y="29"/>
                </a:lnTo>
                <a:lnTo>
                  <a:pt x="313" y="37"/>
                </a:lnTo>
                <a:lnTo>
                  <a:pt x="316" y="42"/>
                </a:lnTo>
                <a:lnTo>
                  <a:pt x="317" y="48"/>
                </a:lnTo>
                <a:lnTo>
                  <a:pt x="314" y="68"/>
                </a:lnTo>
                <a:lnTo>
                  <a:pt x="313" y="72"/>
                </a:lnTo>
                <a:lnTo>
                  <a:pt x="305" y="84"/>
                </a:lnTo>
                <a:lnTo>
                  <a:pt x="303" y="89"/>
                </a:lnTo>
                <a:lnTo>
                  <a:pt x="301" y="96"/>
                </a:lnTo>
                <a:lnTo>
                  <a:pt x="301" y="102"/>
                </a:lnTo>
                <a:lnTo>
                  <a:pt x="302" y="108"/>
                </a:lnTo>
                <a:lnTo>
                  <a:pt x="309" y="115"/>
                </a:lnTo>
                <a:lnTo>
                  <a:pt x="318" y="121"/>
                </a:lnTo>
                <a:lnTo>
                  <a:pt x="332" y="12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DC974973-9CD3-81A3-F717-38B21E77775C}"/>
              </a:ext>
            </a:extLst>
          </p:cNvPr>
          <p:cNvSpPr>
            <a:spLocks/>
          </p:cNvSpPr>
          <p:nvPr/>
        </p:nvSpPr>
        <p:spPr bwMode="auto">
          <a:xfrm>
            <a:off x="5333382" y="1618490"/>
            <a:ext cx="897152" cy="731267"/>
          </a:xfrm>
          <a:custGeom>
            <a:avLst/>
            <a:gdLst>
              <a:gd name="T0" fmla="*/ 479 w 577"/>
              <a:gd name="T1" fmla="*/ 102 h 497"/>
              <a:gd name="T2" fmla="*/ 565 w 577"/>
              <a:gd name="T3" fmla="*/ 222 h 497"/>
              <a:gd name="T4" fmla="*/ 455 w 577"/>
              <a:gd name="T5" fmla="*/ 263 h 497"/>
              <a:gd name="T6" fmla="*/ 449 w 577"/>
              <a:gd name="T7" fmla="*/ 270 h 497"/>
              <a:gd name="T8" fmla="*/ 435 w 577"/>
              <a:gd name="T9" fmla="*/ 276 h 497"/>
              <a:gd name="T10" fmla="*/ 428 w 577"/>
              <a:gd name="T11" fmla="*/ 291 h 497"/>
              <a:gd name="T12" fmla="*/ 422 w 577"/>
              <a:gd name="T13" fmla="*/ 301 h 497"/>
              <a:gd name="T14" fmla="*/ 404 w 577"/>
              <a:gd name="T15" fmla="*/ 311 h 497"/>
              <a:gd name="T16" fmla="*/ 388 w 577"/>
              <a:gd name="T17" fmla="*/ 345 h 497"/>
              <a:gd name="T18" fmla="*/ 386 w 577"/>
              <a:gd name="T19" fmla="*/ 355 h 497"/>
              <a:gd name="T20" fmla="*/ 406 w 577"/>
              <a:gd name="T21" fmla="*/ 367 h 497"/>
              <a:gd name="T22" fmla="*/ 413 w 577"/>
              <a:gd name="T23" fmla="*/ 383 h 497"/>
              <a:gd name="T24" fmla="*/ 406 w 577"/>
              <a:gd name="T25" fmla="*/ 391 h 497"/>
              <a:gd name="T26" fmla="*/ 390 w 577"/>
              <a:gd name="T27" fmla="*/ 399 h 497"/>
              <a:gd name="T28" fmla="*/ 382 w 577"/>
              <a:gd name="T29" fmla="*/ 419 h 497"/>
              <a:gd name="T30" fmla="*/ 365 w 577"/>
              <a:gd name="T31" fmla="*/ 420 h 497"/>
              <a:gd name="T32" fmla="*/ 348 w 577"/>
              <a:gd name="T33" fmla="*/ 400 h 497"/>
              <a:gd name="T34" fmla="*/ 319 w 577"/>
              <a:gd name="T35" fmla="*/ 403 h 497"/>
              <a:gd name="T36" fmla="*/ 244 w 577"/>
              <a:gd name="T37" fmla="*/ 465 h 497"/>
              <a:gd name="T38" fmla="*/ 219 w 577"/>
              <a:gd name="T39" fmla="*/ 489 h 497"/>
              <a:gd name="T40" fmla="*/ 195 w 577"/>
              <a:gd name="T41" fmla="*/ 497 h 497"/>
              <a:gd name="T42" fmla="*/ 172 w 577"/>
              <a:gd name="T43" fmla="*/ 487 h 497"/>
              <a:gd name="T44" fmla="*/ 165 w 577"/>
              <a:gd name="T45" fmla="*/ 470 h 497"/>
              <a:gd name="T46" fmla="*/ 175 w 577"/>
              <a:gd name="T47" fmla="*/ 447 h 497"/>
              <a:gd name="T48" fmla="*/ 167 w 577"/>
              <a:gd name="T49" fmla="*/ 417 h 497"/>
              <a:gd name="T50" fmla="*/ 178 w 577"/>
              <a:gd name="T51" fmla="*/ 402 h 497"/>
              <a:gd name="T52" fmla="*/ 120 w 577"/>
              <a:gd name="T53" fmla="*/ 397 h 497"/>
              <a:gd name="T54" fmla="*/ 97 w 577"/>
              <a:gd name="T55" fmla="*/ 380 h 497"/>
              <a:gd name="T56" fmla="*/ 107 w 577"/>
              <a:gd name="T57" fmla="*/ 340 h 497"/>
              <a:gd name="T58" fmla="*/ 135 w 577"/>
              <a:gd name="T59" fmla="*/ 287 h 497"/>
              <a:gd name="T60" fmla="*/ 128 w 577"/>
              <a:gd name="T61" fmla="*/ 150 h 497"/>
              <a:gd name="T62" fmla="*/ 107 w 577"/>
              <a:gd name="T63" fmla="*/ 149 h 497"/>
              <a:gd name="T64" fmla="*/ 74 w 577"/>
              <a:gd name="T65" fmla="*/ 139 h 497"/>
              <a:gd name="T66" fmla="*/ 35 w 577"/>
              <a:gd name="T67" fmla="*/ 97 h 497"/>
              <a:gd name="T68" fmla="*/ 17 w 577"/>
              <a:gd name="T69" fmla="*/ 84 h 497"/>
              <a:gd name="T70" fmla="*/ 3 w 577"/>
              <a:gd name="T71" fmla="*/ 71 h 497"/>
              <a:gd name="T72" fmla="*/ 3 w 577"/>
              <a:gd name="T73" fmla="*/ 45 h 497"/>
              <a:gd name="T74" fmla="*/ 36 w 577"/>
              <a:gd name="T75" fmla="*/ 43 h 497"/>
              <a:gd name="T76" fmla="*/ 103 w 577"/>
              <a:gd name="T77" fmla="*/ 56 h 497"/>
              <a:gd name="T78" fmla="*/ 116 w 577"/>
              <a:gd name="T79" fmla="*/ 63 h 497"/>
              <a:gd name="T80" fmla="*/ 124 w 577"/>
              <a:gd name="T81" fmla="*/ 57 h 497"/>
              <a:gd name="T82" fmla="*/ 121 w 577"/>
              <a:gd name="T83" fmla="*/ 49 h 497"/>
              <a:gd name="T84" fmla="*/ 115 w 577"/>
              <a:gd name="T85" fmla="*/ 49 h 497"/>
              <a:gd name="T86" fmla="*/ 104 w 577"/>
              <a:gd name="T87" fmla="*/ 34 h 497"/>
              <a:gd name="T88" fmla="*/ 123 w 577"/>
              <a:gd name="T89" fmla="*/ 23 h 497"/>
              <a:gd name="T90" fmla="*/ 160 w 577"/>
              <a:gd name="T91" fmla="*/ 6 h 497"/>
              <a:gd name="T92" fmla="*/ 335 w 577"/>
              <a:gd name="T93" fmla="*/ 30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7" h="497">
                <a:moveTo>
                  <a:pt x="339" y="85"/>
                </a:moveTo>
                <a:lnTo>
                  <a:pt x="459" y="81"/>
                </a:lnTo>
                <a:lnTo>
                  <a:pt x="479" y="102"/>
                </a:lnTo>
                <a:lnTo>
                  <a:pt x="543" y="136"/>
                </a:lnTo>
                <a:lnTo>
                  <a:pt x="577" y="174"/>
                </a:lnTo>
                <a:lnTo>
                  <a:pt x="565" y="222"/>
                </a:lnTo>
                <a:lnTo>
                  <a:pt x="479" y="229"/>
                </a:lnTo>
                <a:lnTo>
                  <a:pt x="460" y="262"/>
                </a:lnTo>
                <a:lnTo>
                  <a:pt x="455" y="263"/>
                </a:lnTo>
                <a:lnTo>
                  <a:pt x="453" y="265"/>
                </a:lnTo>
                <a:lnTo>
                  <a:pt x="451" y="267"/>
                </a:lnTo>
                <a:lnTo>
                  <a:pt x="449" y="270"/>
                </a:lnTo>
                <a:lnTo>
                  <a:pt x="441" y="272"/>
                </a:lnTo>
                <a:lnTo>
                  <a:pt x="438" y="273"/>
                </a:lnTo>
                <a:lnTo>
                  <a:pt x="435" y="276"/>
                </a:lnTo>
                <a:lnTo>
                  <a:pt x="432" y="280"/>
                </a:lnTo>
                <a:lnTo>
                  <a:pt x="429" y="286"/>
                </a:lnTo>
                <a:lnTo>
                  <a:pt x="428" y="291"/>
                </a:lnTo>
                <a:lnTo>
                  <a:pt x="427" y="295"/>
                </a:lnTo>
                <a:lnTo>
                  <a:pt x="425" y="299"/>
                </a:lnTo>
                <a:lnTo>
                  <a:pt x="422" y="301"/>
                </a:lnTo>
                <a:lnTo>
                  <a:pt x="411" y="306"/>
                </a:lnTo>
                <a:lnTo>
                  <a:pt x="408" y="307"/>
                </a:lnTo>
                <a:lnTo>
                  <a:pt x="404" y="311"/>
                </a:lnTo>
                <a:lnTo>
                  <a:pt x="402" y="315"/>
                </a:lnTo>
                <a:lnTo>
                  <a:pt x="394" y="334"/>
                </a:lnTo>
                <a:lnTo>
                  <a:pt x="388" y="345"/>
                </a:lnTo>
                <a:lnTo>
                  <a:pt x="385" y="348"/>
                </a:lnTo>
                <a:lnTo>
                  <a:pt x="384" y="352"/>
                </a:lnTo>
                <a:lnTo>
                  <a:pt x="386" y="355"/>
                </a:lnTo>
                <a:lnTo>
                  <a:pt x="389" y="358"/>
                </a:lnTo>
                <a:lnTo>
                  <a:pt x="401" y="363"/>
                </a:lnTo>
                <a:lnTo>
                  <a:pt x="406" y="367"/>
                </a:lnTo>
                <a:lnTo>
                  <a:pt x="409" y="372"/>
                </a:lnTo>
                <a:lnTo>
                  <a:pt x="411" y="378"/>
                </a:lnTo>
                <a:lnTo>
                  <a:pt x="413" y="383"/>
                </a:lnTo>
                <a:lnTo>
                  <a:pt x="413" y="386"/>
                </a:lnTo>
                <a:lnTo>
                  <a:pt x="410" y="389"/>
                </a:lnTo>
                <a:lnTo>
                  <a:pt x="406" y="391"/>
                </a:lnTo>
                <a:lnTo>
                  <a:pt x="398" y="394"/>
                </a:lnTo>
                <a:lnTo>
                  <a:pt x="394" y="396"/>
                </a:lnTo>
                <a:lnTo>
                  <a:pt x="390" y="399"/>
                </a:lnTo>
                <a:lnTo>
                  <a:pt x="388" y="409"/>
                </a:lnTo>
                <a:lnTo>
                  <a:pt x="386" y="415"/>
                </a:lnTo>
                <a:lnTo>
                  <a:pt x="382" y="419"/>
                </a:lnTo>
                <a:lnTo>
                  <a:pt x="375" y="422"/>
                </a:lnTo>
                <a:lnTo>
                  <a:pt x="370" y="422"/>
                </a:lnTo>
                <a:lnTo>
                  <a:pt x="365" y="420"/>
                </a:lnTo>
                <a:lnTo>
                  <a:pt x="361" y="418"/>
                </a:lnTo>
                <a:lnTo>
                  <a:pt x="359" y="416"/>
                </a:lnTo>
                <a:lnTo>
                  <a:pt x="348" y="400"/>
                </a:lnTo>
                <a:lnTo>
                  <a:pt x="336" y="396"/>
                </a:lnTo>
                <a:lnTo>
                  <a:pt x="330" y="396"/>
                </a:lnTo>
                <a:lnTo>
                  <a:pt x="319" y="403"/>
                </a:lnTo>
                <a:lnTo>
                  <a:pt x="269" y="451"/>
                </a:lnTo>
                <a:lnTo>
                  <a:pt x="261" y="457"/>
                </a:lnTo>
                <a:lnTo>
                  <a:pt x="244" y="465"/>
                </a:lnTo>
                <a:lnTo>
                  <a:pt x="235" y="472"/>
                </a:lnTo>
                <a:lnTo>
                  <a:pt x="227" y="481"/>
                </a:lnTo>
                <a:lnTo>
                  <a:pt x="219" y="489"/>
                </a:lnTo>
                <a:lnTo>
                  <a:pt x="213" y="494"/>
                </a:lnTo>
                <a:lnTo>
                  <a:pt x="204" y="496"/>
                </a:lnTo>
                <a:lnTo>
                  <a:pt x="195" y="497"/>
                </a:lnTo>
                <a:lnTo>
                  <a:pt x="187" y="495"/>
                </a:lnTo>
                <a:lnTo>
                  <a:pt x="178" y="491"/>
                </a:lnTo>
                <a:lnTo>
                  <a:pt x="172" y="487"/>
                </a:lnTo>
                <a:lnTo>
                  <a:pt x="168" y="482"/>
                </a:lnTo>
                <a:lnTo>
                  <a:pt x="167" y="476"/>
                </a:lnTo>
                <a:lnTo>
                  <a:pt x="165" y="470"/>
                </a:lnTo>
                <a:lnTo>
                  <a:pt x="167" y="463"/>
                </a:lnTo>
                <a:lnTo>
                  <a:pt x="172" y="455"/>
                </a:lnTo>
                <a:lnTo>
                  <a:pt x="175" y="447"/>
                </a:lnTo>
                <a:lnTo>
                  <a:pt x="173" y="437"/>
                </a:lnTo>
                <a:lnTo>
                  <a:pt x="169" y="426"/>
                </a:lnTo>
                <a:lnTo>
                  <a:pt x="167" y="417"/>
                </a:lnTo>
                <a:lnTo>
                  <a:pt x="170" y="410"/>
                </a:lnTo>
                <a:lnTo>
                  <a:pt x="175" y="406"/>
                </a:lnTo>
                <a:lnTo>
                  <a:pt x="178" y="402"/>
                </a:lnTo>
                <a:lnTo>
                  <a:pt x="172" y="398"/>
                </a:lnTo>
                <a:lnTo>
                  <a:pt x="156" y="396"/>
                </a:lnTo>
                <a:lnTo>
                  <a:pt x="120" y="397"/>
                </a:lnTo>
                <a:lnTo>
                  <a:pt x="105" y="395"/>
                </a:lnTo>
                <a:lnTo>
                  <a:pt x="85" y="395"/>
                </a:lnTo>
                <a:lnTo>
                  <a:pt x="97" y="380"/>
                </a:lnTo>
                <a:lnTo>
                  <a:pt x="104" y="360"/>
                </a:lnTo>
                <a:lnTo>
                  <a:pt x="105" y="355"/>
                </a:lnTo>
                <a:lnTo>
                  <a:pt x="107" y="340"/>
                </a:lnTo>
                <a:lnTo>
                  <a:pt x="128" y="307"/>
                </a:lnTo>
                <a:lnTo>
                  <a:pt x="133" y="298"/>
                </a:lnTo>
                <a:lnTo>
                  <a:pt x="135" y="287"/>
                </a:lnTo>
                <a:lnTo>
                  <a:pt x="130" y="168"/>
                </a:lnTo>
                <a:lnTo>
                  <a:pt x="131" y="157"/>
                </a:lnTo>
                <a:lnTo>
                  <a:pt x="128" y="150"/>
                </a:lnTo>
                <a:lnTo>
                  <a:pt x="122" y="148"/>
                </a:lnTo>
                <a:lnTo>
                  <a:pt x="117" y="148"/>
                </a:lnTo>
                <a:lnTo>
                  <a:pt x="107" y="149"/>
                </a:lnTo>
                <a:lnTo>
                  <a:pt x="102" y="148"/>
                </a:lnTo>
                <a:lnTo>
                  <a:pt x="78" y="141"/>
                </a:lnTo>
                <a:lnTo>
                  <a:pt x="74" y="139"/>
                </a:lnTo>
                <a:lnTo>
                  <a:pt x="57" y="123"/>
                </a:lnTo>
                <a:lnTo>
                  <a:pt x="39" y="101"/>
                </a:lnTo>
                <a:lnTo>
                  <a:pt x="35" y="97"/>
                </a:lnTo>
                <a:lnTo>
                  <a:pt x="26" y="92"/>
                </a:lnTo>
                <a:lnTo>
                  <a:pt x="21" y="86"/>
                </a:lnTo>
                <a:lnTo>
                  <a:pt x="17" y="84"/>
                </a:lnTo>
                <a:lnTo>
                  <a:pt x="12" y="83"/>
                </a:lnTo>
                <a:lnTo>
                  <a:pt x="6" y="79"/>
                </a:lnTo>
                <a:lnTo>
                  <a:pt x="3" y="71"/>
                </a:lnTo>
                <a:lnTo>
                  <a:pt x="0" y="58"/>
                </a:lnTo>
                <a:lnTo>
                  <a:pt x="1" y="50"/>
                </a:lnTo>
                <a:lnTo>
                  <a:pt x="3" y="45"/>
                </a:lnTo>
                <a:lnTo>
                  <a:pt x="8" y="40"/>
                </a:lnTo>
                <a:lnTo>
                  <a:pt x="22" y="39"/>
                </a:lnTo>
                <a:lnTo>
                  <a:pt x="36" y="43"/>
                </a:lnTo>
                <a:lnTo>
                  <a:pt x="76" y="47"/>
                </a:lnTo>
                <a:lnTo>
                  <a:pt x="96" y="53"/>
                </a:lnTo>
                <a:lnTo>
                  <a:pt x="103" y="56"/>
                </a:lnTo>
                <a:lnTo>
                  <a:pt x="109" y="59"/>
                </a:lnTo>
                <a:lnTo>
                  <a:pt x="115" y="63"/>
                </a:lnTo>
                <a:lnTo>
                  <a:pt x="116" y="63"/>
                </a:lnTo>
                <a:lnTo>
                  <a:pt x="118" y="61"/>
                </a:lnTo>
                <a:lnTo>
                  <a:pt x="121" y="59"/>
                </a:lnTo>
                <a:lnTo>
                  <a:pt x="124" y="57"/>
                </a:lnTo>
                <a:lnTo>
                  <a:pt x="125" y="53"/>
                </a:lnTo>
                <a:lnTo>
                  <a:pt x="124" y="50"/>
                </a:lnTo>
                <a:lnTo>
                  <a:pt x="121" y="49"/>
                </a:lnTo>
                <a:lnTo>
                  <a:pt x="118" y="49"/>
                </a:lnTo>
                <a:lnTo>
                  <a:pt x="116" y="50"/>
                </a:lnTo>
                <a:lnTo>
                  <a:pt x="115" y="49"/>
                </a:lnTo>
                <a:lnTo>
                  <a:pt x="113" y="48"/>
                </a:lnTo>
                <a:lnTo>
                  <a:pt x="105" y="39"/>
                </a:lnTo>
                <a:lnTo>
                  <a:pt x="104" y="34"/>
                </a:lnTo>
                <a:lnTo>
                  <a:pt x="105" y="31"/>
                </a:lnTo>
                <a:lnTo>
                  <a:pt x="117" y="27"/>
                </a:lnTo>
                <a:lnTo>
                  <a:pt x="123" y="23"/>
                </a:lnTo>
                <a:lnTo>
                  <a:pt x="141" y="19"/>
                </a:lnTo>
                <a:lnTo>
                  <a:pt x="150" y="16"/>
                </a:lnTo>
                <a:lnTo>
                  <a:pt x="160" y="6"/>
                </a:lnTo>
                <a:lnTo>
                  <a:pt x="163" y="0"/>
                </a:lnTo>
                <a:lnTo>
                  <a:pt x="200" y="26"/>
                </a:lnTo>
                <a:lnTo>
                  <a:pt x="335" y="30"/>
                </a:lnTo>
                <a:lnTo>
                  <a:pt x="339" y="8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774C84E7-24BD-7E28-CFFB-1F9CAD71BA24}"/>
              </a:ext>
            </a:extLst>
          </p:cNvPr>
          <p:cNvSpPr>
            <a:spLocks/>
          </p:cNvSpPr>
          <p:nvPr/>
        </p:nvSpPr>
        <p:spPr bwMode="auto">
          <a:xfrm>
            <a:off x="5586822" y="1347757"/>
            <a:ext cx="1593729" cy="988756"/>
          </a:xfrm>
          <a:custGeom>
            <a:avLst/>
            <a:gdLst>
              <a:gd name="T0" fmla="*/ 222 w 1025"/>
              <a:gd name="T1" fmla="*/ 20 h 672"/>
              <a:gd name="T2" fmla="*/ 254 w 1025"/>
              <a:gd name="T3" fmla="*/ 65 h 672"/>
              <a:gd name="T4" fmla="*/ 295 w 1025"/>
              <a:gd name="T5" fmla="*/ 71 h 672"/>
              <a:gd name="T6" fmla="*/ 408 w 1025"/>
              <a:gd name="T7" fmla="*/ 56 h 672"/>
              <a:gd name="T8" fmla="*/ 507 w 1025"/>
              <a:gd name="T9" fmla="*/ 67 h 672"/>
              <a:gd name="T10" fmla="*/ 600 w 1025"/>
              <a:gd name="T11" fmla="*/ 52 h 672"/>
              <a:gd name="T12" fmla="*/ 669 w 1025"/>
              <a:gd name="T13" fmla="*/ 62 h 672"/>
              <a:gd name="T14" fmla="*/ 668 w 1025"/>
              <a:gd name="T15" fmla="*/ 95 h 672"/>
              <a:gd name="T16" fmla="*/ 685 w 1025"/>
              <a:gd name="T17" fmla="*/ 90 h 672"/>
              <a:gd name="T18" fmla="*/ 720 w 1025"/>
              <a:gd name="T19" fmla="*/ 106 h 672"/>
              <a:gd name="T20" fmla="*/ 778 w 1025"/>
              <a:gd name="T21" fmla="*/ 124 h 672"/>
              <a:gd name="T22" fmla="*/ 852 w 1025"/>
              <a:gd name="T23" fmla="*/ 87 h 672"/>
              <a:gd name="T24" fmla="*/ 933 w 1025"/>
              <a:gd name="T25" fmla="*/ 135 h 672"/>
              <a:gd name="T26" fmla="*/ 935 w 1025"/>
              <a:gd name="T27" fmla="*/ 138 h 672"/>
              <a:gd name="T28" fmla="*/ 953 w 1025"/>
              <a:gd name="T29" fmla="*/ 145 h 672"/>
              <a:gd name="T30" fmla="*/ 976 w 1025"/>
              <a:gd name="T31" fmla="*/ 153 h 672"/>
              <a:gd name="T32" fmla="*/ 994 w 1025"/>
              <a:gd name="T33" fmla="*/ 159 h 672"/>
              <a:gd name="T34" fmla="*/ 1012 w 1025"/>
              <a:gd name="T35" fmla="*/ 177 h 672"/>
              <a:gd name="T36" fmla="*/ 1017 w 1025"/>
              <a:gd name="T37" fmla="*/ 190 h 672"/>
              <a:gd name="T38" fmla="*/ 961 w 1025"/>
              <a:gd name="T39" fmla="*/ 238 h 672"/>
              <a:gd name="T40" fmla="*/ 928 w 1025"/>
              <a:gd name="T41" fmla="*/ 275 h 672"/>
              <a:gd name="T42" fmla="*/ 915 w 1025"/>
              <a:gd name="T43" fmla="*/ 291 h 672"/>
              <a:gd name="T44" fmla="*/ 884 w 1025"/>
              <a:gd name="T45" fmla="*/ 302 h 672"/>
              <a:gd name="T46" fmla="*/ 871 w 1025"/>
              <a:gd name="T47" fmla="*/ 316 h 672"/>
              <a:gd name="T48" fmla="*/ 845 w 1025"/>
              <a:gd name="T49" fmla="*/ 338 h 672"/>
              <a:gd name="T50" fmla="*/ 823 w 1025"/>
              <a:gd name="T51" fmla="*/ 328 h 672"/>
              <a:gd name="T52" fmla="*/ 791 w 1025"/>
              <a:gd name="T53" fmla="*/ 341 h 672"/>
              <a:gd name="T54" fmla="*/ 783 w 1025"/>
              <a:gd name="T55" fmla="*/ 428 h 672"/>
              <a:gd name="T56" fmla="*/ 745 w 1025"/>
              <a:gd name="T57" fmla="*/ 492 h 672"/>
              <a:gd name="T58" fmla="*/ 742 w 1025"/>
              <a:gd name="T59" fmla="*/ 540 h 672"/>
              <a:gd name="T60" fmla="*/ 738 w 1025"/>
              <a:gd name="T61" fmla="*/ 570 h 672"/>
              <a:gd name="T62" fmla="*/ 705 w 1025"/>
              <a:gd name="T63" fmla="*/ 615 h 672"/>
              <a:gd name="T64" fmla="*/ 692 w 1025"/>
              <a:gd name="T65" fmla="*/ 657 h 672"/>
              <a:gd name="T66" fmla="*/ 648 w 1025"/>
              <a:gd name="T67" fmla="*/ 672 h 672"/>
              <a:gd name="T68" fmla="*/ 560 w 1025"/>
              <a:gd name="T69" fmla="*/ 618 h 672"/>
              <a:gd name="T70" fmla="*/ 518 w 1025"/>
              <a:gd name="T71" fmla="*/ 631 h 672"/>
              <a:gd name="T72" fmla="*/ 499 w 1025"/>
              <a:gd name="T73" fmla="*/ 620 h 672"/>
              <a:gd name="T74" fmla="*/ 474 w 1025"/>
              <a:gd name="T75" fmla="*/ 635 h 672"/>
              <a:gd name="T76" fmla="*/ 440 w 1025"/>
              <a:gd name="T77" fmla="*/ 654 h 672"/>
              <a:gd name="T78" fmla="*/ 427 w 1025"/>
              <a:gd name="T79" fmla="*/ 628 h 672"/>
              <a:gd name="T80" fmla="*/ 357 w 1025"/>
              <a:gd name="T81" fmla="*/ 560 h 672"/>
              <a:gd name="T82" fmla="*/ 341 w 1025"/>
              <a:gd name="T83" fmla="*/ 518 h 672"/>
              <a:gd name="T84" fmla="*/ 304 w 1025"/>
              <a:gd name="T85" fmla="*/ 454 h 672"/>
              <a:gd name="T86" fmla="*/ 402 w 1025"/>
              <a:gd name="T87" fmla="*/ 406 h 672"/>
              <a:gd name="T88" fmla="*/ 296 w 1025"/>
              <a:gd name="T89" fmla="*/ 265 h 672"/>
              <a:gd name="T90" fmla="*/ 0 w 1025"/>
              <a:gd name="T91" fmla="*/ 184 h 672"/>
              <a:gd name="T92" fmla="*/ 39 w 1025"/>
              <a:gd name="T93" fmla="*/ 102 h 672"/>
              <a:gd name="T94" fmla="*/ 33 w 1025"/>
              <a:gd name="T95" fmla="*/ 85 h 672"/>
              <a:gd name="T96" fmla="*/ 7 w 1025"/>
              <a:gd name="T97" fmla="*/ 59 h 672"/>
              <a:gd name="T98" fmla="*/ 41 w 1025"/>
              <a:gd name="T99" fmla="*/ 38 h 672"/>
              <a:gd name="T100" fmla="*/ 76 w 1025"/>
              <a:gd name="T101" fmla="*/ 16 h 672"/>
              <a:gd name="T102" fmla="*/ 129 w 1025"/>
              <a:gd name="T103" fmla="*/ 3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25" h="672">
                <a:moveTo>
                  <a:pt x="129" y="3"/>
                </a:moveTo>
                <a:lnTo>
                  <a:pt x="146" y="2"/>
                </a:lnTo>
                <a:lnTo>
                  <a:pt x="217" y="17"/>
                </a:lnTo>
                <a:lnTo>
                  <a:pt x="222" y="20"/>
                </a:lnTo>
                <a:lnTo>
                  <a:pt x="226" y="22"/>
                </a:lnTo>
                <a:lnTo>
                  <a:pt x="236" y="35"/>
                </a:lnTo>
                <a:lnTo>
                  <a:pt x="248" y="61"/>
                </a:lnTo>
                <a:lnTo>
                  <a:pt x="254" y="65"/>
                </a:lnTo>
                <a:lnTo>
                  <a:pt x="264" y="70"/>
                </a:lnTo>
                <a:lnTo>
                  <a:pt x="276" y="73"/>
                </a:lnTo>
                <a:lnTo>
                  <a:pt x="286" y="73"/>
                </a:lnTo>
                <a:lnTo>
                  <a:pt x="295" y="71"/>
                </a:lnTo>
                <a:lnTo>
                  <a:pt x="309" y="69"/>
                </a:lnTo>
                <a:lnTo>
                  <a:pt x="335" y="60"/>
                </a:lnTo>
                <a:lnTo>
                  <a:pt x="392" y="55"/>
                </a:lnTo>
                <a:lnTo>
                  <a:pt x="408" y="56"/>
                </a:lnTo>
                <a:lnTo>
                  <a:pt x="477" y="70"/>
                </a:lnTo>
                <a:lnTo>
                  <a:pt x="491" y="71"/>
                </a:lnTo>
                <a:lnTo>
                  <a:pt x="499" y="69"/>
                </a:lnTo>
                <a:lnTo>
                  <a:pt x="507" y="67"/>
                </a:lnTo>
                <a:lnTo>
                  <a:pt x="542" y="62"/>
                </a:lnTo>
                <a:lnTo>
                  <a:pt x="556" y="58"/>
                </a:lnTo>
                <a:lnTo>
                  <a:pt x="565" y="59"/>
                </a:lnTo>
                <a:lnTo>
                  <a:pt x="600" y="52"/>
                </a:lnTo>
                <a:lnTo>
                  <a:pt x="636" y="50"/>
                </a:lnTo>
                <a:lnTo>
                  <a:pt x="654" y="52"/>
                </a:lnTo>
                <a:lnTo>
                  <a:pt x="665" y="57"/>
                </a:lnTo>
                <a:lnTo>
                  <a:pt x="669" y="62"/>
                </a:lnTo>
                <a:lnTo>
                  <a:pt x="672" y="69"/>
                </a:lnTo>
                <a:lnTo>
                  <a:pt x="673" y="76"/>
                </a:lnTo>
                <a:lnTo>
                  <a:pt x="672" y="83"/>
                </a:lnTo>
                <a:lnTo>
                  <a:pt x="668" y="95"/>
                </a:lnTo>
                <a:lnTo>
                  <a:pt x="667" y="99"/>
                </a:lnTo>
                <a:lnTo>
                  <a:pt x="668" y="103"/>
                </a:lnTo>
                <a:lnTo>
                  <a:pt x="673" y="101"/>
                </a:lnTo>
                <a:lnTo>
                  <a:pt x="685" y="90"/>
                </a:lnTo>
                <a:lnTo>
                  <a:pt x="692" y="87"/>
                </a:lnTo>
                <a:lnTo>
                  <a:pt x="699" y="88"/>
                </a:lnTo>
                <a:lnTo>
                  <a:pt x="706" y="94"/>
                </a:lnTo>
                <a:lnTo>
                  <a:pt x="720" y="106"/>
                </a:lnTo>
                <a:lnTo>
                  <a:pt x="731" y="113"/>
                </a:lnTo>
                <a:lnTo>
                  <a:pt x="743" y="120"/>
                </a:lnTo>
                <a:lnTo>
                  <a:pt x="761" y="125"/>
                </a:lnTo>
                <a:lnTo>
                  <a:pt x="778" y="124"/>
                </a:lnTo>
                <a:lnTo>
                  <a:pt x="796" y="121"/>
                </a:lnTo>
                <a:lnTo>
                  <a:pt x="825" y="107"/>
                </a:lnTo>
                <a:lnTo>
                  <a:pt x="837" y="99"/>
                </a:lnTo>
                <a:lnTo>
                  <a:pt x="852" y="87"/>
                </a:lnTo>
                <a:lnTo>
                  <a:pt x="861" y="82"/>
                </a:lnTo>
                <a:lnTo>
                  <a:pt x="873" y="83"/>
                </a:lnTo>
                <a:lnTo>
                  <a:pt x="950" y="107"/>
                </a:lnTo>
                <a:lnTo>
                  <a:pt x="933" y="135"/>
                </a:lnTo>
                <a:lnTo>
                  <a:pt x="933" y="135"/>
                </a:lnTo>
                <a:lnTo>
                  <a:pt x="933" y="136"/>
                </a:lnTo>
                <a:lnTo>
                  <a:pt x="933" y="137"/>
                </a:lnTo>
                <a:lnTo>
                  <a:pt x="935" y="138"/>
                </a:lnTo>
                <a:lnTo>
                  <a:pt x="937" y="139"/>
                </a:lnTo>
                <a:lnTo>
                  <a:pt x="945" y="141"/>
                </a:lnTo>
                <a:lnTo>
                  <a:pt x="952" y="145"/>
                </a:lnTo>
                <a:lnTo>
                  <a:pt x="953" y="145"/>
                </a:lnTo>
                <a:lnTo>
                  <a:pt x="954" y="145"/>
                </a:lnTo>
                <a:lnTo>
                  <a:pt x="958" y="145"/>
                </a:lnTo>
                <a:lnTo>
                  <a:pt x="959" y="145"/>
                </a:lnTo>
                <a:lnTo>
                  <a:pt x="976" y="153"/>
                </a:lnTo>
                <a:lnTo>
                  <a:pt x="986" y="156"/>
                </a:lnTo>
                <a:lnTo>
                  <a:pt x="989" y="158"/>
                </a:lnTo>
                <a:lnTo>
                  <a:pt x="991" y="158"/>
                </a:lnTo>
                <a:lnTo>
                  <a:pt x="994" y="159"/>
                </a:lnTo>
                <a:lnTo>
                  <a:pt x="1004" y="165"/>
                </a:lnTo>
                <a:lnTo>
                  <a:pt x="1007" y="168"/>
                </a:lnTo>
                <a:lnTo>
                  <a:pt x="1010" y="172"/>
                </a:lnTo>
                <a:lnTo>
                  <a:pt x="1012" y="177"/>
                </a:lnTo>
                <a:lnTo>
                  <a:pt x="1013" y="185"/>
                </a:lnTo>
                <a:lnTo>
                  <a:pt x="1013" y="187"/>
                </a:lnTo>
                <a:lnTo>
                  <a:pt x="1014" y="188"/>
                </a:lnTo>
                <a:lnTo>
                  <a:pt x="1017" y="190"/>
                </a:lnTo>
                <a:lnTo>
                  <a:pt x="1025" y="193"/>
                </a:lnTo>
                <a:lnTo>
                  <a:pt x="1017" y="208"/>
                </a:lnTo>
                <a:lnTo>
                  <a:pt x="1008" y="214"/>
                </a:lnTo>
                <a:lnTo>
                  <a:pt x="961" y="238"/>
                </a:lnTo>
                <a:lnTo>
                  <a:pt x="937" y="246"/>
                </a:lnTo>
                <a:lnTo>
                  <a:pt x="933" y="251"/>
                </a:lnTo>
                <a:lnTo>
                  <a:pt x="929" y="257"/>
                </a:lnTo>
                <a:lnTo>
                  <a:pt x="928" y="275"/>
                </a:lnTo>
                <a:lnTo>
                  <a:pt x="926" y="282"/>
                </a:lnTo>
                <a:lnTo>
                  <a:pt x="923" y="285"/>
                </a:lnTo>
                <a:lnTo>
                  <a:pt x="919" y="286"/>
                </a:lnTo>
                <a:lnTo>
                  <a:pt x="915" y="291"/>
                </a:lnTo>
                <a:lnTo>
                  <a:pt x="908" y="303"/>
                </a:lnTo>
                <a:lnTo>
                  <a:pt x="904" y="306"/>
                </a:lnTo>
                <a:lnTo>
                  <a:pt x="898" y="306"/>
                </a:lnTo>
                <a:lnTo>
                  <a:pt x="884" y="302"/>
                </a:lnTo>
                <a:lnTo>
                  <a:pt x="877" y="302"/>
                </a:lnTo>
                <a:lnTo>
                  <a:pt x="875" y="304"/>
                </a:lnTo>
                <a:lnTo>
                  <a:pt x="873" y="308"/>
                </a:lnTo>
                <a:lnTo>
                  <a:pt x="871" y="316"/>
                </a:lnTo>
                <a:lnTo>
                  <a:pt x="863" y="329"/>
                </a:lnTo>
                <a:lnTo>
                  <a:pt x="858" y="334"/>
                </a:lnTo>
                <a:lnTo>
                  <a:pt x="849" y="337"/>
                </a:lnTo>
                <a:lnTo>
                  <a:pt x="845" y="338"/>
                </a:lnTo>
                <a:lnTo>
                  <a:pt x="841" y="336"/>
                </a:lnTo>
                <a:lnTo>
                  <a:pt x="833" y="330"/>
                </a:lnTo>
                <a:lnTo>
                  <a:pt x="829" y="328"/>
                </a:lnTo>
                <a:lnTo>
                  <a:pt x="823" y="328"/>
                </a:lnTo>
                <a:lnTo>
                  <a:pt x="807" y="333"/>
                </a:lnTo>
                <a:lnTo>
                  <a:pt x="802" y="334"/>
                </a:lnTo>
                <a:lnTo>
                  <a:pt x="794" y="335"/>
                </a:lnTo>
                <a:lnTo>
                  <a:pt x="791" y="341"/>
                </a:lnTo>
                <a:lnTo>
                  <a:pt x="789" y="345"/>
                </a:lnTo>
                <a:lnTo>
                  <a:pt x="790" y="353"/>
                </a:lnTo>
                <a:lnTo>
                  <a:pt x="787" y="413"/>
                </a:lnTo>
                <a:lnTo>
                  <a:pt x="783" y="428"/>
                </a:lnTo>
                <a:lnTo>
                  <a:pt x="774" y="445"/>
                </a:lnTo>
                <a:lnTo>
                  <a:pt x="756" y="470"/>
                </a:lnTo>
                <a:lnTo>
                  <a:pt x="748" y="483"/>
                </a:lnTo>
                <a:lnTo>
                  <a:pt x="745" y="492"/>
                </a:lnTo>
                <a:lnTo>
                  <a:pt x="755" y="511"/>
                </a:lnTo>
                <a:lnTo>
                  <a:pt x="754" y="517"/>
                </a:lnTo>
                <a:lnTo>
                  <a:pt x="751" y="526"/>
                </a:lnTo>
                <a:lnTo>
                  <a:pt x="742" y="540"/>
                </a:lnTo>
                <a:lnTo>
                  <a:pt x="740" y="548"/>
                </a:lnTo>
                <a:lnTo>
                  <a:pt x="738" y="554"/>
                </a:lnTo>
                <a:lnTo>
                  <a:pt x="739" y="562"/>
                </a:lnTo>
                <a:lnTo>
                  <a:pt x="738" y="570"/>
                </a:lnTo>
                <a:lnTo>
                  <a:pt x="731" y="583"/>
                </a:lnTo>
                <a:lnTo>
                  <a:pt x="724" y="594"/>
                </a:lnTo>
                <a:lnTo>
                  <a:pt x="712" y="606"/>
                </a:lnTo>
                <a:lnTo>
                  <a:pt x="705" y="615"/>
                </a:lnTo>
                <a:lnTo>
                  <a:pt x="701" y="625"/>
                </a:lnTo>
                <a:lnTo>
                  <a:pt x="699" y="642"/>
                </a:lnTo>
                <a:lnTo>
                  <a:pt x="696" y="652"/>
                </a:lnTo>
                <a:lnTo>
                  <a:pt x="692" y="657"/>
                </a:lnTo>
                <a:lnTo>
                  <a:pt x="687" y="660"/>
                </a:lnTo>
                <a:lnTo>
                  <a:pt x="669" y="664"/>
                </a:lnTo>
                <a:lnTo>
                  <a:pt x="662" y="666"/>
                </a:lnTo>
                <a:lnTo>
                  <a:pt x="648" y="672"/>
                </a:lnTo>
                <a:lnTo>
                  <a:pt x="603" y="627"/>
                </a:lnTo>
                <a:lnTo>
                  <a:pt x="585" y="619"/>
                </a:lnTo>
                <a:lnTo>
                  <a:pt x="576" y="620"/>
                </a:lnTo>
                <a:lnTo>
                  <a:pt x="560" y="618"/>
                </a:lnTo>
                <a:lnTo>
                  <a:pt x="550" y="617"/>
                </a:lnTo>
                <a:lnTo>
                  <a:pt x="544" y="618"/>
                </a:lnTo>
                <a:lnTo>
                  <a:pt x="526" y="628"/>
                </a:lnTo>
                <a:lnTo>
                  <a:pt x="518" y="631"/>
                </a:lnTo>
                <a:lnTo>
                  <a:pt x="514" y="629"/>
                </a:lnTo>
                <a:lnTo>
                  <a:pt x="511" y="625"/>
                </a:lnTo>
                <a:lnTo>
                  <a:pt x="506" y="620"/>
                </a:lnTo>
                <a:lnTo>
                  <a:pt x="499" y="620"/>
                </a:lnTo>
                <a:lnTo>
                  <a:pt x="492" y="625"/>
                </a:lnTo>
                <a:lnTo>
                  <a:pt x="484" y="630"/>
                </a:lnTo>
                <a:lnTo>
                  <a:pt x="480" y="633"/>
                </a:lnTo>
                <a:lnTo>
                  <a:pt x="474" y="635"/>
                </a:lnTo>
                <a:lnTo>
                  <a:pt x="470" y="636"/>
                </a:lnTo>
                <a:lnTo>
                  <a:pt x="464" y="640"/>
                </a:lnTo>
                <a:lnTo>
                  <a:pt x="446" y="652"/>
                </a:lnTo>
                <a:lnTo>
                  <a:pt x="440" y="654"/>
                </a:lnTo>
                <a:lnTo>
                  <a:pt x="435" y="652"/>
                </a:lnTo>
                <a:lnTo>
                  <a:pt x="431" y="645"/>
                </a:lnTo>
                <a:lnTo>
                  <a:pt x="428" y="639"/>
                </a:lnTo>
                <a:lnTo>
                  <a:pt x="427" y="628"/>
                </a:lnTo>
                <a:lnTo>
                  <a:pt x="421" y="614"/>
                </a:lnTo>
                <a:lnTo>
                  <a:pt x="409" y="597"/>
                </a:lnTo>
                <a:lnTo>
                  <a:pt x="367" y="567"/>
                </a:lnTo>
                <a:lnTo>
                  <a:pt x="357" y="560"/>
                </a:lnTo>
                <a:lnTo>
                  <a:pt x="355" y="552"/>
                </a:lnTo>
                <a:lnTo>
                  <a:pt x="351" y="536"/>
                </a:lnTo>
                <a:lnTo>
                  <a:pt x="349" y="530"/>
                </a:lnTo>
                <a:lnTo>
                  <a:pt x="341" y="518"/>
                </a:lnTo>
                <a:lnTo>
                  <a:pt x="331" y="499"/>
                </a:lnTo>
                <a:lnTo>
                  <a:pt x="306" y="466"/>
                </a:lnTo>
                <a:lnTo>
                  <a:pt x="304" y="462"/>
                </a:lnTo>
                <a:lnTo>
                  <a:pt x="304" y="454"/>
                </a:lnTo>
                <a:lnTo>
                  <a:pt x="302" y="450"/>
                </a:lnTo>
                <a:lnTo>
                  <a:pt x="297" y="446"/>
                </a:lnTo>
                <a:lnTo>
                  <a:pt x="316" y="413"/>
                </a:lnTo>
                <a:lnTo>
                  <a:pt x="402" y="406"/>
                </a:lnTo>
                <a:lnTo>
                  <a:pt x="414" y="358"/>
                </a:lnTo>
                <a:lnTo>
                  <a:pt x="380" y="320"/>
                </a:lnTo>
                <a:lnTo>
                  <a:pt x="316" y="286"/>
                </a:lnTo>
                <a:lnTo>
                  <a:pt x="296" y="265"/>
                </a:lnTo>
                <a:lnTo>
                  <a:pt x="176" y="269"/>
                </a:lnTo>
                <a:lnTo>
                  <a:pt x="172" y="214"/>
                </a:lnTo>
                <a:lnTo>
                  <a:pt x="37" y="210"/>
                </a:lnTo>
                <a:lnTo>
                  <a:pt x="0" y="184"/>
                </a:lnTo>
                <a:lnTo>
                  <a:pt x="13" y="150"/>
                </a:lnTo>
                <a:lnTo>
                  <a:pt x="22" y="135"/>
                </a:lnTo>
                <a:lnTo>
                  <a:pt x="30" y="114"/>
                </a:lnTo>
                <a:lnTo>
                  <a:pt x="39" y="102"/>
                </a:lnTo>
                <a:lnTo>
                  <a:pt x="40" y="98"/>
                </a:lnTo>
                <a:lnTo>
                  <a:pt x="40" y="95"/>
                </a:lnTo>
                <a:lnTo>
                  <a:pt x="38" y="90"/>
                </a:lnTo>
                <a:lnTo>
                  <a:pt x="33" y="85"/>
                </a:lnTo>
                <a:lnTo>
                  <a:pt x="27" y="80"/>
                </a:lnTo>
                <a:lnTo>
                  <a:pt x="10" y="68"/>
                </a:lnTo>
                <a:lnTo>
                  <a:pt x="9" y="64"/>
                </a:lnTo>
                <a:lnTo>
                  <a:pt x="7" y="59"/>
                </a:lnTo>
                <a:lnTo>
                  <a:pt x="12" y="55"/>
                </a:lnTo>
                <a:lnTo>
                  <a:pt x="18" y="50"/>
                </a:lnTo>
                <a:lnTo>
                  <a:pt x="31" y="44"/>
                </a:lnTo>
                <a:lnTo>
                  <a:pt x="41" y="38"/>
                </a:lnTo>
                <a:lnTo>
                  <a:pt x="55" y="26"/>
                </a:lnTo>
                <a:lnTo>
                  <a:pt x="61" y="23"/>
                </a:lnTo>
                <a:lnTo>
                  <a:pt x="69" y="19"/>
                </a:lnTo>
                <a:lnTo>
                  <a:pt x="76" y="16"/>
                </a:lnTo>
                <a:lnTo>
                  <a:pt x="95" y="3"/>
                </a:lnTo>
                <a:lnTo>
                  <a:pt x="103" y="2"/>
                </a:lnTo>
                <a:lnTo>
                  <a:pt x="113" y="0"/>
                </a:lnTo>
                <a:lnTo>
                  <a:pt x="129" y="3"/>
                </a:lnTo>
                <a:close/>
              </a:path>
            </a:pathLst>
          </a:custGeom>
          <a:solidFill>
            <a:srgbClr val="004B8E"/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8CFBA8D1-0218-6ED1-6262-FCF2879B3F07}"/>
              </a:ext>
            </a:extLst>
          </p:cNvPr>
          <p:cNvSpPr>
            <a:spLocks/>
          </p:cNvSpPr>
          <p:nvPr/>
        </p:nvSpPr>
        <p:spPr bwMode="auto">
          <a:xfrm>
            <a:off x="6826044" y="2658742"/>
            <a:ext cx="2699231" cy="1544930"/>
          </a:xfrm>
          <a:custGeom>
            <a:avLst/>
            <a:gdLst>
              <a:gd name="T0" fmla="*/ 896 w 1736"/>
              <a:gd name="T1" fmla="*/ 71 h 1050"/>
              <a:gd name="T2" fmla="*/ 940 w 1736"/>
              <a:gd name="T3" fmla="*/ 60 h 1050"/>
              <a:gd name="T4" fmla="*/ 1003 w 1736"/>
              <a:gd name="T5" fmla="*/ 46 h 1050"/>
              <a:gd name="T6" fmla="*/ 1040 w 1736"/>
              <a:gd name="T7" fmla="*/ 29 h 1050"/>
              <a:gd name="T8" fmla="*/ 1107 w 1736"/>
              <a:gd name="T9" fmla="*/ 41 h 1050"/>
              <a:gd name="T10" fmla="*/ 1113 w 1736"/>
              <a:gd name="T11" fmla="*/ 119 h 1050"/>
              <a:gd name="T12" fmla="*/ 1136 w 1736"/>
              <a:gd name="T13" fmla="*/ 146 h 1050"/>
              <a:gd name="T14" fmla="*/ 1153 w 1736"/>
              <a:gd name="T15" fmla="*/ 158 h 1050"/>
              <a:gd name="T16" fmla="*/ 1165 w 1736"/>
              <a:gd name="T17" fmla="*/ 166 h 1050"/>
              <a:gd name="T18" fmla="*/ 1195 w 1736"/>
              <a:gd name="T19" fmla="*/ 166 h 1050"/>
              <a:gd name="T20" fmla="*/ 1217 w 1736"/>
              <a:gd name="T21" fmla="*/ 176 h 1050"/>
              <a:gd name="T22" fmla="*/ 1245 w 1736"/>
              <a:gd name="T23" fmla="*/ 191 h 1050"/>
              <a:gd name="T24" fmla="*/ 1268 w 1736"/>
              <a:gd name="T25" fmla="*/ 199 h 1050"/>
              <a:gd name="T26" fmla="*/ 1281 w 1736"/>
              <a:gd name="T27" fmla="*/ 189 h 1050"/>
              <a:gd name="T28" fmla="*/ 1295 w 1736"/>
              <a:gd name="T29" fmla="*/ 185 h 1050"/>
              <a:gd name="T30" fmla="*/ 1313 w 1736"/>
              <a:gd name="T31" fmla="*/ 183 h 1050"/>
              <a:gd name="T32" fmla="*/ 1344 w 1736"/>
              <a:gd name="T33" fmla="*/ 189 h 1050"/>
              <a:gd name="T34" fmla="*/ 1364 w 1736"/>
              <a:gd name="T35" fmla="*/ 178 h 1050"/>
              <a:gd name="T36" fmla="*/ 1373 w 1736"/>
              <a:gd name="T37" fmla="*/ 179 h 1050"/>
              <a:gd name="T38" fmla="*/ 1406 w 1736"/>
              <a:gd name="T39" fmla="*/ 181 h 1050"/>
              <a:gd name="T40" fmla="*/ 1416 w 1736"/>
              <a:gd name="T41" fmla="*/ 190 h 1050"/>
              <a:gd name="T42" fmla="*/ 1428 w 1736"/>
              <a:gd name="T43" fmla="*/ 193 h 1050"/>
              <a:gd name="T44" fmla="*/ 1463 w 1736"/>
              <a:gd name="T45" fmla="*/ 212 h 1050"/>
              <a:gd name="T46" fmla="*/ 1512 w 1736"/>
              <a:gd name="T47" fmla="*/ 225 h 1050"/>
              <a:gd name="T48" fmla="*/ 1525 w 1736"/>
              <a:gd name="T49" fmla="*/ 215 h 1050"/>
              <a:gd name="T50" fmla="*/ 1534 w 1736"/>
              <a:gd name="T51" fmla="*/ 219 h 1050"/>
              <a:gd name="T52" fmla="*/ 1566 w 1736"/>
              <a:gd name="T53" fmla="*/ 247 h 1050"/>
              <a:gd name="T54" fmla="*/ 1585 w 1736"/>
              <a:gd name="T55" fmla="*/ 253 h 1050"/>
              <a:gd name="T56" fmla="*/ 1621 w 1736"/>
              <a:gd name="T57" fmla="*/ 262 h 1050"/>
              <a:gd name="T58" fmla="*/ 1642 w 1736"/>
              <a:gd name="T59" fmla="*/ 296 h 1050"/>
              <a:gd name="T60" fmla="*/ 1657 w 1736"/>
              <a:gd name="T61" fmla="*/ 296 h 1050"/>
              <a:gd name="T62" fmla="*/ 1696 w 1736"/>
              <a:gd name="T63" fmla="*/ 314 h 1050"/>
              <a:gd name="T64" fmla="*/ 1725 w 1736"/>
              <a:gd name="T65" fmla="*/ 332 h 1050"/>
              <a:gd name="T66" fmla="*/ 1661 w 1736"/>
              <a:gd name="T67" fmla="*/ 438 h 1050"/>
              <a:gd name="T68" fmla="*/ 1461 w 1736"/>
              <a:gd name="T69" fmla="*/ 671 h 1050"/>
              <a:gd name="T70" fmla="*/ 1234 w 1736"/>
              <a:gd name="T71" fmla="*/ 871 h 1050"/>
              <a:gd name="T72" fmla="*/ 1007 w 1736"/>
              <a:gd name="T73" fmla="*/ 1041 h 1050"/>
              <a:gd name="T74" fmla="*/ 918 w 1736"/>
              <a:gd name="T75" fmla="*/ 1031 h 1050"/>
              <a:gd name="T76" fmla="*/ 813 w 1736"/>
              <a:gd name="T77" fmla="*/ 1016 h 1050"/>
              <a:gd name="T78" fmla="*/ 758 w 1736"/>
              <a:gd name="T79" fmla="*/ 946 h 1050"/>
              <a:gd name="T80" fmla="*/ 694 w 1736"/>
              <a:gd name="T81" fmla="*/ 869 h 1050"/>
              <a:gd name="T82" fmla="*/ 301 w 1736"/>
              <a:gd name="T83" fmla="*/ 670 h 1050"/>
              <a:gd name="T84" fmla="*/ 242 w 1736"/>
              <a:gd name="T85" fmla="*/ 619 h 1050"/>
              <a:gd name="T86" fmla="*/ 207 w 1736"/>
              <a:gd name="T87" fmla="*/ 548 h 1050"/>
              <a:gd name="T88" fmla="*/ 174 w 1736"/>
              <a:gd name="T89" fmla="*/ 440 h 1050"/>
              <a:gd name="T90" fmla="*/ 96 w 1736"/>
              <a:gd name="T91" fmla="*/ 417 h 1050"/>
              <a:gd name="T92" fmla="*/ 29 w 1736"/>
              <a:gd name="T93" fmla="*/ 298 h 1050"/>
              <a:gd name="T94" fmla="*/ 38 w 1736"/>
              <a:gd name="T95" fmla="*/ 150 h 1050"/>
              <a:gd name="T96" fmla="*/ 172 w 1736"/>
              <a:gd name="T97" fmla="*/ 147 h 1050"/>
              <a:gd name="T98" fmla="*/ 198 w 1736"/>
              <a:gd name="T99" fmla="*/ 136 h 1050"/>
              <a:gd name="T100" fmla="*/ 271 w 1736"/>
              <a:gd name="T101" fmla="*/ 116 h 1050"/>
              <a:gd name="T102" fmla="*/ 330 w 1736"/>
              <a:gd name="T103" fmla="*/ 93 h 1050"/>
              <a:gd name="T104" fmla="*/ 378 w 1736"/>
              <a:gd name="T105" fmla="*/ 89 h 1050"/>
              <a:gd name="T106" fmla="*/ 517 w 1736"/>
              <a:gd name="T107" fmla="*/ 49 h 1050"/>
              <a:gd name="T108" fmla="*/ 639 w 1736"/>
              <a:gd name="T109" fmla="*/ 8 h 1050"/>
              <a:gd name="T110" fmla="*/ 743 w 1736"/>
              <a:gd name="T111" fmla="*/ 49 h 1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36" h="1050">
                <a:moveTo>
                  <a:pt x="875" y="99"/>
                </a:moveTo>
                <a:lnTo>
                  <a:pt x="886" y="98"/>
                </a:lnTo>
                <a:lnTo>
                  <a:pt x="891" y="92"/>
                </a:lnTo>
                <a:lnTo>
                  <a:pt x="892" y="86"/>
                </a:lnTo>
                <a:lnTo>
                  <a:pt x="894" y="78"/>
                </a:lnTo>
                <a:lnTo>
                  <a:pt x="896" y="71"/>
                </a:lnTo>
                <a:lnTo>
                  <a:pt x="899" y="65"/>
                </a:lnTo>
                <a:lnTo>
                  <a:pt x="912" y="53"/>
                </a:lnTo>
                <a:lnTo>
                  <a:pt x="917" y="52"/>
                </a:lnTo>
                <a:lnTo>
                  <a:pt x="922" y="53"/>
                </a:lnTo>
                <a:lnTo>
                  <a:pt x="930" y="58"/>
                </a:lnTo>
                <a:lnTo>
                  <a:pt x="940" y="60"/>
                </a:lnTo>
                <a:lnTo>
                  <a:pt x="946" y="59"/>
                </a:lnTo>
                <a:lnTo>
                  <a:pt x="955" y="53"/>
                </a:lnTo>
                <a:lnTo>
                  <a:pt x="960" y="52"/>
                </a:lnTo>
                <a:lnTo>
                  <a:pt x="976" y="52"/>
                </a:lnTo>
                <a:lnTo>
                  <a:pt x="989" y="50"/>
                </a:lnTo>
                <a:lnTo>
                  <a:pt x="1003" y="46"/>
                </a:lnTo>
                <a:lnTo>
                  <a:pt x="1010" y="45"/>
                </a:lnTo>
                <a:lnTo>
                  <a:pt x="1015" y="43"/>
                </a:lnTo>
                <a:lnTo>
                  <a:pt x="1020" y="40"/>
                </a:lnTo>
                <a:lnTo>
                  <a:pt x="1024" y="33"/>
                </a:lnTo>
                <a:lnTo>
                  <a:pt x="1027" y="32"/>
                </a:lnTo>
                <a:lnTo>
                  <a:pt x="1040" y="29"/>
                </a:lnTo>
                <a:lnTo>
                  <a:pt x="1057" y="24"/>
                </a:lnTo>
                <a:lnTo>
                  <a:pt x="1066" y="23"/>
                </a:lnTo>
                <a:lnTo>
                  <a:pt x="1078" y="24"/>
                </a:lnTo>
                <a:lnTo>
                  <a:pt x="1090" y="27"/>
                </a:lnTo>
                <a:lnTo>
                  <a:pt x="1099" y="32"/>
                </a:lnTo>
                <a:lnTo>
                  <a:pt x="1107" y="41"/>
                </a:lnTo>
                <a:lnTo>
                  <a:pt x="1111" y="50"/>
                </a:lnTo>
                <a:lnTo>
                  <a:pt x="1110" y="60"/>
                </a:lnTo>
                <a:lnTo>
                  <a:pt x="1107" y="68"/>
                </a:lnTo>
                <a:lnTo>
                  <a:pt x="1107" y="94"/>
                </a:lnTo>
                <a:lnTo>
                  <a:pt x="1110" y="108"/>
                </a:lnTo>
                <a:lnTo>
                  <a:pt x="1113" y="119"/>
                </a:lnTo>
                <a:lnTo>
                  <a:pt x="1118" y="126"/>
                </a:lnTo>
                <a:lnTo>
                  <a:pt x="1122" y="131"/>
                </a:lnTo>
                <a:lnTo>
                  <a:pt x="1125" y="136"/>
                </a:lnTo>
                <a:lnTo>
                  <a:pt x="1131" y="140"/>
                </a:lnTo>
                <a:lnTo>
                  <a:pt x="1135" y="143"/>
                </a:lnTo>
                <a:lnTo>
                  <a:pt x="1136" y="146"/>
                </a:lnTo>
                <a:lnTo>
                  <a:pt x="1137" y="151"/>
                </a:lnTo>
                <a:lnTo>
                  <a:pt x="1137" y="154"/>
                </a:lnTo>
                <a:lnTo>
                  <a:pt x="1141" y="159"/>
                </a:lnTo>
                <a:lnTo>
                  <a:pt x="1144" y="162"/>
                </a:lnTo>
                <a:lnTo>
                  <a:pt x="1150" y="160"/>
                </a:lnTo>
                <a:lnTo>
                  <a:pt x="1153" y="158"/>
                </a:lnTo>
                <a:lnTo>
                  <a:pt x="1155" y="158"/>
                </a:lnTo>
                <a:lnTo>
                  <a:pt x="1155" y="160"/>
                </a:lnTo>
                <a:lnTo>
                  <a:pt x="1155" y="163"/>
                </a:lnTo>
                <a:lnTo>
                  <a:pt x="1155" y="165"/>
                </a:lnTo>
                <a:lnTo>
                  <a:pt x="1157" y="167"/>
                </a:lnTo>
                <a:lnTo>
                  <a:pt x="1165" y="166"/>
                </a:lnTo>
                <a:lnTo>
                  <a:pt x="1171" y="167"/>
                </a:lnTo>
                <a:lnTo>
                  <a:pt x="1179" y="166"/>
                </a:lnTo>
                <a:lnTo>
                  <a:pt x="1183" y="164"/>
                </a:lnTo>
                <a:lnTo>
                  <a:pt x="1188" y="163"/>
                </a:lnTo>
                <a:lnTo>
                  <a:pt x="1192" y="163"/>
                </a:lnTo>
                <a:lnTo>
                  <a:pt x="1195" y="166"/>
                </a:lnTo>
                <a:lnTo>
                  <a:pt x="1201" y="168"/>
                </a:lnTo>
                <a:lnTo>
                  <a:pt x="1205" y="169"/>
                </a:lnTo>
                <a:lnTo>
                  <a:pt x="1209" y="168"/>
                </a:lnTo>
                <a:lnTo>
                  <a:pt x="1213" y="169"/>
                </a:lnTo>
                <a:lnTo>
                  <a:pt x="1214" y="171"/>
                </a:lnTo>
                <a:lnTo>
                  <a:pt x="1217" y="176"/>
                </a:lnTo>
                <a:lnTo>
                  <a:pt x="1217" y="178"/>
                </a:lnTo>
                <a:lnTo>
                  <a:pt x="1216" y="180"/>
                </a:lnTo>
                <a:lnTo>
                  <a:pt x="1215" y="182"/>
                </a:lnTo>
                <a:lnTo>
                  <a:pt x="1219" y="184"/>
                </a:lnTo>
                <a:lnTo>
                  <a:pt x="1229" y="186"/>
                </a:lnTo>
                <a:lnTo>
                  <a:pt x="1245" y="191"/>
                </a:lnTo>
                <a:lnTo>
                  <a:pt x="1256" y="192"/>
                </a:lnTo>
                <a:lnTo>
                  <a:pt x="1261" y="194"/>
                </a:lnTo>
                <a:lnTo>
                  <a:pt x="1263" y="196"/>
                </a:lnTo>
                <a:lnTo>
                  <a:pt x="1263" y="201"/>
                </a:lnTo>
                <a:lnTo>
                  <a:pt x="1265" y="202"/>
                </a:lnTo>
                <a:lnTo>
                  <a:pt x="1268" y="199"/>
                </a:lnTo>
                <a:lnTo>
                  <a:pt x="1269" y="197"/>
                </a:lnTo>
                <a:lnTo>
                  <a:pt x="1271" y="194"/>
                </a:lnTo>
                <a:lnTo>
                  <a:pt x="1275" y="192"/>
                </a:lnTo>
                <a:lnTo>
                  <a:pt x="1278" y="190"/>
                </a:lnTo>
                <a:lnTo>
                  <a:pt x="1279" y="190"/>
                </a:lnTo>
                <a:lnTo>
                  <a:pt x="1281" y="189"/>
                </a:lnTo>
                <a:lnTo>
                  <a:pt x="1284" y="190"/>
                </a:lnTo>
                <a:lnTo>
                  <a:pt x="1286" y="188"/>
                </a:lnTo>
                <a:lnTo>
                  <a:pt x="1288" y="184"/>
                </a:lnTo>
                <a:lnTo>
                  <a:pt x="1291" y="182"/>
                </a:lnTo>
                <a:lnTo>
                  <a:pt x="1293" y="182"/>
                </a:lnTo>
                <a:lnTo>
                  <a:pt x="1295" y="185"/>
                </a:lnTo>
                <a:lnTo>
                  <a:pt x="1296" y="188"/>
                </a:lnTo>
                <a:lnTo>
                  <a:pt x="1299" y="189"/>
                </a:lnTo>
                <a:lnTo>
                  <a:pt x="1302" y="186"/>
                </a:lnTo>
                <a:lnTo>
                  <a:pt x="1306" y="184"/>
                </a:lnTo>
                <a:lnTo>
                  <a:pt x="1310" y="183"/>
                </a:lnTo>
                <a:lnTo>
                  <a:pt x="1313" y="183"/>
                </a:lnTo>
                <a:lnTo>
                  <a:pt x="1319" y="186"/>
                </a:lnTo>
                <a:lnTo>
                  <a:pt x="1331" y="185"/>
                </a:lnTo>
                <a:lnTo>
                  <a:pt x="1334" y="184"/>
                </a:lnTo>
                <a:lnTo>
                  <a:pt x="1337" y="188"/>
                </a:lnTo>
                <a:lnTo>
                  <a:pt x="1339" y="189"/>
                </a:lnTo>
                <a:lnTo>
                  <a:pt x="1344" y="189"/>
                </a:lnTo>
                <a:lnTo>
                  <a:pt x="1347" y="189"/>
                </a:lnTo>
                <a:lnTo>
                  <a:pt x="1351" y="190"/>
                </a:lnTo>
                <a:lnTo>
                  <a:pt x="1353" y="189"/>
                </a:lnTo>
                <a:lnTo>
                  <a:pt x="1356" y="186"/>
                </a:lnTo>
                <a:lnTo>
                  <a:pt x="1358" y="184"/>
                </a:lnTo>
                <a:lnTo>
                  <a:pt x="1364" y="178"/>
                </a:lnTo>
                <a:lnTo>
                  <a:pt x="1366" y="176"/>
                </a:lnTo>
                <a:lnTo>
                  <a:pt x="1369" y="176"/>
                </a:lnTo>
                <a:lnTo>
                  <a:pt x="1370" y="177"/>
                </a:lnTo>
                <a:lnTo>
                  <a:pt x="1371" y="179"/>
                </a:lnTo>
                <a:lnTo>
                  <a:pt x="1372" y="180"/>
                </a:lnTo>
                <a:lnTo>
                  <a:pt x="1373" y="179"/>
                </a:lnTo>
                <a:lnTo>
                  <a:pt x="1374" y="177"/>
                </a:lnTo>
                <a:lnTo>
                  <a:pt x="1377" y="176"/>
                </a:lnTo>
                <a:lnTo>
                  <a:pt x="1384" y="176"/>
                </a:lnTo>
                <a:lnTo>
                  <a:pt x="1396" y="182"/>
                </a:lnTo>
                <a:lnTo>
                  <a:pt x="1403" y="182"/>
                </a:lnTo>
                <a:lnTo>
                  <a:pt x="1406" y="181"/>
                </a:lnTo>
                <a:lnTo>
                  <a:pt x="1409" y="179"/>
                </a:lnTo>
                <a:lnTo>
                  <a:pt x="1411" y="177"/>
                </a:lnTo>
                <a:lnTo>
                  <a:pt x="1413" y="178"/>
                </a:lnTo>
                <a:lnTo>
                  <a:pt x="1415" y="182"/>
                </a:lnTo>
                <a:lnTo>
                  <a:pt x="1416" y="185"/>
                </a:lnTo>
                <a:lnTo>
                  <a:pt x="1416" y="190"/>
                </a:lnTo>
                <a:lnTo>
                  <a:pt x="1416" y="193"/>
                </a:lnTo>
                <a:lnTo>
                  <a:pt x="1417" y="195"/>
                </a:lnTo>
                <a:lnTo>
                  <a:pt x="1421" y="194"/>
                </a:lnTo>
                <a:lnTo>
                  <a:pt x="1422" y="192"/>
                </a:lnTo>
                <a:lnTo>
                  <a:pt x="1425" y="192"/>
                </a:lnTo>
                <a:lnTo>
                  <a:pt x="1428" y="193"/>
                </a:lnTo>
                <a:lnTo>
                  <a:pt x="1436" y="197"/>
                </a:lnTo>
                <a:lnTo>
                  <a:pt x="1444" y="198"/>
                </a:lnTo>
                <a:lnTo>
                  <a:pt x="1452" y="201"/>
                </a:lnTo>
                <a:lnTo>
                  <a:pt x="1457" y="206"/>
                </a:lnTo>
                <a:lnTo>
                  <a:pt x="1461" y="210"/>
                </a:lnTo>
                <a:lnTo>
                  <a:pt x="1463" y="212"/>
                </a:lnTo>
                <a:lnTo>
                  <a:pt x="1471" y="212"/>
                </a:lnTo>
                <a:lnTo>
                  <a:pt x="1475" y="215"/>
                </a:lnTo>
                <a:lnTo>
                  <a:pt x="1480" y="219"/>
                </a:lnTo>
                <a:lnTo>
                  <a:pt x="1489" y="223"/>
                </a:lnTo>
                <a:lnTo>
                  <a:pt x="1500" y="225"/>
                </a:lnTo>
                <a:lnTo>
                  <a:pt x="1512" y="225"/>
                </a:lnTo>
                <a:lnTo>
                  <a:pt x="1518" y="227"/>
                </a:lnTo>
                <a:lnTo>
                  <a:pt x="1522" y="225"/>
                </a:lnTo>
                <a:lnTo>
                  <a:pt x="1525" y="224"/>
                </a:lnTo>
                <a:lnTo>
                  <a:pt x="1526" y="221"/>
                </a:lnTo>
                <a:lnTo>
                  <a:pt x="1525" y="218"/>
                </a:lnTo>
                <a:lnTo>
                  <a:pt x="1525" y="215"/>
                </a:lnTo>
                <a:lnTo>
                  <a:pt x="1527" y="214"/>
                </a:lnTo>
                <a:lnTo>
                  <a:pt x="1531" y="214"/>
                </a:lnTo>
                <a:lnTo>
                  <a:pt x="1534" y="212"/>
                </a:lnTo>
                <a:lnTo>
                  <a:pt x="1536" y="212"/>
                </a:lnTo>
                <a:lnTo>
                  <a:pt x="1536" y="216"/>
                </a:lnTo>
                <a:lnTo>
                  <a:pt x="1534" y="219"/>
                </a:lnTo>
                <a:lnTo>
                  <a:pt x="1535" y="222"/>
                </a:lnTo>
                <a:lnTo>
                  <a:pt x="1539" y="225"/>
                </a:lnTo>
                <a:lnTo>
                  <a:pt x="1555" y="230"/>
                </a:lnTo>
                <a:lnTo>
                  <a:pt x="1559" y="232"/>
                </a:lnTo>
                <a:lnTo>
                  <a:pt x="1565" y="243"/>
                </a:lnTo>
                <a:lnTo>
                  <a:pt x="1566" y="247"/>
                </a:lnTo>
                <a:lnTo>
                  <a:pt x="1566" y="249"/>
                </a:lnTo>
                <a:lnTo>
                  <a:pt x="1567" y="250"/>
                </a:lnTo>
                <a:lnTo>
                  <a:pt x="1571" y="249"/>
                </a:lnTo>
                <a:lnTo>
                  <a:pt x="1575" y="248"/>
                </a:lnTo>
                <a:lnTo>
                  <a:pt x="1580" y="249"/>
                </a:lnTo>
                <a:lnTo>
                  <a:pt x="1585" y="253"/>
                </a:lnTo>
                <a:lnTo>
                  <a:pt x="1587" y="255"/>
                </a:lnTo>
                <a:lnTo>
                  <a:pt x="1591" y="258"/>
                </a:lnTo>
                <a:lnTo>
                  <a:pt x="1593" y="259"/>
                </a:lnTo>
                <a:lnTo>
                  <a:pt x="1603" y="260"/>
                </a:lnTo>
                <a:lnTo>
                  <a:pt x="1612" y="262"/>
                </a:lnTo>
                <a:lnTo>
                  <a:pt x="1621" y="262"/>
                </a:lnTo>
                <a:lnTo>
                  <a:pt x="1624" y="264"/>
                </a:lnTo>
                <a:lnTo>
                  <a:pt x="1626" y="270"/>
                </a:lnTo>
                <a:lnTo>
                  <a:pt x="1627" y="272"/>
                </a:lnTo>
                <a:lnTo>
                  <a:pt x="1633" y="282"/>
                </a:lnTo>
                <a:lnTo>
                  <a:pt x="1639" y="290"/>
                </a:lnTo>
                <a:lnTo>
                  <a:pt x="1642" y="296"/>
                </a:lnTo>
                <a:lnTo>
                  <a:pt x="1644" y="298"/>
                </a:lnTo>
                <a:lnTo>
                  <a:pt x="1648" y="296"/>
                </a:lnTo>
                <a:lnTo>
                  <a:pt x="1651" y="294"/>
                </a:lnTo>
                <a:lnTo>
                  <a:pt x="1653" y="292"/>
                </a:lnTo>
                <a:lnTo>
                  <a:pt x="1656" y="293"/>
                </a:lnTo>
                <a:lnTo>
                  <a:pt x="1657" y="296"/>
                </a:lnTo>
                <a:lnTo>
                  <a:pt x="1658" y="298"/>
                </a:lnTo>
                <a:lnTo>
                  <a:pt x="1662" y="300"/>
                </a:lnTo>
                <a:lnTo>
                  <a:pt x="1668" y="302"/>
                </a:lnTo>
                <a:lnTo>
                  <a:pt x="1688" y="310"/>
                </a:lnTo>
                <a:lnTo>
                  <a:pt x="1691" y="313"/>
                </a:lnTo>
                <a:lnTo>
                  <a:pt x="1696" y="314"/>
                </a:lnTo>
                <a:lnTo>
                  <a:pt x="1700" y="316"/>
                </a:lnTo>
                <a:lnTo>
                  <a:pt x="1704" y="320"/>
                </a:lnTo>
                <a:lnTo>
                  <a:pt x="1711" y="322"/>
                </a:lnTo>
                <a:lnTo>
                  <a:pt x="1716" y="323"/>
                </a:lnTo>
                <a:lnTo>
                  <a:pt x="1722" y="325"/>
                </a:lnTo>
                <a:lnTo>
                  <a:pt x="1725" y="332"/>
                </a:lnTo>
                <a:lnTo>
                  <a:pt x="1728" y="346"/>
                </a:lnTo>
                <a:lnTo>
                  <a:pt x="1736" y="359"/>
                </a:lnTo>
                <a:lnTo>
                  <a:pt x="1736" y="359"/>
                </a:lnTo>
                <a:lnTo>
                  <a:pt x="1725" y="372"/>
                </a:lnTo>
                <a:lnTo>
                  <a:pt x="1688" y="406"/>
                </a:lnTo>
                <a:lnTo>
                  <a:pt x="1661" y="438"/>
                </a:lnTo>
                <a:lnTo>
                  <a:pt x="1629" y="477"/>
                </a:lnTo>
                <a:lnTo>
                  <a:pt x="1595" y="516"/>
                </a:lnTo>
                <a:lnTo>
                  <a:pt x="1561" y="555"/>
                </a:lnTo>
                <a:lnTo>
                  <a:pt x="1528" y="594"/>
                </a:lnTo>
                <a:lnTo>
                  <a:pt x="1494" y="632"/>
                </a:lnTo>
                <a:lnTo>
                  <a:pt x="1461" y="671"/>
                </a:lnTo>
                <a:lnTo>
                  <a:pt x="1427" y="710"/>
                </a:lnTo>
                <a:lnTo>
                  <a:pt x="1395" y="749"/>
                </a:lnTo>
                <a:lnTo>
                  <a:pt x="1354" y="780"/>
                </a:lnTo>
                <a:lnTo>
                  <a:pt x="1314" y="811"/>
                </a:lnTo>
                <a:lnTo>
                  <a:pt x="1274" y="841"/>
                </a:lnTo>
                <a:lnTo>
                  <a:pt x="1234" y="871"/>
                </a:lnTo>
                <a:lnTo>
                  <a:pt x="1194" y="903"/>
                </a:lnTo>
                <a:lnTo>
                  <a:pt x="1154" y="933"/>
                </a:lnTo>
                <a:lnTo>
                  <a:pt x="1114" y="963"/>
                </a:lnTo>
                <a:lnTo>
                  <a:pt x="1075" y="994"/>
                </a:lnTo>
                <a:lnTo>
                  <a:pt x="1037" y="1023"/>
                </a:lnTo>
                <a:lnTo>
                  <a:pt x="1007" y="1041"/>
                </a:lnTo>
                <a:lnTo>
                  <a:pt x="1007" y="1041"/>
                </a:lnTo>
                <a:lnTo>
                  <a:pt x="997" y="1039"/>
                </a:lnTo>
                <a:lnTo>
                  <a:pt x="984" y="1045"/>
                </a:lnTo>
                <a:lnTo>
                  <a:pt x="969" y="1050"/>
                </a:lnTo>
                <a:lnTo>
                  <a:pt x="941" y="1036"/>
                </a:lnTo>
                <a:lnTo>
                  <a:pt x="918" y="1031"/>
                </a:lnTo>
                <a:lnTo>
                  <a:pt x="909" y="1026"/>
                </a:lnTo>
                <a:lnTo>
                  <a:pt x="898" y="1018"/>
                </a:lnTo>
                <a:lnTo>
                  <a:pt x="891" y="1018"/>
                </a:lnTo>
                <a:lnTo>
                  <a:pt x="870" y="1024"/>
                </a:lnTo>
                <a:lnTo>
                  <a:pt x="840" y="1025"/>
                </a:lnTo>
                <a:lnTo>
                  <a:pt x="813" y="1016"/>
                </a:lnTo>
                <a:lnTo>
                  <a:pt x="790" y="1002"/>
                </a:lnTo>
                <a:lnTo>
                  <a:pt x="774" y="983"/>
                </a:lnTo>
                <a:lnTo>
                  <a:pt x="766" y="960"/>
                </a:lnTo>
                <a:lnTo>
                  <a:pt x="765" y="957"/>
                </a:lnTo>
                <a:lnTo>
                  <a:pt x="763" y="951"/>
                </a:lnTo>
                <a:lnTo>
                  <a:pt x="758" y="946"/>
                </a:lnTo>
                <a:lnTo>
                  <a:pt x="753" y="943"/>
                </a:lnTo>
                <a:lnTo>
                  <a:pt x="747" y="933"/>
                </a:lnTo>
                <a:lnTo>
                  <a:pt x="724" y="905"/>
                </a:lnTo>
                <a:lnTo>
                  <a:pt x="711" y="883"/>
                </a:lnTo>
                <a:lnTo>
                  <a:pt x="703" y="873"/>
                </a:lnTo>
                <a:lnTo>
                  <a:pt x="694" y="869"/>
                </a:lnTo>
                <a:lnTo>
                  <a:pt x="682" y="866"/>
                </a:lnTo>
                <a:lnTo>
                  <a:pt x="528" y="766"/>
                </a:lnTo>
                <a:lnTo>
                  <a:pt x="344" y="688"/>
                </a:lnTo>
                <a:lnTo>
                  <a:pt x="321" y="682"/>
                </a:lnTo>
                <a:lnTo>
                  <a:pt x="310" y="678"/>
                </a:lnTo>
                <a:lnTo>
                  <a:pt x="301" y="670"/>
                </a:lnTo>
                <a:lnTo>
                  <a:pt x="297" y="660"/>
                </a:lnTo>
                <a:lnTo>
                  <a:pt x="294" y="648"/>
                </a:lnTo>
                <a:lnTo>
                  <a:pt x="291" y="638"/>
                </a:lnTo>
                <a:lnTo>
                  <a:pt x="282" y="630"/>
                </a:lnTo>
                <a:lnTo>
                  <a:pt x="269" y="625"/>
                </a:lnTo>
                <a:lnTo>
                  <a:pt x="242" y="619"/>
                </a:lnTo>
                <a:lnTo>
                  <a:pt x="230" y="612"/>
                </a:lnTo>
                <a:lnTo>
                  <a:pt x="224" y="605"/>
                </a:lnTo>
                <a:lnTo>
                  <a:pt x="222" y="595"/>
                </a:lnTo>
                <a:lnTo>
                  <a:pt x="220" y="574"/>
                </a:lnTo>
                <a:lnTo>
                  <a:pt x="217" y="566"/>
                </a:lnTo>
                <a:lnTo>
                  <a:pt x="207" y="548"/>
                </a:lnTo>
                <a:lnTo>
                  <a:pt x="205" y="540"/>
                </a:lnTo>
                <a:lnTo>
                  <a:pt x="205" y="525"/>
                </a:lnTo>
                <a:lnTo>
                  <a:pt x="203" y="519"/>
                </a:lnTo>
                <a:lnTo>
                  <a:pt x="190" y="500"/>
                </a:lnTo>
                <a:lnTo>
                  <a:pt x="181" y="455"/>
                </a:lnTo>
                <a:lnTo>
                  <a:pt x="174" y="440"/>
                </a:lnTo>
                <a:lnTo>
                  <a:pt x="164" y="434"/>
                </a:lnTo>
                <a:lnTo>
                  <a:pt x="151" y="432"/>
                </a:lnTo>
                <a:lnTo>
                  <a:pt x="120" y="439"/>
                </a:lnTo>
                <a:lnTo>
                  <a:pt x="110" y="440"/>
                </a:lnTo>
                <a:lnTo>
                  <a:pt x="102" y="432"/>
                </a:lnTo>
                <a:lnTo>
                  <a:pt x="96" y="417"/>
                </a:lnTo>
                <a:lnTo>
                  <a:pt x="90" y="395"/>
                </a:lnTo>
                <a:lnTo>
                  <a:pt x="70" y="341"/>
                </a:lnTo>
                <a:lnTo>
                  <a:pt x="64" y="332"/>
                </a:lnTo>
                <a:lnTo>
                  <a:pt x="55" y="322"/>
                </a:lnTo>
                <a:lnTo>
                  <a:pt x="46" y="312"/>
                </a:lnTo>
                <a:lnTo>
                  <a:pt x="29" y="298"/>
                </a:lnTo>
                <a:lnTo>
                  <a:pt x="0" y="293"/>
                </a:lnTo>
                <a:lnTo>
                  <a:pt x="16" y="277"/>
                </a:lnTo>
                <a:lnTo>
                  <a:pt x="35" y="243"/>
                </a:lnTo>
                <a:lnTo>
                  <a:pt x="38" y="233"/>
                </a:lnTo>
                <a:lnTo>
                  <a:pt x="39" y="222"/>
                </a:lnTo>
                <a:lnTo>
                  <a:pt x="38" y="150"/>
                </a:lnTo>
                <a:lnTo>
                  <a:pt x="72" y="152"/>
                </a:lnTo>
                <a:lnTo>
                  <a:pt x="91" y="151"/>
                </a:lnTo>
                <a:lnTo>
                  <a:pt x="139" y="143"/>
                </a:lnTo>
                <a:lnTo>
                  <a:pt x="155" y="143"/>
                </a:lnTo>
                <a:lnTo>
                  <a:pt x="165" y="144"/>
                </a:lnTo>
                <a:lnTo>
                  <a:pt x="172" y="147"/>
                </a:lnTo>
                <a:lnTo>
                  <a:pt x="178" y="151"/>
                </a:lnTo>
                <a:lnTo>
                  <a:pt x="185" y="152"/>
                </a:lnTo>
                <a:lnTo>
                  <a:pt x="189" y="149"/>
                </a:lnTo>
                <a:lnTo>
                  <a:pt x="193" y="139"/>
                </a:lnTo>
                <a:lnTo>
                  <a:pt x="195" y="137"/>
                </a:lnTo>
                <a:lnTo>
                  <a:pt x="198" y="136"/>
                </a:lnTo>
                <a:lnTo>
                  <a:pt x="205" y="138"/>
                </a:lnTo>
                <a:lnTo>
                  <a:pt x="211" y="142"/>
                </a:lnTo>
                <a:lnTo>
                  <a:pt x="219" y="143"/>
                </a:lnTo>
                <a:lnTo>
                  <a:pt x="229" y="142"/>
                </a:lnTo>
                <a:lnTo>
                  <a:pt x="245" y="133"/>
                </a:lnTo>
                <a:lnTo>
                  <a:pt x="271" y="116"/>
                </a:lnTo>
                <a:lnTo>
                  <a:pt x="279" y="112"/>
                </a:lnTo>
                <a:lnTo>
                  <a:pt x="292" y="107"/>
                </a:lnTo>
                <a:lnTo>
                  <a:pt x="300" y="105"/>
                </a:lnTo>
                <a:lnTo>
                  <a:pt x="313" y="98"/>
                </a:lnTo>
                <a:lnTo>
                  <a:pt x="320" y="94"/>
                </a:lnTo>
                <a:lnTo>
                  <a:pt x="330" y="93"/>
                </a:lnTo>
                <a:lnTo>
                  <a:pt x="338" y="91"/>
                </a:lnTo>
                <a:lnTo>
                  <a:pt x="346" y="90"/>
                </a:lnTo>
                <a:lnTo>
                  <a:pt x="356" y="92"/>
                </a:lnTo>
                <a:lnTo>
                  <a:pt x="363" y="93"/>
                </a:lnTo>
                <a:lnTo>
                  <a:pt x="370" y="92"/>
                </a:lnTo>
                <a:lnTo>
                  <a:pt x="378" y="89"/>
                </a:lnTo>
                <a:lnTo>
                  <a:pt x="387" y="87"/>
                </a:lnTo>
                <a:lnTo>
                  <a:pt x="420" y="84"/>
                </a:lnTo>
                <a:lnTo>
                  <a:pt x="479" y="56"/>
                </a:lnTo>
                <a:lnTo>
                  <a:pt x="488" y="51"/>
                </a:lnTo>
                <a:lnTo>
                  <a:pt x="494" y="49"/>
                </a:lnTo>
                <a:lnTo>
                  <a:pt x="517" y="49"/>
                </a:lnTo>
                <a:lnTo>
                  <a:pt x="535" y="46"/>
                </a:lnTo>
                <a:lnTo>
                  <a:pt x="599" y="26"/>
                </a:lnTo>
                <a:lnTo>
                  <a:pt x="615" y="17"/>
                </a:lnTo>
                <a:lnTo>
                  <a:pt x="622" y="13"/>
                </a:lnTo>
                <a:lnTo>
                  <a:pt x="630" y="10"/>
                </a:lnTo>
                <a:lnTo>
                  <a:pt x="639" y="8"/>
                </a:lnTo>
                <a:lnTo>
                  <a:pt x="751" y="0"/>
                </a:lnTo>
                <a:lnTo>
                  <a:pt x="737" y="15"/>
                </a:lnTo>
                <a:lnTo>
                  <a:pt x="736" y="20"/>
                </a:lnTo>
                <a:lnTo>
                  <a:pt x="737" y="24"/>
                </a:lnTo>
                <a:lnTo>
                  <a:pt x="739" y="29"/>
                </a:lnTo>
                <a:lnTo>
                  <a:pt x="743" y="49"/>
                </a:lnTo>
                <a:lnTo>
                  <a:pt x="748" y="55"/>
                </a:lnTo>
                <a:lnTo>
                  <a:pt x="755" y="60"/>
                </a:lnTo>
                <a:lnTo>
                  <a:pt x="810" y="72"/>
                </a:lnTo>
                <a:lnTo>
                  <a:pt x="875" y="9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93B9C23D-90BB-2FCB-9EA5-CDA74D52B7CB}"/>
              </a:ext>
            </a:extLst>
          </p:cNvPr>
          <p:cNvSpPr>
            <a:spLocks/>
          </p:cNvSpPr>
          <p:nvPr/>
        </p:nvSpPr>
        <p:spPr bwMode="auto">
          <a:xfrm>
            <a:off x="7401340" y="1709713"/>
            <a:ext cx="2490882" cy="1477249"/>
          </a:xfrm>
          <a:custGeom>
            <a:avLst/>
            <a:gdLst>
              <a:gd name="T0" fmla="*/ 397 w 1602"/>
              <a:gd name="T1" fmla="*/ 35 h 1004"/>
              <a:gd name="T2" fmla="*/ 475 w 1602"/>
              <a:gd name="T3" fmla="*/ 26 h 1004"/>
              <a:gd name="T4" fmla="*/ 589 w 1602"/>
              <a:gd name="T5" fmla="*/ 172 h 1004"/>
              <a:gd name="T6" fmla="*/ 662 w 1602"/>
              <a:gd name="T7" fmla="*/ 243 h 1004"/>
              <a:gd name="T8" fmla="*/ 799 w 1602"/>
              <a:gd name="T9" fmla="*/ 294 h 1004"/>
              <a:gd name="T10" fmla="*/ 901 w 1602"/>
              <a:gd name="T11" fmla="*/ 265 h 1004"/>
              <a:gd name="T12" fmla="*/ 1046 w 1602"/>
              <a:gd name="T13" fmla="*/ 310 h 1004"/>
              <a:gd name="T14" fmla="*/ 1131 w 1602"/>
              <a:gd name="T15" fmla="*/ 337 h 1004"/>
              <a:gd name="T16" fmla="*/ 1161 w 1602"/>
              <a:gd name="T17" fmla="*/ 245 h 1004"/>
              <a:gd name="T18" fmla="*/ 1233 w 1602"/>
              <a:gd name="T19" fmla="*/ 257 h 1004"/>
              <a:gd name="T20" fmla="*/ 1278 w 1602"/>
              <a:gd name="T21" fmla="*/ 276 h 1004"/>
              <a:gd name="T22" fmla="*/ 1345 w 1602"/>
              <a:gd name="T23" fmla="*/ 288 h 1004"/>
              <a:gd name="T24" fmla="*/ 1373 w 1602"/>
              <a:gd name="T25" fmla="*/ 305 h 1004"/>
              <a:gd name="T26" fmla="*/ 1423 w 1602"/>
              <a:gd name="T27" fmla="*/ 337 h 1004"/>
              <a:gd name="T28" fmla="*/ 1493 w 1602"/>
              <a:gd name="T29" fmla="*/ 361 h 1004"/>
              <a:gd name="T30" fmla="*/ 1557 w 1602"/>
              <a:gd name="T31" fmla="*/ 384 h 1004"/>
              <a:gd name="T32" fmla="*/ 1576 w 1602"/>
              <a:gd name="T33" fmla="*/ 399 h 1004"/>
              <a:gd name="T34" fmla="*/ 1560 w 1602"/>
              <a:gd name="T35" fmla="*/ 448 h 1004"/>
              <a:gd name="T36" fmla="*/ 1598 w 1602"/>
              <a:gd name="T37" fmla="*/ 607 h 1004"/>
              <a:gd name="T38" fmla="*/ 1511 w 1602"/>
              <a:gd name="T39" fmla="*/ 609 h 1004"/>
              <a:gd name="T40" fmla="*/ 1390 w 1602"/>
              <a:gd name="T41" fmla="*/ 935 h 1004"/>
              <a:gd name="T42" fmla="*/ 1346 w 1602"/>
              <a:gd name="T43" fmla="*/ 968 h 1004"/>
              <a:gd name="T44" fmla="*/ 1292 w 1602"/>
              <a:gd name="T45" fmla="*/ 945 h 1004"/>
              <a:gd name="T46" fmla="*/ 1272 w 1602"/>
              <a:gd name="T47" fmla="*/ 941 h 1004"/>
              <a:gd name="T48" fmla="*/ 1233 w 1602"/>
              <a:gd name="T49" fmla="*/ 905 h 1004"/>
              <a:gd name="T50" fmla="*/ 1197 w 1602"/>
              <a:gd name="T51" fmla="*/ 895 h 1004"/>
              <a:gd name="T52" fmla="*/ 1164 w 1602"/>
              <a:gd name="T53" fmla="*/ 864 h 1004"/>
              <a:gd name="T54" fmla="*/ 1156 w 1602"/>
              <a:gd name="T55" fmla="*/ 866 h 1004"/>
              <a:gd name="T56" fmla="*/ 1105 w 1602"/>
              <a:gd name="T57" fmla="*/ 860 h 1004"/>
              <a:gd name="T58" fmla="*/ 1058 w 1602"/>
              <a:gd name="T59" fmla="*/ 838 h 1004"/>
              <a:gd name="T60" fmla="*/ 1045 w 1602"/>
              <a:gd name="T61" fmla="*/ 827 h 1004"/>
              <a:gd name="T62" fmla="*/ 1007 w 1602"/>
              <a:gd name="T63" fmla="*/ 821 h 1004"/>
              <a:gd name="T64" fmla="*/ 994 w 1602"/>
              <a:gd name="T65" fmla="*/ 823 h 1004"/>
              <a:gd name="T66" fmla="*/ 967 w 1602"/>
              <a:gd name="T67" fmla="*/ 833 h 1004"/>
              <a:gd name="T68" fmla="*/ 929 w 1602"/>
              <a:gd name="T69" fmla="*/ 834 h 1004"/>
              <a:gd name="T70" fmla="*/ 911 w 1602"/>
              <a:gd name="T71" fmla="*/ 834 h 1004"/>
              <a:gd name="T72" fmla="*/ 893 w 1602"/>
              <a:gd name="T73" fmla="*/ 846 h 1004"/>
              <a:gd name="T74" fmla="*/ 846 w 1602"/>
              <a:gd name="T75" fmla="*/ 825 h 1004"/>
              <a:gd name="T76" fmla="*/ 825 w 1602"/>
              <a:gd name="T77" fmla="*/ 811 h 1004"/>
              <a:gd name="T78" fmla="*/ 785 w 1602"/>
              <a:gd name="T79" fmla="*/ 810 h 1004"/>
              <a:gd name="T80" fmla="*/ 767 w 1602"/>
              <a:gd name="T81" fmla="*/ 799 h 1004"/>
              <a:gd name="T82" fmla="*/ 743 w 1602"/>
              <a:gd name="T83" fmla="*/ 764 h 1004"/>
              <a:gd name="T84" fmla="*/ 720 w 1602"/>
              <a:gd name="T85" fmla="*/ 672 h 1004"/>
              <a:gd name="T86" fmla="*/ 645 w 1602"/>
              <a:gd name="T87" fmla="*/ 688 h 1004"/>
              <a:gd name="T88" fmla="*/ 570 w 1602"/>
              <a:gd name="T89" fmla="*/ 705 h 1004"/>
              <a:gd name="T90" fmla="*/ 522 w 1602"/>
              <a:gd name="T91" fmla="*/ 731 h 1004"/>
              <a:gd name="T92" fmla="*/ 369 w 1602"/>
              <a:gd name="T93" fmla="*/ 674 h 1004"/>
              <a:gd name="T94" fmla="*/ 375 w 1602"/>
              <a:gd name="T95" fmla="*/ 614 h 1004"/>
              <a:gd name="T96" fmla="*/ 340 w 1602"/>
              <a:gd name="T97" fmla="*/ 574 h 1004"/>
              <a:gd name="T98" fmla="*/ 290 w 1602"/>
              <a:gd name="T99" fmla="*/ 506 h 1004"/>
              <a:gd name="T100" fmla="*/ 315 w 1602"/>
              <a:gd name="T101" fmla="*/ 448 h 1004"/>
              <a:gd name="T102" fmla="*/ 107 w 1602"/>
              <a:gd name="T103" fmla="*/ 591 h 1004"/>
              <a:gd name="T104" fmla="*/ 28 w 1602"/>
              <a:gd name="T105" fmla="*/ 592 h 1004"/>
              <a:gd name="T106" fmla="*/ 63 w 1602"/>
              <a:gd name="T107" fmla="*/ 479 h 1004"/>
              <a:gd name="T108" fmla="*/ 69 w 1602"/>
              <a:gd name="T109" fmla="*/ 402 h 1004"/>
              <a:gd name="T110" fmla="*/ 2 w 1602"/>
              <a:gd name="T111" fmla="*/ 338 h 1004"/>
              <a:gd name="T112" fmla="*/ 38 w 1602"/>
              <a:gd name="T113" fmla="*/ 288 h 1004"/>
              <a:gd name="T114" fmla="*/ 129 w 1602"/>
              <a:gd name="T115" fmla="*/ 310 h 1004"/>
              <a:gd name="T116" fmla="*/ 184 w 1602"/>
              <a:gd name="T117" fmla="*/ 251 h 1004"/>
              <a:gd name="T118" fmla="*/ 227 w 1602"/>
              <a:gd name="T119" fmla="*/ 215 h 1004"/>
              <a:gd name="T120" fmla="*/ 246 w 1602"/>
              <a:gd name="T121" fmla="*/ 166 h 1004"/>
              <a:gd name="T122" fmla="*/ 224 w 1602"/>
              <a:gd name="T123" fmla="*/ 110 h 1004"/>
              <a:gd name="T124" fmla="*/ 225 w 1602"/>
              <a:gd name="T125" fmla="*/ 0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02" h="1004">
                <a:moveTo>
                  <a:pt x="291" y="31"/>
                </a:moveTo>
                <a:lnTo>
                  <a:pt x="299" y="30"/>
                </a:lnTo>
                <a:lnTo>
                  <a:pt x="306" y="26"/>
                </a:lnTo>
                <a:lnTo>
                  <a:pt x="317" y="24"/>
                </a:lnTo>
                <a:lnTo>
                  <a:pt x="329" y="26"/>
                </a:lnTo>
                <a:lnTo>
                  <a:pt x="366" y="37"/>
                </a:lnTo>
                <a:lnTo>
                  <a:pt x="383" y="37"/>
                </a:lnTo>
                <a:lnTo>
                  <a:pt x="397" y="35"/>
                </a:lnTo>
                <a:lnTo>
                  <a:pt x="407" y="30"/>
                </a:lnTo>
                <a:lnTo>
                  <a:pt x="415" y="24"/>
                </a:lnTo>
                <a:lnTo>
                  <a:pt x="424" y="20"/>
                </a:lnTo>
                <a:lnTo>
                  <a:pt x="434" y="16"/>
                </a:lnTo>
                <a:lnTo>
                  <a:pt x="453" y="12"/>
                </a:lnTo>
                <a:lnTo>
                  <a:pt x="461" y="16"/>
                </a:lnTo>
                <a:lnTo>
                  <a:pt x="471" y="21"/>
                </a:lnTo>
                <a:lnTo>
                  <a:pt x="475" y="26"/>
                </a:lnTo>
                <a:lnTo>
                  <a:pt x="482" y="38"/>
                </a:lnTo>
                <a:lnTo>
                  <a:pt x="551" y="120"/>
                </a:lnTo>
                <a:lnTo>
                  <a:pt x="572" y="138"/>
                </a:lnTo>
                <a:lnTo>
                  <a:pt x="574" y="141"/>
                </a:lnTo>
                <a:lnTo>
                  <a:pt x="575" y="143"/>
                </a:lnTo>
                <a:lnTo>
                  <a:pt x="575" y="149"/>
                </a:lnTo>
                <a:lnTo>
                  <a:pt x="576" y="153"/>
                </a:lnTo>
                <a:lnTo>
                  <a:pt x="589" y="172"/>
                </a:lnTo>
                <a:lnTo>
                  <a:pt x="594" y="178"/>
                </a:lnTo>
                <a:lnTo>
                  <a:pt x="601" y="189"/>
                </a:lnTo>
                <a:lnTo>
                  <a:pt x="603" y="192"/>
                </a:lnTo>
                <a:lnTo>
                  <a:pt x="607" y="198"/>
                </a:lnTo>
                <a:lnTo>
                  <a:pt x="615" y="204"/>
                </a:lnTo>
                <a:lnTo>
                  <a:pt x="652" y="230"/>
                </a:lnTo>
                <a:lnTo>
                  <a:pt x="658" y="238"/>
                </a:lnTo>
                <a:lnTo>
                  <a:pt x="662" y="243"/>
                </a:lnTo>
                <a:lnTo>
                  <a:pt x="669" y="253"/>
                </a:lnTo>
                <a:lnTo>
                  <a:pt x="683" y="244"/>
                </a:lnTo>
                <a:lnTo>
                  <a:pt x="700" y="240"/>
                </a:lnTo>
                <a:lnTo>
                  <a:pt x="714" y="259"/>
                </a:lnTo>
                <a:lnTo>
                  <a:pt x="749" y="285"/>
                </a:lnTo>
                <a:lnTo>
                  <a:pt x="761" y="292"/>
                </a:lnTo>
                <a:lnTo>
                  <a:pt x="788" y="291"/>
                </a:lnTo>
                <a:lnTo>
                  <a:pt x="799" y="294"/>
                </a:lnTo>
                <a:lnTo>
                  <a:pt x="804" y="304"/>
                </a:lnTo>
                <a:lnTo>
                  <a:pt x="810" y="310"/>
                </a:lnTo>
                <a:lnTo>
                  <a:pt x="826" y="303"/>
                </a:lnTo>
                <a:lnTo>
                  <a:pt x="853" y="283"/>
                </a:lnTo>
                <a:lnTo>
                  <a:pt x="860" y="281"/>
                </a:lnTo>
                <a:lnTo>
                  <a:pt x="882" y="273"/>
                </a:lnTo>
                <a:lnTo>
                  <a:pt x="895" y="267"/>
                </a:lnTo>
                <a:lnTo>
                  <a:pt x="901" y="265"/>
                </a:lnTo>
                <a:lnTo>
                  <a:pt x="953" y="260"/>
                </a:lnTo>
                <a:lnTo>
                  <a:pt x="1016" y="265"/>
                </a:lnTo>
                <a:lnTo>
                  <a:pt x="1019" y="268"/>
                </a:lnTo>
                <a:lnTo>
                  <a:pt x="1023" y="276"/>
                </a:lnTo>
                <a:lnTo>
                  <a:pt x="1027" y="283"/>
                </a:lnTo>
                <a:lnTo>
                  <a:pt x="1029" y="299"/>
                </a:lnTo>
                <a:lnTo>
                  <a:pt x="1033" y="304"/>
                </a:lnTo>
                <a:lnTo>
                  <a:pt x="1046" y="310"/>
                </a:lnTo>
                <a:lnTo>
                  <a:pt x="1073" y="330"/>
                </a:lnTo>
                <a:lnTo>
                  <a:pt x="1088" y="338"/>
                </a:lnTo>
                <a:lnTo>
                  <a:pt x="1104" y="343"/>
                </a:lnTo>
                <a:lnTo>
                  <a:pt x="1120" y="344"/>
                </a:lnTo>
                <a:lnTo>
                  <a:pt x="1127" y="345"/>
                </a:lnTo>
                <a:lnTo>
                  <a:pt x="1131" y="343"/>
                </a:lnTo>
                <a:lnTo>
                  <a:pt x="1132" y="340"/>
                </a:lnTo>
                <a:lnTo>
                  <a:pt x="1131" y="337"/>
                </a:lnTo>
                <a:lnTo>
                  <a:pt x="1127" y="332"/>
                </a:lnTo>
                <a:lnTo>
                  <a:pt x="1124" y="324"/>
                </a:lnTo>
                <a:lnTo>
                  <a:pt x="1118" y="269"/>
                </a:lnTo>
                <a:lnTo>
                  <a:pt x="1118" y="258"/>
                </a:lnTo>
                <a:lnTo>
                  <a:pt x="1120" y="252"/>
                </a:lnTo>
                <a:lnTo>
                  <a:pt x="1129" y="247"/>
                </a:lnTo>
                <a:lnTo>
                  <a:pt x="1139" y="245"/>
                </a:lnTo>
                <a:lnTo>
                  <a:pt x="1161" y="245"/>
                </a:lnTo>
                <a:lnTo>
                  <a:pt x="1173" y="249"/>
                </a:lnTo>
                <a:lnTo>
                  <a:pt x="1183" y="254"/>
                </a:lnTo>
                <a:lnTo>
                  <a:pt x="1190" y="259"/>
                </a:lnTo>
                <a:lnTo>
                  <a:pt x="1198" y="260"/>
                </a:lnTo>
                <a:lnTo>
                  <a:pt x="1203" y="260"/>
                </a:lnTo>
                <a:lnTo>
                  <a:pt x="1210" y="258"/>
                </a:lnTo>
                <a:lnTo>
                  <a:pt x="1216" y="257"/>
                </a:lnTo>
                <a:lnTo>
                  <a:pt x="1233" y="257"/>
                </a:lnTo>
                <a:lnTo>
                  <a:pt x="1240" y="255"/>
                </a:lnTo>
                <a:lnTo>
                  <a:pt x="1247" y="253"/>
                </a:lnTo>
                <a:lnTo>
                  <a:pt x="1253" y="252"/>
                </a:lnTo>
                <a:lnTo>
                  <a:pt x="1259" y="253"/>
                </a:lnTo>
                <a:lnTo>
                  <a:pt x="1265" y="256"/>
                </a:lnTo>
                <a:lnTo>
                  <a:pt x="1268" y="260"/>
                </a:lnTo>
                <a:lnTo>
                  <a:pt x="1274" y="270"/>
                </a:lnTo>
                <a:lnTo>
                  <a:pt x="1278" y="276"/>
                </a:lnTo>
                <a:lnTo>
                  <a:pt x="1287" y="279"/>
                </a:lnTo>
                <a:lnTo>
                  <a:pt x="1294" y="279"/>
                </a:lnTo>
                <a:lnTo>
                  <a:pt x="1304" y="277"/>
                </a:lnTo>
                <a:lnTo>
                  <a:pt x="1311" y="273"/>
                </a:lnTo>
                <a:lnTo>
                  <a:pt x="1316" y="273"/>
                </a:lnTo>
                <a:lnTo>
                  <a:pt x="1322" y="276"/>
                </a:lnTo>
                <a:lnTo>
                  <a:pt x="1330" y="281"/>
                </a:lnTo>
                <a:lnTo>
                  <a:pt x="1345" y="288"/>
                </a:lnTo>
                <a:lnTo>
                  <a:pt x="1353" y="292"/>
                </a:lnTo>
                <a:lnTo>
                  <a:pt x="1357" y="295"/>
                </a:lnTo>
                <a:lnTo>
                  <a:pt x="1358" y="299"/>
                </a:lnTo>
                <a:lnTo>
                  <a:pt x="1360" y="303"/>
                </a:lnTo>
                <a:lnTo>
                  <a:pt x="1364" y="304"/>
                </a:lnTo>
                <a:lnTo>
                  <a:pt x="1370" y="299"/>
                </a:lnTo>
                <a:lnTo>
                  <a:pt x="1372" y="302"/>
                </a:lnTo>
                <a:lnTo>
                  <a:pt x="1373" y="305"/>
                </a:lnTo>
                <a:lnTo>
                  <a:pt x="1374" y="312"/>
                </a:lnTo>
                <a:lnTo>
                  <a:pt x="1377" y="317"/>
                </a:lnTo>
                <a:lnTo>
                  <a:pt x="1380" y="321"/>
                </a:lnTo>
                <a:lnTo>
                  <a:pt x="1383" y="325"/>
                </a:lnTo>
                <a:lnTo>
                  <a:pt x="1392" y="332"/>
                </a:lnTo>
                <a:lnTo>
                  <a:pt x="1412" y="338"/>
                </a:lnTo>
                <a:lnTo>
                  <a:pt x="1419" y="338"/>
                </a:lnTo>
                <a:lnTo>
                  <a:pt x="1423" y="337"/>
                </a:lnTo>
                <a:lnTo>
                  <a:pt x="1454" y="338"/>
                </a:lnTo>
                <a:lnTo>
                  <a:pt x="1461" y="341"/>
                </a:lnTo>
                <a:lnTo>
                  <a:pt x="1469" y="345"/>
                </a:lnTo>
                <a:lnTo>
                  <a:pt x="1474" y="347"/>
                </a:lnTo>
                <a:lnTo>
                  <a:pt x="1485" y="347"/>
                </a:lnTo>
                <a:lnTo>
                  <a:pt x="1488" y="349"/>
                </a:lnTo>
                <a:lnTo>
                  <a:pt x="1490" y="355"/>
                </a:lnTo>
                <a:lnTo>
                  <a:pt x="1493" y="361"/>
                </a:lnTo>
                <a:lnTo>
                  <a:pt x="1495" y="368"/>
                </a:lnTo>
                <a:lnTo>
                  <a:pt x="1498" y="371"/>
                </a:lnTo>
                <a:lnTo>
                  <a:pt x="1503" y="373"/>
                </a:lnTo>
                <a:lnTo>
                  <a:pt x="1510" y="374"/>
                </a:lnTo>
                <a:lnTo>
                  <a:pt x="1521" y="379"/>
                </a:lnTo>
                <a:lnTo>
                  <a:pt x="1544" y="385"/>
                </a:lnTo>
                <a:lnTo>
                  <a:pt x="1551" y="385"/>
                </a:lnTo>
                <a:lnTo>
                  <a:pt x="1557" y="384"/>
                </a:lnTo>
                <a:lnTo>
                  <a:pt x="1561" y="383"/>
                </a:lnTo>
                <a:lnTo>
                  <a:pt x="1563" y="384"/>
                </a:lnTo>
                <a:lnTo>
                  <a:pt x="1564" y="386"/>
                </a:lnTo>
                <a:lnTo>
                  <a:pt x="1563" y="394"/>
                </a:lnTo>
                <a:lnTo>
                  <a:pt x="1564" y="398"/>
                </a:lnTo>
                <a:lnTo>
                  <a:pt x="1566" y="399"/>
                </a:lnTo>
                <a:lnTo>
                  <a:pt x="1575" y="399"/>
                </a:lnTo>
                <a:lnTo>
                  <a:pt x="1576" y="399"/>
                </a:lnTo>
                <a:lnTo>
                  <a:pt x="1576" y="399"/>
                </a:lnTo>
                <a:lnTo>
                  <a:pt x="1568" y="402"/>
                </a:lnTo>
                <a:lnTo>
                  <a:pt x="1561" y="408"/>
                </a:lnTo>
                <a:lnTo>
                  <a:pt x="1558" y="415"/>
                </a:lnTo>
                <a:lnTo>
                  <a:pt x="1559" y="422"/>
                </a:lnTo>
                <a:lnTo>
                  <a:pt x="1561" y="435"/>
                </a:lnTo>
                <a:lnTo>
                  <a:pt x="1562" y="441"/>
                </a:lnTo>
                <a:lnTo>
                  <a:pt x="1560" y="448"/>
                </a:lnTo>
                <a:lnTo>
                  <a:pt x="1557" y="460"/>
                </a:lnTo>
                <a:lnTo>
                  <a:pt x="1555" y="468"/>
                </a:lnTo>
                <a:lnTo>
                  <a:pt x="1586" y="569"/>
                </a:lnTo>
                <a:lnTo>
                  <a:pt x="1586" y="576"/>
                </a:lnTo>
                <a:lnTo>
                  <a:pt x="1585" y="588"/>
                </a:lnTo>
                <a:lnTo>
                  <a:pt x="1586" y="593"/>
                </a:lnTo>
                <a:lnTo>
                  <a:pt x="1591" y="601"/>
                </a:lnTo>
                <a:lnTo>
                  <a:pt x="1598" y="607"/>
                </a:lnTo>
                <a:lnTo>
                  <a:pt x="1602" y="614"/>
                </a:lnTo>
                <a:lnTo>
                  <a:pt x="1602" y="618"/>
                </a:lnTo>
                <a:lnTo>
                  <a:pt x="1597" y="618"/>
                </a:lnTo>
                <a:lnTo>
                  <a:pt x="1565" y="618"/>
                </a:lnTo>
                <a:lnTo>
                  <a:pt x="1536" y="621"/>
                </a:lnTo>
                <a:lnTo>
                  <a:pt x="1521" y="621"/>
                </a:lnTo>
                <a:lnTo>
                  <a:pt x="1514" y="616"/>
                </a:lnTo>
                <a:lnTo>
                  <a:pt x="1511" y="609"/>
                </a:lnTo>
                <a:lnTo>
                  <a:pt x="1501" y="599"/>
                </a:lnTo>
                <a:lnTo>
                  <a:pt x="1483" y="581"/>
                </a:lnTo>
                <a:lnTo>
                  <a:pt x="1479" y="587"/>
                </a:lnTo>
                <a:lnTo>
                  <a:pt x="1470" y="620"/>
                </a:lnTo>
                <a:lnTo>
                  <a:pt x="1449" y="699"/>
                </a:lnTo>
                <a:lnTo>
                  <a:pt x="1430" y="778"/>
                </a:lnTo>
                <a:lnTo>
                  <a:pt x="1409" y="857"/>
                </a:lnTo>
                <a:lnTo>
                  <a:pt x="1390" y="935"/>
                </a:lnTo>
                <a:lnTo>
                  <a:pt x="1380" y="974"/>
                </a:lnTo>
                <a:lnTo>
                  <a:pt x="1371" y="998"/>
                </a:lnTo>
                <a:lnTo>
                  <a:pt x="1366" y="1004"/>
                </a:lnTo>
                <a:lnTo>
                  <a:pt x="1366" y="1004"/>
                </a:lnTo>
                <a:lnTo>
                  <a:pt x="1358" y="991"/>
                </a:lnTo>
                <a:lnTo>
                  <a:pt x="1355" y="977"/>
                </a:lnTo>
                <a:lnTo>
                  <a:pt x="1352" y="970"/>
                </a:lnTo>
                <a:lnTo>
                  <a:pt x="1346" y="968"/>
                </a:lnTo>
                <a:lnTo>
                  <a:pt x="1341" y="967"/>
                </a:lnTo>
                <a:lnTo>
                  <a:pt x="1334" y="965"/>
                </a:lnTo>
                <a:lnTo>
                  <a:pt x="1330" y="961"/>
                </a:lnTo>
                <a:lnTo>
                  <a:pt x="1326" y="959"/>
                </a:lnTo>
                <a:lnTo>
                  <a:pt x="1321" y="958"/>
                </a:lnTo>
                <a:lnTo>
                  <a:pt x="1318" y="955"/>
                </a:lnTo>
                <a:lnTo>
                  <a:pt x="1298" y="947"/>
                </a:lnTo>
                <a:lnTo>
                  <a:pt x="1292" y="945"/>
                </a:lnTo>
                <a:lnTo>
                  <a:pt x="1288" y="943"/>
                </a:lnTo>
                <a:lnTo>
                  <a:pt x="1287" y="941"/>
                </a:lnTo>
                <a:lnTo>
                  <a:pt x="1286" y="938"/>
                </a:lnTo>
                <a:lnTo>
                  <a:pt x="1283" y="937"/>
                </a:lnTo>
                <a:lnTo>
                  <a:pt x="1281" y="939"/>
                </a:lnTo>
                <a:lnTo>
                  <a:pt x="1278" y="941"/>
                </a:lnTo>
                <a:lnTo>
                  <a:pt x="1274" y="943"/>
                </a:lnTo>
                <a:lnTo>
                  <a:pt x="1272" y="941"/>
                </a:lnTo>
                <a:lnTo>
                  <a:pt x="1269" y="935"/>
                </a:lnTo>
                <a:lnTo>
                  <a:pt x="1263" y="927"/>
                </a:lnTo>
                <a:lnTo>
                  <a:pt x="1257" y="917"/>
                </a:lnTo>
                <a:lnTo>
                  <a:pt x="1256" y="915"/>
                </a:lnTo>
                <a:lnTo>
                  <a:pt x="1254" y="909"/>
                </a:lnTo>
                <a:lnTo>
                  <a:pt x="1251" y="907"/>
                </a:lnTo>
                <a:lnTo>
                  <a:pt x="1242" y="907"/>
                </a:lnTo>
                <a:lnTo>
                  <a:pt x="1233" y="905"/>
                </a:lnTo>
                <a:lnTo>
                  <a:pt x="1223" y="904"/>
                </a:lnTo>
                <a:lnTo>
                  <a:pt x="1221" y="903"/>
                </a:lnTo>
                <a:lnTo>
                  <a:pt x="1217" y="900"/>
                </a:lnTo>
                <a:lnTo>
                  <a:pt x="1215" y="898"/>
                </a:lnTo>
                <a:lnTo>
                  <a:pt x="1210" y="894"/>
                </a:lnTo>
                <a:lnTo>
                  <a:pt x="1205" y="893"/>
                </a:lnTo>
                <a:lnTo>
                  <a:pt x="1201" y="894"/>
                </a:lnTo>
                <a:lnTo>
                  <a:pt x="1197" y="895"/>
                </a:lnTo>
                <a:lnTo>
                  <a:pt x="1196" y="894"/>
                </a:lnTo>
                <a:lnTo>
                  <a:pt x="1196" y="892"/>
                </a:lnTo>
                <a:lnTo>
                  <a:pt x="1195" y="888"/>
                </a:lnTo>
                <a:lnTo>
                  <a:pt x="1189" y="877"/>
                </a:lnTo>
                <a:lnTo>
                  <a:pt x="1185" y="875"/>
                </a:lnTo>
                <a:lnTo>
                  <a:pt x="1169" y="870"/>
                </a:lnTo>
                <a:lnTo>
                  <a:pt x="1165" y="867"/>
                </a:lnTo>
                <a:lnTo>
                  <a:pt x="1164" y="864"/>
                </a:lnTo>
                <a:lnTo>
                  <a:pt x="1166" y="861"/>
                </a:lnTo>
                <a:lnTo>
                  <a:pt x="1166" y="857"/>
                </a:lnTo>
                <a:lnTo>
                  <a:pt x="1164" y="857"/>
                </a:lnTo>
                <a:lnTo>
                  <a:pt x="1161" y="859"/>
                </a:lnTo>
                <a:lnTo>
                  <a:pt x="1157" y="859"/>
                </a:lnTo>
                <a:lnTo>
                  <a:pt x="1155" y="860"/>
                </a:lnTo>
                <a:lnTo>
                  <a:pt x="1155" y="863"/>
                </a:lnTo>
                <a:lnTo>
                  <a:pt x="1156" y="866"/>
                </a:lnTo>
                <a:lnTo>
                  <a:pt x="1155" y="869"/>
                </a:lnTo>
                <a:lnTo>
                  <a:pt x="1152" y="870"/>
                </a:lnTo>
                <a:lnTo>
                  <a:pt x="1148" y="872"/>
                </a:lnTo>
                <a:lnTo>
                  <a:pt x="1142" y="870"/>
                </a:lnTo>
                <a:lnTo>
                  <a:pt x="1130" y="870"/>
                </a:lnTo>
                <a:lnTo>
                  <a:pt x="1119" y="868"/>
                </a:lnTo>
                <a:lnTo>
                  <a:pt x="1110" y="864"/>
                </a:lnTo>
                <a:lnTo>
                  <a:pt x="1105" y="860"/>
                </a:lnTo>
                <a:lnTo>
                  <a:pt x="1101" y="857"/>
                </a:lnTo>
                <a:lnTo>
                  <a:pt x="1093" y="857"/>
                </a:lnTo>
                <a:lnTo>
                  <a:pt x="1091" y="855"/>
                </a:lnTo>
                <a:lnTo>
                  <a:pt x="1087" y="851"/>
                </a:lnTo>
                <a:lnTo>
                  <a:pt x="1082" y="846"/>
                </a:lnTo>
                <a:lnTo>
                  <a:pt x="1074" y="843"/>
                </a:lnTo>
                <a:lnTo>
                  <a:pt x="1066" y="842"/>
                </a:lnTo>
                <a:lnTo>
                  <a:pt x="1058" y="838"/>
                </a:lnTo>
                <a:lnTo>
                  <a:pt x="1055" y="837"/>
                </a:lnTo>
                <a:lnTo>
                  <a:pt x="1052" y="837"/>
                </a:lnTo>
                <a:lnTo>
                  <a:pt x="1051" y="839"/>
                </a:lnTo>
                <a:lnTo>
                  <a:pt x="1047" y="840"/>
                </a:lnTo>
                <a:lnTo>
                  <a:pt x="1046" y="838"/>
                </a:lnTo>
                <a:lnTo>
                  <a:pt x="1046" y="835"/>
                </a:lnTo>
                <a:lnTo>
                  <a:pt x="1046" y="830"/>
                </a:lnTo>
                <a:lnTo>
                  <a:pt x="1045" y="827"/>
                </a:lnTo>
                <a:lnTo>
                  <a:pt x="1043" y="823"/>
                </a:lnTo>
                <a:lnTo>
                  <a:pt x="1041" y="822"/>
                </a:lnTo>
                <a:lnTo>
                  <a:pt x="1039" y="824"/>
                </a:lnTo>
                <a:lnTo>
                  <a:pt x="1036" y="826"/>
                </a:lnTo>
                <a:lnTo>
                  <a:pt x="1033" y="827"/>
                </a:lnTo>
                <a:lnTo>
                  <a:pt x="1026" y="827"/>
                </a:lnTo>
                <a:lnTo>
                  <a:pt x="1014" y="821"/>
                </a:lnTo>
                <a:lnTo>
                  <a:pt x="1007" y="821"/>
                </a:lnTo>
                <a:lnTo>
                  <a:pt x="1004" y="822"/>
                </a:lnTo>
                <a:lnTo>
                  <a:pt x="1003" y="824"/>
                </a:lnTo>
                <a:lnTo>
                  <a:pt x="1002" y="825"/>
                </a:lnTo>
                <a:lnTo>
                  <a:pt x="1001" y="824"/>
                </a:lnTo>
                <a:lnTo>
                  <a:pt x="1000" y="822"/>
                </a:lnTo>
                <a:lnTo>
                  <a:pt x="999" y="821"/>
                </a:lnTo>
                <a:lnTo>
                  <a:pt x="996" y="821"/>
                </a:lnTo>
                <a:lnTo>
                  <a:pt x="994" y="823"/>
                </a:lnTo>
                <a:lnTo>
                  <a:pt x="988" y="829"/>
                </a:lnTo>
                <a:lnTo>
                  <a:pt x="986" y="831"/>
                </a:lnTo>
                <a:lnTo>
                  <a:pt x="983" y="834"/>
                </a:lnTo>
                <a:lnTo>
                  <a:pt x="981" y="835"/>
                </a:lnTo>
                <a:lnTo>
                  <a:pt x="977" y="834"/>
                </a:lnTo>
                <a:lnTo>
                  <a:pt x="974" y="834"/>
                </a:lnTo>
                <a:lnTo>
                  <a:pt x="969" y="834"/>
                </a:lnTo>
                <a:lnTo>
                  <a:pt x="967" y="833"/>
                </a:lnTo>
                <a:lnTo>
                  <a:pt x="964" y="829"/>
                </a:lnTo>
                <a:lnTo>
                  <a:pt x="961" y="830"/>
                </a:lnTo>
                <a:lnTo>
                  <a:pt x="949" y="831"/>
                </a:lnTo>
                <a:lnTo>
                  <a:pt x="943" y="828"/>
                </a:lnTo>
                <a:lnTo>
                  <a:pt x="940" y="828"/>
                </a:lnTo>
                <a:lnTo>
                  <a:pt x="936" y="829"/>
                </a:lnTo>
                <a:lnTo>
                  <a:pt x="932" y="831"/>
                </a:lnTo>
                <a:lnTo>
                  <a:pt x="929" y="834"/>
                </a:lnTo>
                <a:lnTo>
                  <a:pt x="926" y="833"/>
                </a:lnTo>
                <a:lnTo>
                  <a:pt x="925" y="830"/>
                </a:lnTo>
                <a:lnTo>
                  <a:pt x="923" y="827"/>
                </a:lnTo>
                <a:lnTo>
                  <a:pt x="921" y="827"/>
                </a:lnTo>
                <a:lnTo>
                  <a:pt x="918" y="829"/>
                </a:lnTo>
                <a:lnTo>
                  <a:pt x="916" y="833"/>
                </a:lnTo>
                <a:lnTo>
                  <a:pt x="914" y="835"/>
                </a:lnTo>
                <a:lnTo>
                  <a:pt x="911" y="834"/>
                </a:lnTo>
                <a:lnTo>
                  <a:pt x="909" y="835"/>
                </a:lnTo>
                <a:lnTo>
                  <a:pt x="908" y="835"/>
                </a:lnTo>
                <a:lnTo>
                  <a:pt x="905" y="837"/>
                </a:lnTo>
                <a:lnTo>
                  <a:pt x="901" y="839"/>
                </a:lnTo>
                <a:lnTo>
                  <a:pt x="899" y="842"/>
                </a:lnTo>
                <a:lnTo>
                  <a:pt x="898" y="844"/>
                </a:lnTo>
                <a:lnTo>
                  <a:pt x="895" y="847"/>
                </a:lnTo>
                <a:lnTo>
                  <a:pt x="893" y="846"/>
                </a:lnTo>
                <a:lnTo>
                  <a:pt x="893" y="841"/>
                </a:lnTo>
                <a:lnTo>
                  <a:pt x="891" y="839"/>
                </a:lnTo>
                <a:lnTo>
                  <a:pt x="886" y="837"/>
                </a:lnTo>
                <a:lnTo>
                  <a:pt x="875" y="836"/>
                </a:lnTo>
                <a:lnTo>
                  <a:pt x="859" y="831"/>
                </a:lnTo>
                <a:lnTo>
                  <a:pt x="849" y="829"/>
                </a:lnTo>
                <a:lnTo>
                  <a:pt x="845" y="827"/>
                </a:lnTo>
                <a:lnTo>
                  <a:pt x="846" y="825"/>
                </a:lnTo>
                <a:lnTo>
                  <a:pt x="847" y="823"/>
                </a:lnTo>
                <a:lnTo>
                  <a:pt x="847" y="821"/>
                </a:lnTo>
                <a:lnTo>
                  <a:pt x="844" y="816"/>
                </a:lnTo>
                <a:lnTo>
                  <a:pt x="843" y="814"/>
                </a:lnTo>
                <a:lnTo>
                  <a:pt x="839" y="813"/>
                </a:lnTo>
                <a:lnTo>
                  <a:pt x="835" y="814"/>
                </a:lnTo>
                <a:lnTo>
                  <a:pt x="831" y="813"/>
                </a:lnTo>
                <a:lnTo>
                  <a:pt x="825" y="811"/>
                </a:lnTo>
                <a:lnTo>
                  <a:pt x="822" y="808"/>
                </a:lnTo>
                <a:lnTo>
                  <a:pt x="818" y="808"/>
                </a:lnTo>
                <a:lnTo>
                  <a:pt x="813" y="809"/>
                </a:lnTo>
                <a:lnTo>
                  <a:pt x="809" y="811"/>
                </a:lnTo>
                <a:lnTo>
                  <a:pt x="801" y="812"/>
                </a:lnTo>
                <a:lnTo>
                  <a:pt x="795" y="811"/>
                </a:lnTo>
                <a:lnTo>
                  <a:pt x="787" y="812"/>
                </a:lnTo>
                <a:lnTo>
                  <a:pt x="785" y="810"/>
                </a:lnTo>
                <a:lnTo>
                  <a:pt x="785" y="808"/>
                </a:lnTo>
                <a:lnTo>
                  <a:pt x="785" y="805"/>
                </a:lnTo>
                <a:lnTo>
                  <a:pt x="785" y="803"/>
                </a:lnTo>
                <a:lnTo>
                  <a:pt x="783" y="803"/>
                </a:lnTo>
                <a:lnTo>
                  <a:pt x="780" y="805"/>
                </a:lnTo>
                <a:lnTo>
                  <a:pt x="774" y="807"/>
                </a:lnTo>
                <a:lnTo>
                  <a:pt x="771" y="804"/>
                </a:lnTo>
                <a:lnTo>
                  <a:pt x="767" y="799"/>
                </a:lnTo>
                <a:lnTo>
                  <a:pt x="767" y="796"/>
                </a:lnTo>
                <a:lnTo>
                  <a:pt x="766" y="791"/>
                </a:lnTo>
                <a:lnTo>
                  <a:pt x="765" y="788"/>
                </a:lnTo>
                <a:lnTo>
                  <a:pt x="761" y="785"/>
                </a:lnTo>
                <a:lnTo>
                  <a:pt x="755" y="781"/>
                </a:lnTo>
                <a:lnTo>
                  <a:pt x="752" y="776"/>
                </a:lnTo>
                <a:lnTo>
                  <a:pt x="748" y="771"/>
                </a:lnTo>
                <a:lnTo>
                  <a:pt x="743" y="764"/>
                </a:lnTo>
                <a:lnTo>
                  <a:pt x="740" y="753"/>
                </a:lnTo>
                <a:lnTo>
                  <a:pt x="737" y="739"/>
                </a:lnTo>
                <a:lnTo>
                  <a:pt x="737" y="713"/>
                </a:lnTo>
                <a:lnTo>
                  <a:pt x="740" y="705"/>
                </a:lnTo>
                <a:lnTo>
                  <a:pt x="741" y="695"/>
                </a:lnTo>
                <a:lnTo>
                  <a:pt x="737" y="686"/>
                </a:lnTo>
                <a:lnTo>
                  <a:pt x="729" y="677"/>
                </a:lnTo>
                <a:lnTo>
                  <a:pt x="720" y="672"/>
                </a:lnTo>
                <a:lnTo>
                  <a:pt x="708" y="669"/>
                </a:lnTo>
                <a:lnTo>
                  <a:pt x="696" y="668"/>
                </a:lnTo>
                <a:lnTo>
                  <a:pt x="687" y="669"/>
                </a:lnTo>
                <a:lnTo>
                  <a:pt x="670" y="674"/>
                </a:lnTo>
                <a:lnTo>
                  <a:pt x="657" y="677"/>
                </a:lnTo>
                <a:lnTo>
                  <a:pt x="654" y="678"/>
                </a:lnTo>
                <a:lnTo>
                  <a:pt x="650" y="685"/>
                </a:lnTo>
                <a:lnTo>
                  <a:pt x="645" y="688"/>
                </a:lnTo>
                <a:lnTo>
                  <a:pt x="640" y="690"/>
                </a:lnTo>
                <a:lnTo>
                  <a:pt x="633" y="691"/>
                </a:lnTo>
                <a:lnTo>
                  <a:pt x="619" y="695"/>
                </a:lnTo>
                <a:lnTo>
                  <a:pt x="606" y="697"/>
                </a:lnTo>
                <a:lnTo>
                  <a:pt x="590" y="697"/>
                </a:lnTo>
                <a:lnTo>
                  <a:pt x="585" y="698"/>
                </a:lnTo>
                <a:lnTo>
                  <a:pt x="576" y="704"/>
                </a:lnTo>
                <a:lnTo>
                  <a:pt x="570" y="705"/>
                </a:lnTo>
                <a:lnTo>
                  <a:pt x="560" y="703"/>
                </a:lnTo>
                <a:lnTo>
                  <a:pt x="552" y="698"/>
                </a:lnTo>
                <a:lnTo>
                  <a:pt x="547" y="697"/>
                </a:lnTo>
                <a:lnTo>
                  <a:pt x="542" y="698"/>
                </a:lnTo>
                <a:lnTo>
                  <a:pt x="529" y="710"/>
                </a:lnTo>
                <a:lnTo>
                  <a:pt x="526" y="716"/>
                </a:lnTo>
                <a:lnTo>
                  <a:pt x="524" y="723"/>
                </a:lnTo>
                <a:lnTo>
                  <a:pt x="522" y="731"/>
                </a:lnTo>
                <a:lnTo>
                  <a:pt x="521" y="737"/>
                </a:lnTo>
                <a:lnTo>
                  <a:pt x="516" y="743"/>
                </a:lnTo>
                <a:lnTo>
                  <a:pt x="505" y="744"/>
                </a:lnTo>
                <a:lnTo>
                  <a:pt x="440" y="717"/>
                </a:lnTo>
                <a:lnTo>
                  <a:pt x="385" y="705"/>
                </a:lnTo>
                <a:lnTo>
                  <a:pt x="378" y="700"/>
                </a:lnTo>
                <a:lnTo>
                  <a:pt x="373" y="694"/>
                </a:lnTo>
                <a:lnTo>
                  <a:pt x="369" y="674"/>
                </a:lnTo>
                <a:lnTo>
                  <a:pt x="367" y="669"/>
                </a:lnTo>
                <a:lnTo>
                  <a:pt x="366" y="665"/>
                </a:lnTo>
                <a:lnTo>
                  <a:pt x="367" y="660"/>
                </a:lnTo>
                <a:lnTo>
                  <a:pt x="381" y="645"/>
                </a:lnTo>
                <a:lnTo>
                  <a:pt x="386" y="630"/>
                </a:lnTo>
                <a:lnTo>
                  <a:pt x="381" y="622"/>
                </a:lnTo>
                <a:lnTo>
                  <a:pt x="377" y="619"/>
                </a:lnTo>
                <a:lnTo>
                  <a:pt x="375" y="614"/>
                </a:lnTo>
                <a:lnTo>
                  <a:pt x="376" y="609"/>
                </a:lnTo>
                <a:lnTo>
                  <a:pt x="388" y="599"/>
                </a:lnTo>
                <a:lnTo>
                  <a:pt x="392" y="593"/>
                </a:lnTo>
                <a:lnTo>
                  <a:pt x="392" y="588"/>
                </a:lnTo>
                <a:lnTo>
                  <a:pt x="388" y="584"/>
                </a:lnTo>
                <a:lnTo>
                  <a:pt x="379" y="582"/>
                </a:lnTo>
                <a:lnTo>
                  <a:pt x="351" y="578"/>
                </a:lnTo>
                <a:lnTo>
                  <a:pt x="340" y="574"/>
                </a:lnTo>
                <a:lnTo>
                  <a:pt x="308" y="553"/>
                </a:lnTo>
                <a:lnTo>
                  <a:pt x="303" y="550"/>
                </a:lnTo>
                <a:lnTo>
                  <a:pt x="298" y="548"/>
                </a:lnTo>
                <a:lnTo>
                  <a:pt x="290" y="544"/>
                </a:lnTo>
                <a:lnTo>
                  <a:pt x="287" y="539"/>
                </a:lnTo>
                <a:lnTo>
                  <a:pt x="285" y="528"/>
                </a:lnTo>
                <a:lnTo>
                  <a:pt x="286" y="517"/>
                </a:lnTo>
                <a:lnTo>
                  <a:pt x="290" y="506"/>
                </a:lnTo>
                <a:lnTo>
                  <a:pt x="298" y="496"/>
                </a:lnTo>
                <a:lnTo>
                  <a:pt x="330" y="465"/>
                </a:lnTo>
                <a:lnTo>
                  <a:pt x="337" y="458"/>
                </a:lnTo>
                <a:lnTo>
                  <a:pt x="339" y="450"/>
                </a:lnTo>
                <a:lnTo>
                  <a:pt x="338" y="446"/>
                </a:lnTo>
                <a:lnTo>
                  <a:pt x="332" y="442"/>
                </a:lnTo>
                <a:lnTo>
                  <a:pt x="323" y="442"/>
                </a:lnTo>
                <a:lnTo>
                  <a:pt x="315" y="448"/>
                </a:lnTo>
                <a:lnTo>
                  <a:pt x="305" y="452"/>
                </a:lnTo>
                <a:lnTo>
                  <a:pt x="275" y="480"/>
                </a:lnTo>
                <a:lnTo>
                  <a:pt x="259" y="513"/>
                </a:lnTo>
                <a:lnTo>
                  <a:pt x="250" y="524"/>
                </a:lnTo>
                <a:lnTo>
                  <a:pt x="245" y="527"/>
                </a:lnTo>
                <a:lnTo>
                  <a:pt x="221" y="536"/>
                </a:lnTo>
                <a:lnTo>
                  <a:pt x="115" y="587"/>
                </a:lnTo>
                <a:lnTo>
                  <a:pt x="107" y="591"/>
                </a:lnTo>
                <a:lnTo>
                  <a:pt x="95" y="595"/>
                </a:lnTo>
                <a:lnTo>
                  <a:pt x="93" y="596"/>
                </a:lnTo>
                <a:lnTo>
                  <a:pt x="81" y="602"/>
                </a:lnTo>
                <a:lnTo>
                  <a:pt x="68" y="604"/>
                </a:lnTo>
                <a:lnTo>
                  <a:pt x="52" y="605"/>
                </a:lnTo>
                <a:lnTo>
                  <a:pt x="37" y="603"/>
                </a:lnTo>
                <a:lnTo>
                  <a:pt x="28" y="597"/>
                </a:lnTo>
                <a:lnTo>
                  <a:pt x="28" y="592"/>
                </a:lnTo>
                <a:lnTo>
                  <a:pt x="35" y="586"/>
                </a:lnTo>
                <a:lnTo>
                  <a:pt x="41" y="579"/>
                </a:lnTo>
                <a:lnTo>
                  <a:pt x="46" y="569"/>
                </a:lnTo>
                <a:lnTo>
                  <a:pt x="61" y="531"/>
                </a:lnTo>
                <a:lnTo>
                  <a:pt x="64" y="522"/>
                </a:lnTo>
                <a:lnTo>
                  <a:pt x="58" y="501"/>
                </a:lnTo>
                <a:lnTo>
                  <a:pt x="58" y="491"/>
                </a:lnTo>
                <a:lnTo>
                  <a:pt x="63" y="479"/>
                </a:lnTo>
                <a:lnTo>
                  <a:pt x="68" y="467"/>
                </a:lnTo>
                <a:lnTo>
                  <a:pt x="72" y="459"/>
                </a:lnTo>
                <a:lnTo>
                  <a:pt x="82" y="447"/>
                </a:lnTo>
                <a:lnTo>
                  <a:pt x="84" y="440"/>
                </a:lnTo>
                <a:lnTo>
                  <a:pt x="83" y="432"/>
                </a:lnTo>
                <a:lnTo>
                  <a:pt x="79" y="414"/>
                </a:lnTo>
                <a:lnTo>
                  <a:pt x="74" y="408"/>
                </a:lnTo>
                <a:lnTo>
                  <a:pt x="69" y="402"/>
                </a:lnTo>
                <a:lnTo>
                  <a:pt x="60" y="397"/>
                </a:lnTo>
                <a:lnTo>
                  <a:pt x="56" y="393"/>
                </a:lnTo>
                <a:lnTo>
                  <a:pt x="50" y="379"/>
                </a:lnTo>
                <a:lnTo>
                  <a:pt x="30" y="355"/>
                </a:lnTo>
                <a:lnTo>
                  <a:pt x="24" y="348"/>
                </a:lnTo>
                <a:lnTo>
                  <a:pt x="17" y="345"/>
                </a:lnTo>
                <a:lnTo>
                  <a:pt x="9" y="343"/>
                </a:lnTo>
                <a:lnTo>
                  <a:pt x="2" y="338"/>
                </a:lnTo>
                <a:lnTo>
                  <a:pt x="0" y="333"/>
                </a:lnTo>
                <a:lnTo>
                  <a:pt x="1" y="328"/>
                </a:lnTo>
                <a:lnTo>
                  <a:pt x="4" y="322"/>
                </a:lnTo>
                <a:lnTo>
                  <a:pt x="11" y="318"/>
                </a:lnTo>
                <a:lnTo>
                  <a:pt x="31" y="305"/>
                </a:lnTo>
                <a:lnTo>
                  <a:pt x="37" y="301"/>
                </a:lnTo>
                <a:lnTo>
                  <a:pt x="39" y="295"/>
                </a:lnTo>
                <a:lnTo>
                  <a:pt x="38" y="288"/>
                </a:lnTo>
                <a:lnTo>
                  <a:pt x="39" y="281"/>
                </a:lnTo>
                <a:lnTo>
                  <a:pt x="41" y="277"/>
                </a:lnTo>
                <a:lnTo>
                  <a:pt x="46" y="276"/>
                </a:lnTo>
                <a:lnTo>
                  <a:pt x="56" y="279"/>
                </a:lnTo>
                <a:lnTo>
                  <a:pt x="84" y="296"/>
                </a:lnTo>
                <a:lnTo>
                  <a:pt x="99" y="303"/>
                </a:lnTo>
                <a:lnTo>
                  <a:pt x="116" y="308"/>
                </a:lnTo>
                <a:lnTo>
                  <a:pt x="129" y="310"/>
                </a:lnTo>
                <a:lnTo>
                  <a:pt x="137" y="309"/>
                </a:lnTo>
                <a:lnTo>
                  <a:pt x="145" y="306"/>
                </a:lnTo>
                <a:lnTo>
                  <a:pt x="151" y="302"/>
                </a:lnTo>
                <a:lnTo>
                  <a:pt x="168" y="275"/>
                </a:lnTo>
                <a:lnTo>
                  <a:pt x="174" y="258"/>
                </a:lnTo>
                <a:lnTo>
                  <a:pt x="177" y="254"/>
                </a:lnTo>
                <a:lnTo>
                  <a:pt x="181" y="251"/>
                </a:lnTo>
                <a:lnTo>
                  <a:pt x="184" y="251"/>
                </a:lnTo>
                <a:lnTo>
                  <a:pt x="193" y="254"/>
                </a:lnTo>
                <a:lnTo>
                  <a:pt x="196" y="253"/>
                </a:lnTo>
                <a:lnTo>
                  <a:pt x="197" y="249"/>
                </a:lnTo>
                <a:lnTo>
                  <a:pt x="197" y="238"/>
                </a:lnTo>
                <a:lnTo>
                  <a:pt x="197" y="232"/>
                </a:lnTo>
                <a:lnTo>
                  <a:pt x="199" y="228"/>
                </a:lnTo>
                <a:lnTo>
                  <a:pt x="220" y="219"/>
                </a:lnTo>
                <a:lnTo>
                  <a:pt x="227" y="215"/>
                </a:lnTo>
                <a:lnTo>
                  <a:pt x="233" y="210"/>
                </a:lnTo>
                <a:lnTo>
                  <a:pt x="235" y="204"/>
                </a:lnTo>
                <a:lnTo>
                  <a:pt x="235" y="193"/>
                </a:lnTo>
                <a:lnTo>
                  <a:pt x="236" y="189"/>
                </a:lnTo>
                <a:lnTo>
                  <a:pt x="239" y="185"/>
                </a:lnTo>
                <a:lnTo>
                  <a:pt x="243" y="181"/>
                </a:lnTo>
                <a:lnTo>
                  <a:pt x="246" y="176"/>
                </a:lnTo>
                <a:lnTo>
                  <a:pt x="246" y="166"/>
                </a:lnTo>
                <a:lnTo>
                  <a:pt x="239" y="153"/>
                </a:lnTo>
                <a:lnTo>
                  <a:pt x="240" y="150"/>
                </a:lnTo>
                <a:lnTo>
                  <a:pt x="241" y="147"/>
                </a:lnTo>
                <a:lnTo>
                  <a:pt x="242" y="143"/>
                </a:lnTo>
                <a:lnTo>
                  <a:pt x="243" y="138"/>
                </a:lnTo>
                <a:lnTo>
                  <a:pt x="241" y="134"/>
                </a:lnTo>
                <a:lnTo>
                  <a:pt x="234" y="122"/>
                </a:lnTo>
                <a:lnTo>
                  <a:pt x="224" y="110"/>
                </a:lnTo>
                <a:lnTo>
                  <a:pt x="221" y="104"/>
                </a:lnTo>
                <a:lnTo>
                  <a:pt x="216" y="96"/>
                </a:lnTo>
                <a:lnTo>
                  <a:pt x="216" y="89"/>
                </a:lnTo>
                <a:lnTo>
                  <a:pt x="219" y="79"/>
                </a:lnTo>
                <a:lnTo>
                  <a:pt x="221" y="62"/>
                </a:lnTo>
                <a:lnTo>
                  <a:pt x="222" y="55"/>
                </a:lnTo>
                <a:lnTo>
                  <a:pt x="215" y="8"/>
                </a:lnTo>
                <a:lnTo>
                  <a:pt x="225" y="0"/>
                </a:lnTo>
                <a:lnTo>
                  <a:pt x="235" y="3"/>
                </a:lnTo>
                <a:lnTo>
                  <a:pt x="246" y="7"/>
                </a:lnTo>
                <a:lnTo>
                  <a:pt x="264" y="16"/>
                </a:lnTo>
                <a:lnTo>
                  <a:pt x="284" y="29"/>
                </a:lnTo>
                <a:lnTo>
                  <a:pt x="291" y="3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5A3E56A1-6941-8A0A-2C65-1B515210127C}"/>
              </a:ext>
            </a:extLst>
          </p:cNvPr>
          <p:cNvSpPr>
            <a:spLocks/>
          </p:cNvSpPr>
          <p:nvPr/>
        </p:nvSpPr>
        <p:spPr bwMode="auto">
          <a:xfrm>
            <a:off x="6546169" y="1631731"/>
            <a:ext cx="1464675" cy="1250658"/>
          </a:xfrm>
          <a:custGeom>
            <a:avLst/>
            <a:gdLst>
              <a:gd name="T0" fmla="*/ 616 w 942"/>
              <a:gd name="T1" fmla="*/ 61 h 850"/>
              <a:gd name="T2" fmla="*/ 637 w 942"/>
              <a:gd name="T3" fmla="*/ 47 h 850"/>
              <a:gd name="T4" fmla="*/ 666 w 942"/>
              <a:gd name="T5" fmla="*/ 56 h 850"/>
              <a:gd name="T6" fmla="*/ 665 w 942"/>
              <a:gd name="T7" fmla="*/ 75 h 850"/>
              <a:gd name="T8" fmla="*/ 666 w 942"/>
              <a:gd name="T9" fmla="*/ 101 h 850"/>
              <a:gd name="T10" fmla="*/ 727 w 942"/>
              <a:gd name="T11" fmla="*/ 113 h 850"/>
              <a:gd name="T12" fmla="*/ 772 w 942"/>
              <a:gd name="T13" fmla="*/ 108 h 850"/>
              <a:gd name="T14" fmla="*/ 774 w 942"/>
              <a:gd name="T15" fmla="*/ 163 h 850"/>
              <a:gd name="T16" fmla="*/ 790 w 942"/>
              <a:gd name="T17" fmla="*/ 203 h 850"/>
              <a:gd name="T18" fmla="*/ 786 w 942"/>
              <a:gd name="T19" fmla="*/ 242 h 850"/>
              <a:gd name="T20" fmla="*/ 749 w 942"/>
              <a:gd name="T21" fmla="*/ 281 h 850"/>
              <a:gd name="T22" fmla="*/ 734 w 942"/>
              <a:gd name="T23" fmla="*/ 304 h 850"/>
              <a:gd name="T24" fmla="*/ 695 w 942"/>
              <a:gd name="T25" fmla="*/ 359 h 850"/>
              <a:gd name="T26" fmla="*/ 606 w 942"/>
              <a:gd name="T27" fmla="*/ 332 h 850"/>
              <a:gd name="T28" fmla="*/ 587 w 942"/>
              <a:gd name="T29" fmla="*/ 354 h 850"/>
              <a:gd name="T30" fmla="*/ 552 w 942"/>
              <a:gd name="T31" fmla="*/ 391 h 850"/>
              <a:gd name="T32" fmla="*/ 606 w 942"/>
              <a:gd name="T33" fmla="*/ 446 h 850"/>
              <a:gd name="T34" fmla="*/ 634 w 942"/>
              <a:gd name="T35" fmla="*/ 493 h 850"/>
              <a:gd name="T36" fmla="*/ 608 w 942"/>
              <a:gd name="T37" fmla="*/ 554 h 850"/>
              <a:gd name="T38" fmla="*/ 578 w 942"/>
              <a:gd name="T39" fmla="*/ 645 h 850"/>
              <a:gd name="T40" fmla="*/ 643 w 942"/>
              <a:gd name="T41" fmla="*/ 649 h 850"/>
              <a:gd name="T42" fmla="*/ 800 w 942"/>
              <a:gd name="T43" fmla="*/ 577 h 850"/>
              <a:gd name="T44" fmla="*/ 882 w 942"/>
              <a:gd name="T45" fmla="*/ 495 h 850"/>
              <a:gd name="T46" fmla="*/ 840 w 942"/>
              <a:gd name="T47" fmla="*/ 559 h 850"/>
              <a:gd name="T48" fmla="*/ 853 w 942"/>
              <a:gd name="T49" fmla="*/ 603 h 850"/>
              <a:gd name="T50" fmla="*/ 942 w 942"/>
              <a:gd name="T51" fmla="*/ 641 h 850"/>
              <a:gd name="T52" fmla="*/ 931 w 942"/>
              <a:gd name="T53" fmla="*/ 675 h 850"/>
              <a:gd name="T54" fmla="*/ 795 w 942"/>
              <a:gd name="T55" fmla="*/ 715 h 850"/>
              <a:gd name="T56" fmla="*/ 659 w 942"/>
              <a:gd name="T57" fmla="*/ 754 h 850"/>
              <a:gd name="T58" fmla="*/ 536 w 942"/>
              <a:gd name="T59" fmla="*/ 790 h 850"/>
              <a:gd name="T60" fmla="*/ 480 w 942"/>
              <a:gd name="T61" fmla="*/ 803 h 850"/>
              <a:gd name="T62" fmla="*/ 399 w 942"/>
              <a:gd name="T63" fmla="*/ 841 h 850"/>
              <a:gd name="T64" fmla="*/ 369 w 942"/>
              <a:gd name="T65" fmla="*/ 847 h 850"/>
              <a:gd name="T66" fmla="*/ 319 w 942"/>
              <a:gd name="T67" fmla="*/ 841 h 850"/>
              <a:gd name="T68" fmla="*/ 212 w 942"/>
              <a:gd name="T69" fmla="*/ 821 h 850"/>
              <a:gd name="T70" fmla="*/ 157 w 942"/>
              <a:gd name="T71" fmla="*/ 799 h 850"/>
              <a:gd name="T72" fmla="*/ 129 w 942"/>
              <a:gd name="T73" fmla="*/ 789 h 850"/>
              <a:gd name="T74" fmla="*/ 65 w 942"/>
              <a:gd name="T75" fmla="*/ 801 h 850"/>
              <a:gd name="T76" fmla="*/ 74 w 942"/>
              <a:gd name="T77" fmla="*/ 731 h 850"/>
              <a:gd name="T78" fmla="*/ 8 w 942"/>
              <a:gd name="T79" fmla="*/ 658 h 850"/>
              <a:gd name="T80" fmla="*/ 13 w 942"/>
              <a:gd name="T81" fmla="*/ 634 h 850"/>
              <a:gd name="T82" fmla="*/ 34 w 942"/>
              <a:gd name="T83" fmla="*/ 579 h 850"/>
              <a:gd name="T84" fmla="*/ 31 w 942"/>
              <a:gd name="T85" fmla="*/ 479 h 850"/>
              <a:gd name="T86" fmla="*/ 82 w 942"/>
              <a:gd name="T87" fmla="*/ 449 h 850"/>
              <a:gd name="T88" fmla="*/ 121 w 942"/>
              <a:gd name="T89" fmla="*/ 377 h 850"/>
              <a:gd name="T90" fmla="*/ 137 w 942"/>
              <a:gd name="T91" fmla="*/ 324 h 850"/>
              <a:gd name="T92" fmla="*/ 166 w 942"/>
              <a:gd name="T93" fmla="*/ 235 h 850"/>
              <a:gd name="T94" fmla="*/ 185 w 942"/>
              <a:gd name="T95" fmla="*/ 141 h 850"/>
              <a:gd name="T96" fmla="*/ 228 w 942"/>
              <a:gd name="T97" fmla="*/ 145 h 850"/>
              <a:gd name="T98" fmla="*/ 258 w 942"/>
              <a:gd name="T99" fmla="*/ 111 h 850"/>
              <a:gd name="T100" fmla="*/ 298 w 942"/>
              <a:gd name="T101" fmla="*/ 98 h 850"/>
              <a:gd name="T102" fmla="*/ 316 w 942"/>
              <a:gd name="T103" fmla="*/ 58 h 850"/>
              <a:gd name="T104" fmla="*/ 438 w 942"/>
              <a:gd name="T105" fmla="*/ 7 h 850"/>
              <a:gd name="T106" fmla="*/ 442 w 942"/>
              <a:gd name="T107" fmla="*/ 18 h 850"/>
              <a:gd name="T108" fmla="*/ 445 w 942"/>
              <a:gd name="T109" fmla="*/ 52 h 850"/>
              <a:gd name="T110" fmla="*/ 564 w 942"/>
              <a:gd name="T111" fmla="*/ 84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42" h="850">
                <a:moveTo>
                  <a:pt x="571" y="88"/>
                </a:moveTo>
                <a:lnTo>
                  <a:pt x="576" y="87"/>
                </a:lnTo>
                <a:lnTo>
                  <a:pt x="583" y="83"/>
                </a:lnTo>
                <a:lnTo>
                  <a:pt x="597" y="67"/>
                </a:lnTo>
                <a:lnTo>
                  <a:pt x="605" y="63"/>
                </a:lnTo>
                <a:lnTo>
                  <a:pt x="616" y="61"/>
                </a:lnTo>
                <a:lnTo>
                  <a:pt x="622" y="59"/>
                </a:lnTo>
                <a:lnTo>
                  <a:pt x="627" y="56"/>
                </a:lnTo>
                <a:lnTo>
                  <a:pt x="629" y="52"/>
                </a:lnTo>
                <a:lnTo>
                  <a:pt x="631" y="49"/>
                </a:lnTo>
                <a:lnTo>
                  <a:pt x="634" y="48"/>
                </a:lnTo>
                <a:lnTo>
                  <a:pt x="637" y="47"/>
                </a:lnTo>
                <a:lnTo>
                  <a:pt x="646" y="40"/>
                </a:lnTo>
                <a:lnTo>
                  <a:pt x="655" y="37"/>
                </a:lnTo>
                <a:lnTo>
                  <a:pt x="658" y="39"/>
                </a:lnTo>
                <a:lnTo>
                  <a:pt x="661" y="44"/>
                </a:lnTo>
                <a:lnTo>
                  <a:pt x="663" y="51"/>
                </a:lnTo>
                <a:lnTo>
                  <a:pt x="666" y="56"/>
                </a:lnTo>
                <a:lnTo>
                  <a:pt x="668" y="59"/>
                </a:lnTo>
                <a:lnTo>
                  <a:pt x="669" y="62"/>
                </a:lnTo>
                <a:lnTo>
                  <a:pt x="668" y="65"/>
                </a:lnTo>
                <a:lnTo>
                  <a:pt x="666" y="69"/>
                </a:lnTo>
                <a:lnTo>
                  <a:pt x="665" y="72"/>
                </a:lnTo>
                <a:lnTo>
                  <a:pt x="665" y="75"/>
                </a:lnTo>
                <a:lnTo>
                  <a:pt x="668" y="82"/>
                </a:lnTo>
                <a:lnTo>
                  <a:pt x="668" y="85"/>
                </a:lnTo>
                <a:lnTo>
                  <a:pt x="667" y="88"/>
                </a:lnTo>
                <a:lnTo>
                  <a:pt x="666" y="92"/>
                </a:lnTo>
                <a:lnTo>
                  <a:pt x="666" y="97"/>
                </a:lnTo>
                <a:lnTo>
                  <a:pt x="666" y="101"/>
                </a:lnTo>
                <a:lnTo>
                  <a:pt x="667" y="105"/>
                </a:lnTo>
                <a:lnTo>
                  <a:pt x="672" y="108"/>
                </a:lnTo>
                <a:lnTo>
                  <a:pt x="704" y="115"/>
                </a:lnTo>
                <a:lnTo>
                  <a:pt x="715" y="116"/>
                </a:lnTo>
                <a:lnTo>
                  <a:pt x="723" y="115"/>
                </a:lnTo>
                <a:lnTo>
                  <a:pt x="727" y="113"/>
                </a:lnTo>
                <a:lnTo>
                  <a:pt x="732" y="110"/>
                </a:lnTo>
                <a:lnTo>
                  <a:pt x="735" y="104"/>
                </a:lnTo>
                <a:lnTo>
                  <a:pt x="743" y="89"/>
                </a:lnTo>
                <a:lnTo>
                  <a:pt x="748" y="80"/>
                </a:lnTo>
                <a:lnTo>
                  <a:pt x="765" y="61"/>
                </a:lnTo>
                <a:lnTo>
                  <a:pt x="772" y="108"/>
                </a:lnTo>
                <a:lnTo>
                  <a:pt x="771" y="115"/>
                </a:lnTo>
                <a:lnTo>
                  <a:pt x="769" y="132"/>
                </a:lnTo>
                <a:lnTo>
                  <a:pt x="766" y="142"/>
                </a:lnTo>
                <a:lnTo>
                  <a:pt x="766" y="149"/>
                </a:lnTo>
                <a:lnTo>
                  <a:pt x="771" y="157"/>
                </a:lnTo>
                <a:lnTo>
                  <a:pt x="774" y="163"/>
                </a:lnTo>
                <a:lnTo>
                  <a:pt x="784" y="175"/>
                </a:lnTo>
                <a:lnTo>
                  <a:pt x="791" y="187"/>
                </a:lnTo>
                <a:lnTo>
                  <a:pt x="793" y="191"/>
                </a:lnTo>
                <a:lnTo>
                  <a:pt x="792" y="196"/>
                </a:lnTo>
                <a:lnTo>
                  <a:pt x="791" y="200"/>
                </a:lnTo>
                <a:lnTo>
                  <a:pt x="790" y="203"/>
                </a:lnTo>
                <a:lnTo>
                  <a:pt x="789" y="206"/>
                </a:lnTo>
                <a:lnTo>
                  <a:pt x="796" y="219"/>
                </a:lnTo>
                <a:lnTo>
                  <a:pt x="796" y="229"/>
                </a:lnTo>
                <a:lnTo>
                  <a:pt x="793" y="234"/>
                </a:lnTo>
                <a:lnTo>
                  <a:pt x="789" y="238"/>
                </a:lnTo>
                <a:lnTo>
                  <a:pt x="786" y="242"/>
                </a:lnTo>
                <a:lnTo>
                  <a:pt x="785" y="246"/>
                </a:lnTo>
                <a:lnTo>
                  <a:pt x="785" y="257"/>
                </a:lnTo>
                <a:lnTo>
                  <a:pt x="783" y="263"/>
                </a:lnTo>
                <a:lnTo>
                  <a:pt x="777" y="268"/>
                </a:lnTo>
                <a:lnTo>
                  <a:pt x="770" y="272"/>
                </a:lnTo>
                <a:lnTo>
                  <a:pt x="749" y="281"/>
                </a:lnTo>
                <a:lnTo>
                  <a:pt x="747" y="285"/>
                </a:lnTo>
                <a:lnTo>
                  <a:pt x="747" y="291"/>
                </a:lnTo>
                <a:lnTo>
                  <a:pt x="747" y="302"/>
                </a:lnTo>
                <a:lnTo>
                  <a:pt x="746" y="306"/>
                </a:lnTo>
                <a:lnTo>
                  <a:pt x="743" y="307"/>
                </a:lnTo>
                <a:lnTo>
                  <a:pt x="734" y="304"/>
                </a:lnTo>
                <a:lnTo>
                  <a:pt x="731" y="304"/>
                </a:lnTo>
                <a:lnTo>
                  <a:pt x="727" y="307"/>
                </a:lnTo>
                <a:lnTo>
                  <a:pt x="724" y="311"/>
                </a:lnTo>
                <a:lnTo>
                  <a:pt x="718" y="328"/>
                </a:lnTo>
                <a:lnTo>
                  <a:pt x="701" y="355"/>
                </a:lnTo>
                <a:lnTo>
                  <a:pt x="695" y="359"/>
                </a:lnTo>
                <a:lnTo>
                  <a:pt x="687" y="362"/>
                </a:lnTo>
                <a:lnTo>
                  <a:pt x="679" y="363"/>
                </a:lnTo>
                <a:lnTo>
                  <a:pt x="666" y="361"/>
                </a:lnTo>
                <a:lnTo>
                  <a:pt x="649" y="356"/>
                </a:lnTo>
                <a:lnTo>
                  <a:pt x="634" y="349"/>
                </a:lnTo>
                <a:lnTo>
                  <a:pt x="606" y="332"/>
                </a:lnTo>
                <a:lnTo>
                  <a:pt x="596" y="329"/>
                </a:lnTo>
                <a:lnTo>
                  <a:pt x="591" y="330"/>
                </a:lnTo>
                <a:lnTo>
                  <a:pt x="589" y="334"/>
                </a:lnTo>
                <a:lnTo>
                  <a:pt x="588" y="341"/>
                </a:lnTo>
                <a:lnTo>
                  <a:pt x="589" y="348"/>
                </a:lnTo>
                <a:lnTo>
                  <a:pt x="587" y="354"/>
                </a:lnTo>
                <a:lnTo>
                  <a:pt x="581" y="358"/>
                </a:lnTo>
                <a:lnTo>
                  <a:pt x="561" y="371"/>
                </a:lnTo>
                <a:lnTo>
                  <a:pt x="554" y="375"/>
                </a:lnTo>
                <a:lnTo>
                  <a:pt x="551" y="381"/>
                </a:lnTo>
                <a:lnTo>
                  <a:pt x="550" y="386"/>
                </a:lnTo>
                <a:lnTo>
                  <a:pt x="552" y="391"/>
                </a:lnTo>
                <a:lnTo>
                  <a:pt x="559" y="396"/>
                </a:lnTo>
                <a:lnTo>
                  <a:pt x="567" y="398"/>
                </a:lnTo>
                <a:lnTo>
                  <a:pt x="574" y="401"/>
                </a:lnTo>
                <a:lnTo>
                  <a:pt x="580" y="408"/>
                </a:lnTo>
                <a:lnTo>
                  <a:pt x="600" y="432"/>
                </a:lnTo>
                <a:lnTo>
                  <a:pt x="606" y="446"/>
                </a:lnTo>
                <a:lnTo>
                  <a:pt x="610" y="450"/>
                </a:lnTo>
                <a:lnTo>
                  <a:pt x="619" y="455"/>
                </a:lnTo>
                <a:lnTo>
                  <a:pt x="624" y="461"/>
                </a:lnTo>
                <a:lnTo>
                  <a:pt x="629" y="467"/>
                </a:lnTo>
                <a:lnTo>
                  <a:pt x="633" y="485"/>
                </a:lnTo>
                <a:lnTo>
                  <a:pt x="634" y="493"/>
                </a:lnTo>
                <a:lnTo>
                  <a:pt x="632" y="500"/>
                </a:lnTo>
                <a:lnTo>
                  <a:pt x="622" y="512"/>
                </a:lnTo>
                <a:lnTo>
                  <a:pt x="618" y="520"/>
                </a:lnTo>
                <a:lnTo>
                  <a:pt x="613" y="532"/>
                </a:lnTo>
                <a:lnTo>
                  <a:pt x="608" y="544"/>
                </a:lnTo>
                <a:lnTo>
                  <a:pt x="608" y="554"/>
                </a:lnTo>
                <a:lnTo>
                  <a:pt x="614" y="575"/>
                </a:lnTo>
                <a:lnTo>
                  <a:pt x="611" y="584"/>
                </a:lnTo>
                <a:lnTo>
                  <a:pt x="596" y="622"/>
                </a:lnTo>
                <a:lnTo>
                  <a:pt x="591" y="632"/>
                </a:lnTo>
                <a:lnTo>
                  <a:pt x="585" y="639"/>
                </a:lnTo>
                <a:lnTo>
                  <a:pt x="578" y="645"/>
                </a:lnTo>
                <a:lnTo>
                  <a:pt x="578" y="650"/>
                </a:lnTo>
                <a:lnTo>
                  <a:pt x="587" y="656"/>
                </a:lnTo>
                <a:lnTo>
                  <a:pt x="602" y="658"/>
                </a:lnTo>
                <a:lnTo>
                  <a:pt x="618" y="657"/>
                </a:lnTo>
                <a:lnTo>
                  <a:pt x="631" y="655"/>
                </a:lnTo>
                <a:lnTo>
                  <a:pt x="643" y="649"/>
                </a:lnTo>
                <a:lnTo>
                  <a:pt x="645" y="648"/>
                </a:lnTo>
                <a:lnTo>
                  <a:pt x="657" y="644"/>
                </a:lnTo>
                <a:lnTo>
                  <a:pt x="665" y="640"/>
                </a:lnTo>
                <a:lnTo>
                  <a:pt x="771" y="589"/>
                </a:lnTo>
                <a:lnTo>
                  <a:pt x="795" y="580"/>
                </a:lnTo>
                <a:lnTo>
                  <a:pt x="800" y="577"/>
                </a:lnTo>
                <a:lnTo>
                  <a:pt x="809" y="566"/>
                </a:lnTo>
                <a:lnTo>
                  <a:pt x="825" y="533"/>
                </a:lnTo>
                <a:lnTo>
                  <a:pt x="855" y="505"/>
                </a:lnTo>
                <a:lnTo>
                  <a:pt x="865" y="501"/>
                </a:lnTo>
                <a:lnTo>
                  <a:pt x="873" y="495"/>
                </a:lnTo>
                <a:lnTo>
                  <a:pt x="882" y="495"/>
                </a:lnTo>
                <a:lnTo>
                  <a:pt x="888" y="499"/>
                </a:lnTo>
                <a:lnTo>
                  <a:pt x="889" y="503"/>
                </a:lnTo>
                <a:lnTo>
                  <a:pt x="887" y="511"/>
                </a:lnTo>
                <a:lnTo>
                  <a:pt x="880" y="518"/>
                </a:lnTo>
                <a:lnTo>
                  <a:pt x="848" y="549"/>
                </a:lnTo>
                <a:lnTo>
                  <a:pt x="840" y="559"/>
                </a:lnTo>
                <a:lnTo>
                  <a:pt x="836" y="570"/>
                </a:lnTo>
                <a:lnTo>
                  <a:pt x="835" y="581"/>
                </a:lnTo>
                <a:lnTo>
                  <a:pt x="837" y="592"/>
                </a:lnTo>
                <a:lnTo>
                  <a:pt x="840" y="597"/>
                </a:lnTo>
                <a:lnTo>
                  <a:pt x="848" y="601"/>
                </a:lnTo>
                <a:lnTo>
                  <a:pt x="853" y="603"/>
                </a:lnTo>
                <a:lnTo>
                  <a:pt x="858" y="606"/>
                </a:lnTo>
                <a:lnTo>
                  <a:pt x="890" y="627"/>
                </a:lnTo>
                <a:lnTo>
                  <a:pt x="901" y="631"/>
                </a:lnTo>
                <a:lnTo>
                  <a:pt x="929" y="635"/>
                </a:lnTo>
                <a:lnTo>
                  <a:pt x="938" y="637"/>
                </a:lnTo>
                <a:lnTo>
                  <a:pt x="942" y="641"/>
                </a:lnTo>
                <a:lnTo>
                  <a:pt x="942" y="646"/>
                </a:lnTo>
                <a:lnTo>
                  <a:pt x="938" y="652"/>
                </a:lnTo>
                <a:lnTo>
                  <a:pt x="926" y="662"/>
                </a:lnTo>
                <a:lnTo>
                  <a:pt x="925" y="667"/>
                </a:lnTo>
                <a:lnTo>
                  <a:pt x="927" y="672"/>
                </a:lnTo>
                <a:lnTo>
                  <a:pt x="931" y="675"/>
                </a:lnTo>
                <a:lnTo>
                  <a:pt x="936" y="683"/>
                </a:lnTo>
                <a:lnTo>
                  <a:pt x="931" y="698"/>
                </a:lnTo>
                <a:lnTo>
                  <a:pt x="819" y="706"/>
                </a:lnTo>
                <a:lnTo>
                  <a:pt x="810" y="708"/>
                </a:lnTo>
                <a:lnTo>
                  <a:pt x="802" y="711"/>
                </a:lnTo>
                <a:lnTo>
                  <a:pt x="795" y="715"/>
                </a:lnTo>
                <a:lnTo>
                  <a:pt x="779" y="724"/>
                </a:lnTo>
                <a:lnTo>
                  <a:pt x="715" y="744"/>
                </a:lnTo>
                <a:lnTo>
                  <a:pt x="697" y="747"/>
                </a:lnTo>
                <a:lnTo>
                  <a:pt x="674" y="747"/>
                </a:lnTo>
                <a:lnTo>
                  <a:pt x="668" y="749"/>
                </a:lnTo>
                <a:lnTo>
                  <a:pt x="659" y="754"/>
                </a:lnTo>
                <a:lnTo>
                  <a:pt x="600" y="782"/>
                </a:lnTo>
                <a:lnTo>
                  <a:pt x="567" y="785"/>
                </a:lnTo>
                <a:lnTo>
                  <a:pt x="558" y="787"/>
                </a:lnTo>
                <a:lnTo>
                  <a:pt x="550" y="790"/>
                </a:lnTo>
                <a:lnTo>
                  <a:pt x="543" y="791"/>
                </a:lnTo>
                <a:lnTo>
                  <a:pt x="536" y="790"/>
                </a:lnTo>
                <a:lnTo>
                  <a:pt x="526" y="788"/>
                </a:lnTo>
                <a:lnTo>
                  <a:pt x="518" y="789"/>
                </a:lnTo>
                <a:lnTo>
                  <a:pt x="510" y="791"/>
                </a:lnTo>
                <a:lnTo>
                  <a:pt x="500" y="792"/>
                </a:lnTo>
                <a:lnTo>
                  <a:pt x="493" y="796"/>
                </a:lnTo>
                <a:lnTo>
                  <a:pt x="480" y="803"/>
                </a:lnTo>
                <a:lnTo>
                  <a:pt x="472" y="805"/>
                </a:lnTo>
                <a:lnTo>
                  <a:pt x="459" y="810"/>
                </a:lnTo>
                <a:lnTo>
                  <a:pt x="451" y="814"/>
                </a:lnTo>
                <a:lnTo>
                  <a:pt x="425" y="831"/>
                </a:lnTo>
                <a:lnTo>
                  <a:pt x="409" y="840"/>
                </a:lnTo>
                <a:lnTo>
                  <a:pt x="399" y="841"/>
                </a:lnTo>
                <a:lnTo>
                  <a:pt x="391" y="840"/>
                </a:lnTo>
                <a:lnTo>
                  <a:pt x="385" y="836"/>
                </a:lnTo>
                <a:lnTo>
                  <a:pt x="378" y="834"/>
                </a:lnTo>
                <a:lnTo>
                  <a:pt x="375" y="835"/>
                </a:lnTo>
                <a:lnTo>
                  <a:pt x="373" y="837"/>
                </a:lnTo>
                <a:lnTo>
                  <a:pt x="369" y="847"/>
                </a:lnTo>
                <a:lnTo>
                  <a:pt x="365" y="850"/>
                </a:lnTo>
                <a:lnTo>
                  <a:pt x="358" y="849"/>
                </a:lnTo>
                <a:lnTo>
                  <a:pt x="352" y="845"/>
                </a:lnTo>
                <a:lnTo>
                  <a:pt x="345" y="842"/>
                </a:lnTo>
                <a:lnTo>
                  <a:pt x="335" y="841"/>
                </a:lnTo>
                <a:lnTo>
                  <a:pt x="319" y="841"/>
                </a:lnTo>
                <a:lnTo>
                  <a:pt x="271" y="849"/>
                </a:lnTo>
                <a:lnTo>
                  <a:pt x="252" y="850"/>
                </a:lnTo>
                <a:lnTo>
                  <a:pt x="218" y="848"/>
                </a:lnTo>
                <a:lnTo>
                  <a:pt x="218" y="831"/>
                </a:lnTo>
                <a:lnTo>
                  <a:pt x="216" y="825"/>
                </a:lnTo>
                <a:lnTo>
                  <a:pt x="212" y="821"/>
                </a:lnTo>
                <a:lnTo>
                  <a:pt x="189" y="817"/>
                </a:lnTo>
                <a:lnTo>
                  <a:pt x="178" y="814"/>
                </a:lnTo>
                <a:lnTo>
                  <a:pt x="172" y="801"/>
                </a:lnTo>
                <a:lnTo>
                  <a:pt x="169" y="798"/>
                </a:lnTo>
                <a:lnTo>
                  <a:pt x="165" y="798"/>
                </a:lnTo>
                <a:lnTo>
                  <a:pt x="157" y="799"/>
                </a:lnTo>
                <a:lnTo>
                  <a:pt x="154" y="798"/>
                </a:lnTo>
                <a:lnTo>
                  <a:pt x="153" y="791"/>
                </a:lnTo>
                <a:lnTo>
                  <a:pt x="151" y="787"/>
                </a:lnTo>
                <a:lnTo>
                  <a:pt x="148" y="785"/>
                </a:lnTo>
                <a:lnTo>
                  <a:pt x="141" y="786"/>
                </a:lnTo>
                <a:lnTo>
                  <a:pt x="129" y="789"/>
                </a:lnTo>
                <a:lnTo>
                  <a:pt x="124" y="788"/>
                </a:lnTo>
                <a:lnTo>
                  <a:pt x="110" y="785"/>
                </a:lnTo>
                <a:lnTo>
                  <a:pt x="101" y="785"/>
                </a:lnTo>
                <a:lnTo>
                  <a:pt x="92" y="787"/>
                </a:lnTo>
                <a:lnTo>
                  <a:pt x="70" y="801"/>
                </a:lnTo>
                <a:lnTo>
                  <a:pt x="65" y="801"/>
                </a:lnTo>
                <a:lnTo>
                  <a:pt x="63" y="798"/>
                </a:lnTo>
                <a:lnTo>
                  <a:pt x="65" y="790"/>
                </a:lnTo>
                <a:lnTo>
                  <a:pt x="71" y="779"/>
                </a:lnTo>
                <a:lnTo>
                  <a:pt x="73" y="772"/>
                </a:lnTo>
                <a:lnTo>
                  <a:pt x="74" y="763"/>
                </a:lnTo>
                <a:lnTo>
                  <a:pt x="74" y="731"/>
                </a:lnTo>
                <a:lnTo>
                  <a:pt x="72" y="721"/>
                </a:lnTo>
                <a:lnTo>
                  <a:pt x="65" y="710"/>
                </a:lnTo>
                <a:lnTo>
                  <a:pt x="48" y="689"/>
                </a:lnTo>
                <a:lnTo>
                  <a:pt x="34" y="667"/>
                </a:lnTo>
                <a:lnTo>
                  <a:pt x="23" y="660"/>
                </a:lnTo>
                <a:lnTo>
                  <a:pt x="8" y="658"/>
                </a:lnTo>
                <a:lnTo>
                  <a:pt x="3" y="654"/>
                </a:lnTo>
                <a:lnTo>
                  <a:pt x="0" y="649"/>
                </a:lnTo>
                <a:lnTo>
                  <a:pt x="3" y="645"/>
                </a:lnTo>
                <a:lnTo>
                  <a:pt x="6" y="643"/>
                </a:lnTo>
                <a:lnTo>
                  <a:pt x="10" y="640"/>
                </a:lnTo>
                <a:lnTo>
                  <a:pt x="13" y="634"/>
                </a:lnTo>
                <a:lnTo>
                  <a:pt x="16" y="629"/>
                </a:lnTo>
                <a:lnTo>
                  <a:pt x="16" y="619"/>
                </a:lnTo>
                <a:lnTo>
                  <a:pt x="17" y="612"/>
                </a:lnTo>
                <a:lnTo>
                  <a:pt x="20" y="604"/>
                </a:lnTo>
                <a:lnTo>
                  <a:pt x="26" y="593"/>
                </a:lnTo>
                <a:lnTo>
                  <a:pt x="34" y="579"/>
                </a:lnTo>
                <a:lnTo>
                  <a:pt x="36" y="566"/>
                </a:lnTo>
                <a:lnTo>
                  <a:pt x="36" y="552"/>
                </a:lnTo>
                <a:lnTo>
                  <a:pt x="32" y="528"/>
                </a:lnTo>
                <a:lnTo>
                  <a:pt x="25" y="504"/>
                </a:lnTo>
                <a:lnTo>
                  <a:pt x="25" y="497"/>
                </a:lnTo>
                <a:lnTo>
                  <a:pt x="31" y="479"/>
                </a:lnTo>
                <a:lnTo>
                  <a:pt x="45" y="473"/>
                </a:lnTo>
                <a:lnTo>
                  <a:pt x="52" y="471"/>
                </a:lnTo>
                <a:lnTo>
                  <a:pt x="70" y="467"/>
                </a:lnTo>
                <a:lnTo>
                  <a:pt x="75" y="464"/>
                </a:lnTo>
                <a:lnTo>
                  <a:pt x="79" y="459"/>
                </a:lnTo>
                <a:lnTo>
                  <a:pt x="82" y="449"/>
                </a:lnTo>
                <a:lnTo>
                  <a:pt x="84" y="432"/>
                </a:lnTo>
                <a:lnTo>
                  <a:pt x="88" y="422"/>
                </a:lnTo>
                <a:lnTo>
                  <a:pt x="95" y="413"/>
                </a:lnTo>
                <a:lnTo>
                  <a:pt x="107" y="401"/>
                </a:lnTo>
                <a:lnTo>
                  <a:pt x="114" y="390"/>
                </a:lnTo>
                <a:lnTo>
                  <a:pt x="121" y="377"/>
                </a:lnTo>
                <a:lnTo>
                  <a:pt x="122" y="369"/>
                </a:lnTo>
                <a:lnTo>
                  <a:pt x="121" y="361"/>
                </a:lnTo>
                <a:lnTo>
                  <a:pt x="123" y="355"/>
                </a:lnTo>
                <a:lnTo>
                  <a:pt x="125" y="347"/>
                </a:lnTo>
                <a:lnTo>
                  <a:pt x="134" y="333"/>
                </a:lnTo>
                <a:lnTo>
                  <a:pt x="137" y="324"/>
                </a:lnTo>
                <a:lnTo>
                  <a:pt x="138" y="318"/>
                </a:lnTo>
                <a:lnTo>
                  <a:pt x="128" y="299"/>
                </a:lnTo>
                <a:lnTo>
                  <a:pt x="131" y="290"/>
                </a:lnTo>
                <a:lnTo>
                  <a:pt x="139" y="277"/>
                </a:lnTo>
                <a:lnTo>
                  <a:pt x="157" y="252"/>
                </a:lnTo>
                <a:lnTo>
                  <a:pt x="166" y="235"/>
                </a:lnTo>
                <a:lnTo>
                  <a:pt x="170" y="220"/>
                </a:lnTo>
                <a:lnTo>
                  <a:pt x="173" y="160"/>
                </a:lnTo>
                <a:lnTo>
                  <a:pt x="172" y="152"/>
                </a:lnTo>
                <a:lnTo>
                  <a:pt x="174" y="148"/>
                </a:lnTo>
                <a:lnTo>
                  <a:pt x="177" y="142"/>
                </a:lnTo>
                <a:lnTo>
                  <a:pt x="185" y="141"/>
                </a:lnTo>
                <a:lnTo>
                  <a:pt x="190" y="140"/>
                </a:lnTo>
                <a:lnTo>
                  <a:pt x="206" y="135"/>
                </a:lnTo>
                <a:lnTo>
                  <a:pt x="212" y="135"/>
                </a:lnTo>
                <a:lnTo>
                  <a:pt x="216" y="137"/>
                </a:lnTo>
                <a:lnTo>
                  <a:pt x="224" y="143"/>
                </a:lnTo>
                <a:lnTo>
                  <a:pt x="228" y="145"/>
                </a:lnTo>
                <a:lnTo>
                  <a:pt x="232" y="144"/>
                </a:lnTo>
                <a:lnTo>
                  <a:pt x="241" y="141"/>
                </a:lnTo>
                <a:lnTo>
                  <a:pt x="246" y="136"/>
                </a:lnTo>
                <a:lnTo>
                  <a:pt x="254" y="123"/>
                </a:lnTo>
                <a:lnTo>
                  <a:pt x="256" y="115"/>
                </a:lnTo>
                <a:lnTo>
                  <a:pt x="258" y="111"/>
                </a:lnTo>
                <a:lnTo>
                  <a:pt x="260" y="109"/>
                </a:lnTo>
                <a:lnTo>
                  <a:pt x="267" y="109"/>
                </a:lnTo>
                <a:lnTo>
                  <a:pt x="281" y="113"/>
                </a:lnTo>
                <a:lnTo>
                  <a:pt x="287" y="113"/>
                </a:lnTo>
                <a:lnTo>
                  <a:pt x="291" y="110"/>
                </a:lnTo>
                <a:lnTo>
                  <a:pt x="298" y="98"/>
                </a:lnTo>
                <a:lnTo>
                  <a:pt x="302" y="93"/>
                </a:lnTo>
                <a:lnTo>
                  <a:pt x="306" y="92"/>
                </a:lnTo>
                <a:lnTo>
                  <a:pt x="309" y="89"/>
                </a:lnTo>
                <a:lnTo>
                  <a:pt x="311" y="82"/>
                </a:lnTo>
                <a:lnTo>
                  <a:pt x="312" y="64"/>
                </a:lnTo>
                <a:lnTo>
                  <a:pt x="316" y="58"/>
                </a:lnTo>
                <a:lnTo>
                  <a:pt x="320" y="53"/>
                </a:lnTo>
                <a:lnTo>
                  <a:pt x="344" y="45"/>
                </a:lnTo>
                <a:lnTo>
                  <a:pt x="391" y="21"/>
                </a:lnTo>
                <a:lnTo>
                  <a:pt x="400" y="15"/>
                </a:lnTo>
                <a:lnTo>
                  <a:pt x="408" y="0"/>
                </a:lnTo>
                <a:lnTo>
                  <a:pt x="438" y="7"/>
                </a:lnTo>
                <a:lnTo>
                  <a:pt x="445" y="11"/>
                </a:lnTo>
                <a:lnTo>
                  <a:pt x="445" y="12"/>
                </a:lnTo>
                <a:lnTo>
                  <a:pt x="445" y="13"/>
                </a:lnTo>
                <a:lnTo>
                  <a:pt x="444" y="15"/>
                </a:lnTo>
                <a:lnTo>
                  <a:pt x="444" y="17"/>
                </a:lnTo>
                <a:lnTo>
                  <a:pt x="442" y="18"/>
                </a:lnTo>
                <a:lnTo>
                  <a:pt x="442" y="19"/>
                </a:lnTo>
                <a:lnTo>
                  <a:pt x="441" y="20"/>
                </a:lnTo>
                <a:lnTo>
                  <a:pt x="440" y="21"/>
                </a:lnTo>
                <a:lnTo>
                  <a:pt x="440" y="24"/>
                </a:lnTo>
                <a:lnTo>
                  <a:pt x="440" y="31"/>
                </a:lnTo>
                <a:lnTo>
                  <a:pt x="445" y="52"/>
                </a:lnTo>
                <a:lnTo>
                  <a:pt x="449" y="65"/>
                </a:lnTo>
                <a:lnTo>
                  <a:pt x="458" y="72"/>
                </a:lnTo>
                <a:lnTo>
                  <a:pt x="470" y="74"/>
                </a:lnTo>
                <a:lnTo>
                  <a:pt x="537" y="76"/>
                </a:lnTo>
                <a:lnTo>
                  <a:pt x="555" y="80"/>
                </a:lnTo>
                <a:lnTo>
                  <a:pt x="564" y="84"/>
                </a:lnTo>
                <a:lnTo>
                  <a:pt x="571" y="8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34E30614-A9E4-C352-6E84-8C2CDC0A10CD}"/>
              </a:ext>
            </a:extLst>
          </p:cNvPr>
          <p:cNvSpPr>
            <a:spLocks/>
          </p:cNvSpPr>
          <p:nvPr/>
        </p:nvSpPr>
        <p:spPr bwMode="auto">
          <a:xfrm>
            <a:off x="6025292" y="3089852"/>
            <a:ext cx="2366493" cy="2102577"/>
          </a:xfrm>
          <a:custGeom>
            <a:avLst/>
            <a:gdLst>
              <a:gd name="T0" fmla="*/ 689 w 1522"/>
              <a:gd name="T1" fmla="*/ 147 h 1429"/>
              <a:gd name="T2" fmla="*/ 720 w 1522"/>
              <a:gd name="T3" fmla="*/ 247 h 1429"/>
              <a:gd name="T4" fmla="*/ 739 w 1522"/>
              <a:gd name="T5" fmla="*/ 312 h 1429"/>
              <a:gd name="T6" fmla="*/ 806 w 1522"/>
              <a:gd name="T7" fmla="*/ 345 h 1429"/>
              <a:gd name="T8" fmla="*/ 836 w 1522"/>
              <a:gd name="T9" fmla="*/ 389 h 1429"/>
              <a:gd name="T10" fmla="*/ 1218 w 1522"/>
              <a:gd name="T11" fmla="*/ 580 h 1429"/>
              <a:gd name="T12" fmla="*/ 1273 w 1522"/>
              <a:gd name="T13" fmla="*/ 653 h 1429"/>
              <a:gd name="T14" fmla="*/ 1305 w 1522"/>
              <a:gd name="T15" fmla="*/ 709 h 1429"/>
              <a:gd name="T16" fmla="*/ 1413 w 1522"/>
              <a:gd name="T17" fmla="*/ 725 h 1429"/>
              <a:gd name="T18" fmla="*/ 1499 w 1522"/>
              <a:gd name="T19" fmla="*/ 752 h 1429"/>
              <a:gd name="T20" fmla="*/ 1450 w 1522"/>
              <a:gd name="T21" fmla="*/ 775 h 1429"/>
              <a:gd name="T22" fmla="*/ 1029 w 1522"/>
              <a:gd name="T23" fmla="*/ 923 h 1429"/>
              <a:gd name="T24" fmla="*/ 732 w 1522"/>
              <a:gd name="T25" fmla="*/ 1027 h 1429"/>
              <a:gd name="T26" fmla="*/ 561 w 1522"/>
              <a:gd name="T27" fmla="*/ 1205 h 1429"/>
              <a:gd name="T28" fmla="*/ 500 w 1522"/>
              <a:gd name="T29" fmla="*/ 1299 h 1429"/>
              <a:gd name="T30" fmla="*/ 522 w 1522"/>
              <a:gd name="T31" fmla="*/ 1361 h 1429"/>
              <a:gd name="T32" fmla="*/ 473 w 1522"/>
              <a:gd name="T33" fmla="*/ 1368 h 1429"/>
              <a:gd name="T34" fmla="*/ 408 w 1522"/>
              <a:gd name="T35" fmla="*/ 1298 h 1429"/>
              <a:gd name="T36" fmla="*/ 393 w 1522"/>
              <a:gd name="T37" fmla="*/ 1339 h 1429"/>
              <a:gd name="T38" fmla="*/ 247 w 1522"/>
              <a:gd name="T39" fmla="*/ 1404 h 1429"/>
              <a:gd name="T40" fmla="*/ 189 w 1522"/>
              <a:gd name="T41" fmla="*/ 1406 h 1429"/>
              <a:gd name="T42" fmla="*/ 169 w 1522"/>
              <a:gd name="T43" fmla="*/ 1428 h 1429"/>
              <a:gd name="T44" fmla="*/ 81 w 1522"/>
              <a:gd name="T45" fmla="*/ 1407 h 1429"/>
              <a:gd name="T46" fmla="*/ 65 w 1522"/>
              <a:gd name="T47" fmla="*/ 1387 h 1429"/>
              <a:gd name="T48" fmla="*/ 50 w 1522"/>
              <a:gd name="T49" fmla="*/ 1363 h 1429"/>
              <a:gd name="T50" fmla="*/ 49 w 1522"/>
              <a:gd name="T51" fmla="*/ 1328 h 1429"/>
              <a:gd name="T52" fmla="*/ 65 w 1522"/>
              <a:gd name="T53" fmla="*/ 1306 h 1429"/>
              <a:gd name="T54" fmla="*/ 1 w 1522"/>
              <a:gd name="T55" fmla="*/ 1239 h 1429"/>
              <a:gd name="T56" fmla="*/ 148 w 1522"/>
              <a:gd name="T57" fmla="*/ 1133 h 1429"/>
              <a:gd name="T58" fmla="*/ 189 w 1522"/>
              <a:gd name="T59" fmla="*/ 1067 h 1429"/>
              <a:gd name="T60" fmla="*/ 214 w 1522"/>
              <a:gd name="T61" fmla="*/ 994 h 1429"/>
              <a:gd name="T62" fmla="*/ 242 w 1522"/>
              <a:gd name="T63" fmla="*/ 913 h 1429"/>
              <a:gd name="T64" fmla="*/ 252 w 1522"/>
              <a:gd name="T65" fmla="*/ 852 h 1429"/>
              <a:gd name="T66" fmla="*/ 349 w 1522"/>
              <a:gd name="T67" fmla="*/ 790 h 1429"/>
              <a:gd name="T68" fmla="*/ 319 w 1522"/>
              <a:gd name="T69" fmla="*/ 753 h 1429"/>
              <a:gd name="T70" fmla="*/ 290 w 1522"/>
              <a:gd name="T71" fmla="*/ 762 h 1429"/>
              <a:gd name="T72" fmla="*/ 274 w 1522"/>
              <a:gd name="T73" fmla="*/ 788 h 1429"/>
              <a:gd name="T74" fmla="*/ 264 w 1522"/>
              <a:gd name="T75" fmla="*/ 747 h 1429"/>
              <a:gd name="T76" fmla="*/ 278 w 1522"/>
              <a:gd name="T77" fmla="*/ 746 h 1429"/>
              <a:gd name="T78" fmla="*/ 304 w 1522"/>
              <a:gd name="T79" fmla="*/ 695 h 1429"/>
              <a:gd name="T80" fmla="*/ 309 w 1522"/>
              <a:gd name="T81" fmla="*/ 625 h 1429"/>
              <a:gd name="T82" fmla="*/ 243 w 1522"/>
              <a:gd name="T83" fmla="*/ 578 h 1429"/>
              <a:gd name="T84" fmla="*/ 276 w 1522"/>
              <a:gd name="T85" fmla="*/ 531 h 1429"/>
              <a:gd name="T86" fmla="*/ 295 w 1522"/>
              <a:gd name="T87" fmla="*/ 503 h 1429"/>
              <a:gd name="T88" fmla="*/ 313 w 1522"/>
              <a:gd name="T89" fmla="*/ 436 h 1429"/>
              <a:gd name="T90" fmla="*/ 323 w 1522"/>
              <a:gd name="T91" fmla="*/ 399 h 1429"/>
              <a:gd name="T92" fmla="*/ 306 w 1522"/>
              <a:gd name="T93" fmla="*/ 359 h 1429"/>
              <a:gd name="T94" fmla="*/ 352 w 1522"/>
              <a:gd name="T95" fmla="*/ 281 h 1429"/>
              <a:gd name="T96" fmla="*/ 340 w 1522"/>
              <a:gd name="T97" fmla="*/ 227 h 1429"/>
              <a:gd name="T98" fmla="*/ 330 w 1522"/>
              <a:gd name="T99" fmla="*/ 181 h 1429"/>
              <a:gd name="T100" fmla="*/ 347 w 1522"/>
              <a:gd name="T101" fmla="*/ 155 h 1429"/>
              <a:gd name="T102" fmla="*/ 385 w 1522"/>
              <a:gd name="T103" fmla="*/ 122 h 1429"/>
              <a:gd name="T104" fmla="*/ 386 w 1522"/>
              <a:gd name="T105" fmla="*/ 78 h 1429"/>
              <a:gd name="T106" fmla="*/ 413 w 1522"/>
              <a:gd name="T107" fmla="*/ 32 h 1429"/>
              <a:gd name="T108" fmla="*/ 485 w 1522"/>
              <a:gd name="T109" fmla="*/ 22 h 1429"/>
              <a:gd name="T110" fmla="*/ 561 w 1522"/>
              <a:gd name="T111" fmla="*/ 19 h 1429"/>
              <a:gd name="T112" fmla="*/ 611 w 1522"/>
              <a:gd name="T113" fmla="*/ 124 h 1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22" h="1429">
                <a:moveTo>
                  <a:pt x="625" y="147"/>
                </a:moveTo>
                <a:lnTo>
                  <a:pt x="635" y="146"/>
                </a:lnTo>
                <a:lnTo>
                  <a:pt x="666" y="139"/>
                </a:lnTo>
                <a:lnTo>
                  <a:pt x="679" y="141"/>
                </a:lnTo>
                <a:lnTo>
                  <a:pt x="689" y="147"/>
                </a:lnTo>
                <a:lnTo>
                  <a:pt x="696" y="162"/>
                </a:lnTo>
                <a:lnTo>
                  <a:pt x="705" y="207"/>
                </a:lnTo>
                <a:lnTo>
                  <a:pt x="718" y="226"/>
                </a:lnTo>
                <a:lnTo>
                  <a:pt x="720" y="232"/>
                </a:lnTo>
                <a:lnTo>
                  <a:pt x="720" y="247"/>
                </a:lnTo>
                <a:lnTo>
                  <a:pt x="722" y="255"/>
                </a:lnTo>
                <a:lnTo>
                  <a:pt x="732" y="273"/>
                </a:lnTo>
                <a:lnTo>
                  <a:pt x="735" y="281"/>
                </a:lnTo>
                <a:lnTo>
                  <a:pt x="737" y="302"/>
                </a:lnTo>
                <a:lnTo>
                  <a:pt x="739" y="312"/>
                </a:lnTo>
                <a:lnTo>
                  <a:pt x="745" y="319"/>
                </a:lnTo>
                <a:lnTo>
                  <a:pt x="757" y="326"/>
                </a:lnTo>
                <a:lnTo>
                  <a:pt x="784" y="332"/>
                </a:lnTo>
                <a:lnTo>
                  <a:pt x="797" y="337"/>
                </a:lnTo>
                <a:lnTo>
                  <a:pt x="806" y="345"/>
                </a:lnTo>
                <a:lnTo>
                  <a:pt x="809" y="355"/>
                </a:lnTo>
                <a:lnTo>
                  <a:pt x="812" y="367"/>
                </a:lnTo>
                <a:lnTo>
                  <a:pt x="816" y="377"/>
                </a:lnTo>
                <a:lnTo>
                  <a:pt x="825" y="385"/>
                </a:lnTo>
                <a:lnTo>
                  <a:pt x="836" y="389"/>
                </a:lnTo>
                <a:lnTo>
                  <a:pt x="859" y="395"/>
                </a:lnTo>
                <a:lnTo>
                  <a:pt x="1043" y="473"/>
                </a:lnTo>
                <a:lnTo>
                  <a:pt x="1197" y="573"/>
                </a:lnTo>
                <a:lnTo>
                  <a:pt x="1209" y="576"/>
                </a:lnTo>
                <a:lnTo>
                  <a:pt x="1218" y="580"/>
                </a:lnTo>
                <a:lnTo>
                  <a:pt x="1226" y="590"/>
                </a:lnTo>
                <a:lnTo>
                  <a:pt x="1239" y="612"/>
                </a:lnTo>
                <a:lnTo>
                  <a:pt x="1262" y="640"/>
                </a:lnTo>
                <a:lnTo>
                  <a:pt x="1268" y="650"/>
                </a:lnTo>
                <a:lnTo>
                  <a:pt x="1273" y="653"/>
                </a:lnTo>
                <a:lnTo>
                  <a:pt x="1278" y="658"/>
                </a:lnTo>
                <a:lnTo>
                  <a:pt x="1280" y="664"/>
                </a:lnTo>
                <a:lnTo>
                  <a:pt x="1281" y="667"/>
                </a:lnTo>
                <a:lnTo>
                  <a:pt x="1289" y="690"/>
                </a:lnTo>
                <a:lnTo>
                  <a:pt x="1305" y="709"/>
                </a:lnTo>
                <a:lnTo>
                  <a:pt x="1328" y="723"/>
                </a:lnTo>
                <a:lnTo>
                  <a:pt x="1355" y="732"/>
                </a:lnTo>
                <a:lnTo>
                  <a:pt x="1385" y="731"/>
                </a:lnTo>
                <a:lnTo>
                  <a:pt x="1406" y="725"/>
                </a:lnTo>
                <a:lnTo>
                  <a:pt x="1413" y="725"/>
                </a:lnTo>
                <a:lnTo>
                  <a:pt x="1424" y="733"/>
                </a:lnTo>
                <a:lnTo>
                  <a:pt x="1433" y="738"/>
                </a:lnTo>
                <a:lnTo>
                  <a:pt x="1456" y="743"/>
                </a:lnTo>
                <a:lnTo>
                  <a:pt x="1484" y="757"/>
                </a:lnTo>
                <a:lnTo>
                  <a:pt x="1499" y="752"/>
                </a:lnTo>
                <a:lnTo>
                  <a:pt x="1512" y="746"/>
                </a:lnTo>
                <a:lnTo>
                  <a:pt x="1522" y="748"/>
                </a:lnTo>
                <a:lnTo>
                  <a:pt x="1522" y="748"/>
                </a:lnTo>
                <a:lnTo>
                  <a:pt x="1512" y="754"/>
                </a:lnTo>
                <a:lnTo>
                  <a:pt x="1450" y="775"/>
                </a:lnTo>
                <a:lnTo>
                  <a:pt x="1366" y="806"/>
                </a:lnTo>
                <a:lnTo>
                  <a:pt x="1282" y="835"/>
                </a:lnTo>
                <a:lnTo>
                  <a:pt x="1198" y="864"/>
                </a:lnTo>
                <a:lnTo>
                  <a:pt x="1113" y="894"/>
                </a:lnTo>
                <a:lnTo>
                  <a:pt x="1029" y="923"/>
                </a:lnTo>
                <a:lnTo>
                  <a:pt x="945" y="953"/>
                </a:lnTo>
                <a:lnTo>
                  <a:pt x="861" y="982"/>
                </a:lnTo>
                <a:lnTo>
                  <a:pt x="776" y="1012"/>
                </a:lnTo>
                <a:lnTo>
                  <a:pt x="758" y="1018"/>
                </a:lnTo>
                <a:lnTo>
                  <a:pt x="732" y="1027"/>
                </a:lnTo>
                <a:lnTo>
                  <a:pt x="720" y="1033"/>
                </a:lnTo>
                <a:lnTo>
                  <a:pt x="670" y="1077"/>
                </a:lnTo>
                <a:lnTo>
                  <a:pt x="603" y="1168"/>
                </a:lnTo>
                <a:lnTo>
                  <a:pt x="570" y="1195"/>
                </a:lnTo>
                <a:lnTo>
                  <a:pt x="561" y="1205"/>
                </a:lnTo>
                <a:lnTo>
                  <a:pt x="540" y="1245"/>
                </a:lnTo>
                <a:lnTo>
                  <a:pt x="531" y="1257"/>
                </a:lnTo>
                <a:lnTo>
                  <a:pt x="508" y="1274"/>
                </a:lnTo>
                <a:lnTo>
                  <a:pt x="500" y="1284"/>
                </a:lnTo>
                <a:lnTo>
                  <a:pt x="500" y="1299"/>
                </a:lnTo>
                <a:lnTo>
                  <a:pt x="508" y="1311"/>
                </a:lnTo>
                <a:lnTo>
                  <a:pt x="517" y="1318"/>
                </a:lnTo>
                <a:lnTo>
                  <a:pt x="526" y="1328"/>
                </a:lnTo>
                <a:lnTo>
                  <a:pt x="528" y="1346"/>
                </a:lnTo>
                <a:lnTo>
                  <a:pt x="522" y="1361"/>
                </a:lnTo>
                <a:lnTo>
                  <a:pt x="511" y="1365"/>
                </a:lnTo>
                <a:lnTo>
                  <a:pt x="499" y="1367"/>
                </a:lnTo>
                <a:lnTo>
                  <a:pt x="489" y="1376"/>
                </a:lnTo>
                <a:lnTo>
                  <a:pt x="479" y="1380"/>
                </a:lnTo>
                <a:lnTo>
                  <a:pt x="473" y="1368"/>
                </a:lnTo>
                <a:lnTo>
                  <a:pt x="464" y="1325"/>
                </a:lnTo>
                <a:lnTo>
                  <a:pt x="459" y="1315"/>
                </a:lnTo>
                <a:lnTo>
                  <a:pt x="450" y="1307"/>
                </a:lnTo>
                <a:lnTo>
                  <a:pt x="422" y="1300"/>
                </a:lnTo>
                <a:lnTo>
                  <a:pt x="408" y="1298"/>
                </a:lnTo>
                <a:lnTo>
                  <a:pt x="396" y="1301"/>
                </a:lnTo>
                <a:lnTo>
                  <a:pt x="388" y="1314"/>
                </a:lnTo>
                <a:lnTo>
                  <a:pt x="390" y="1318"/>
                </a:lnTo>
                <a:lnTo>
                  <a:pt x="394" y="1331"/>
                </a:lnTo>
                <a:lnTo>
                  <a:pt x="393" y="1339"/>
                </a:lnTo>
                <a:lnTo>
                  <a:pt x="388" y="1368"/>
                </a:lnTo>
                <a:lnTo>
                  <a:pt x="380" y="1395"/>
                </a:lnTo>
                <a:lnTo>
                  <a:pt x="379" y="1395"/>
                </a:lnTo>
                <a:lnTo>
                  <a:pt x="295" y="1394"/>
                </a:lnTo>
                <a:lnTo>
                  <a:pt x="247" y="1404"/>
                </a:lnTo>
                <a:lnTo>
                  <a:pt x="234" y="1404"/>
                </a:lnTo>
                <a:lnTo>
                  <a:pt x="208" y="1401"/>
                </a:lnTo>
                <a:lnTo>
                  <a:pt x="199" y="1402"/>
                </a:lnTo>
                <a:lnTo>
                  <a:pt x="193" y="1404"/>
                </a:lnTo>
                <a:lnTo>
                  <a:pt x="189" y="1406"/>
                </a:lnTo>
                <a:lnTo>
                  <a:pt x="187" y="1409"/>
                </a:lnTo>
                <a:lnTo>
                  <a:pt x="180" y="1421"/>
                </a:lnTo>
                <a:lnTo>
                  <a:pt x="177" y="1426"/>
                </a:lnTo>
                <a:lnTo>
                  <a:pt x="173" y="1429"/>
                </a:lnTo>
                <a:lnTo>
                  <a:pt x="169" y="1428"/>
                </a:lnTo>
                <a:lnTo>
                  <a:pt x="157" y="1422"/>
                </a:lnTo>
                <a:lnTo>
                  <a:pt x="150" y="1420"/>
                </a:lnTo>
                <a:lnTo>
                  <a:pt x="127" y="1417"/>
                </a:lnTo>
                <a:lnTo>
                  <a:pt x="99" y="1409"/>
                </a:lnTo>
                <a:lnTo>
                  <a:pt x="81" y="1407"/>
                </a:lnTo>
                <a:lnTo>
                  <a:pt x="73" y="1403"/>
                </a:lnTo>
                <a:lnTo>
                  <a:pt x="70" y="1400"/>
                </a:lnTo>
                <a:lnTo>
                  <a:pt x="69" y="1394"/>
                </a:lnTo>
                <a:lnTo>
                  <a:pt x="67" y="1391"/>
                </a:lnTo>
                <a:lnTo>
                  <a:pt x="65" y="1387"/>
                </a:lnTo>
                <a:lnTo>
                  <a:pt x="59" y="1382"/>
                </a:lnTo>
                <a:lnTo>
                  <a:pt x="56" y="1378"/>
                </a:lnTo>
                <a:lnTo>
                  <a:pt x="53" y="1374"/>
                </a:lnTo>
                <a:lnTo>
                  <a:pt x="52" y="1369"/>
                </a:lnTo>
                <a:lnTo>
                  <a:pt x="50" y="1363"/>
                </a:lnTo>
                <a:lnTo>
                  <a:pt x="49" y="1351"/>
                </a:lnTo>
                <a:lnTo>
                  <a:pt x="46" y="1341"/>
                </a:lnTo>
                <a:lnTo>
                  <a:pt x="46" y="1337"/>
                </a:lnTo>
                <a:lnTo>
                  <a:pt x="46" y="1332"/>
                </a:lnTo>
                <a:lnTo>
                  <a:pt x="49" y="1328"/>
                </a:lnTo>
                <a:lnTo>
                  <a:pt x="53" y="1325"/>
                </a:lnTo>
                <a:lnTo>
                  <a:pt x="60" y="1317"/>
                </a:lnTo>
                <a:lnTo>
                  <a:pt x="63" y="1314"/>
                </a:lnTo>
                <a:lnTo>
                  <a:pt x="65" y="1310"/>
                </a:lnTo>
                <a:lnTo>
                  <a:pt x="65" y="1306"/>
                </a:lnTo>
                <a:lnTo>
                  <a:pt x="62" y="1301"/>
                </a:lnTo>
                <a:lnTo>
                  <a:pt x="58" y="1296"/>
                </a:lnTo>
                <a:lnTo>
                  <a:pt x="3" y="1257"/>
                </a:lnTo>
                <a:lnTo>
                  <a:pt x="0" y="1245"/>
                </a:lnTo>
                <a:lnTo>
                  <a:pt x="1" y="1239"/>
                </a:lnTo>
                <a:lnTo>
                  <a:pt x="4" y="1233"/>
                </a:lnTo>
                <a:lnTo>
                  <a:pt x="86" y="1167"/>
                </a:lnTo>
                <a:lnTo>
                  <a:pt x="99" y="1154"/>
                </a:lnTo>
                <a:lnTo>
                  <a:pt x="125" y="1146"/>
                </a:lnTo>
                <a:lnTo>
                  <a:pt x="148" y="1133"/>
                </a:lnTo>
                <a:lnTo>
                  <a:pt x="164" y="1120"/>
                </a:lnTo>
                <a:lnTo>
                  <a:pt x="182" y="1101"/>
                </a:lnTo>
                <a:lnTo>
                  <a:pt x="188" y="1089"/>
                </a:lnTo>
                <a:lnTo>
                  <a:pt x="190" y="1077"/>
                </a:lnTo>
                <a:lnTo>
                  <a:pt x="189" y="1067"/>
                </a:lnTo>
                <a:lnTo>
                  <a:pt x="189" y="1056"/>
                </a:lnTo>
                <a:lnTo>
                  <a:pt x="192" y="1045"/>
                </a:lnTo>
                <a:lnTo>
                  <a:pt x="208" y="1012"/>
                </a:lnTo>
                <a:lnTo>
                  <a:pt x="210" y="1005"/>
                </a:lnTo>
                <a:lnTo>
                  <a:pt x="214" y="994"/>
                </a:lnTo>
                <a:lnTo>
                  <a:pt x="245" y="942"/>
                </a:lnTo>
                <a:lnTo>
                  <a:pt x="250" y="933"/>
                </a:lnTo>
                <a:lnTo>
                  <a:pt x="250" y="926"/>
                </a:lnTo>
                <a:lnTo>
                  <a:pt x="247" y="920"/>
                </a:lnTo>
                <a:lnTo>
                  <a:pt x="242" y="913"/>
                </a:lnTo>
                <a:lnTo>
                  <a:pt x="237" y="907"/>
                </a:lnTo>
                <a:lnTo>
                  <a:pt x="232" y="901"/>
                </a:lnTo>
                <a:lnTo>
                  <a:pt x="230" y="897"/>
                </a:lnTo>
                <a:lnTo>
                  <a:pt x="231" y="892"/>
                </a:lnTo>
                <a:lnTo>
                  <a:pt x="252" y="852"/>
                </a:lnTo>
                <a:lnTo>
                  <a:pt x="257" y="846"/>
                </a:lnTo>
                <a:lnTo>
                  <a:pt x="265" y="840"/>
                </a:lnTo>
                <a:lnTo>
                  <a:pt x="339" y="803"/>
                </a:lnTo>
                <a:lnTo>
                  <a:pt x="346" y="796"/>
                </a:lnTo>
                <a:lnTo>
                  <a:pt x="349" y="790"/>
                </a:lnTo>
                <a:lnTo>
                  <a:pt x="349" y="784"/>
                </a:lnTo>
                <a:lnTo>
                  <a:pt x="347" y="779"/>
                </a:lnTo>
                <a:lnTo>
                  <a:pt x="345" y="773"/>
                </a:lnTo>
                <a:lnTo>
                  <a:pt x="340" y="768"/>
                </a:lnTo>
                <a:lnTo>
                  <a:pt x="319" y="753"/>
                </a:lnTo>
                <a:lnTo>
                  <a:pt x="315" y="751"/>
                </a:lnTo>
                <a:lnTo>
                  <a:pt x="309" y="751"/>
                </a:lnTo>
                <a:lnTo>
                  <a:pt x="303" y="753"/>
                </a:lnTo>
                <a:lnTo>
                  <a:pt x="296" y="756"/>
                </a:lnTo>
                <a:lnTo>
                  <a:pt x="290" y="762"/>
                </a:lnTo>
                <a:lnTo>
                  <a:pt x="286" y="769"/>
                </a:lnTo>
                <a:lnTo>
                  <a:pt x="283" y="777"/>
                </a:lnTo>
                <a:lnTo>
                  <a:pt x="281" y="783"/>
                </a:lnTo>
                <a:lnTo>
                  <a:pt x="279" y="787"/>
                </a:lnTo>
                <a:lnTo>
                  <a:pt x="274" y="788"/>
                </a:lnTo>
                <a:lnTo>
                  <a:pt x="268" y="785"/>
                </a:lnTo>
                <a:lnTo>
                  <a:pt x="263" y="780"/>
                </a:lnTo>
                <a:lnTo>
                  <a:pt x="261" y="773"/>
                </a:lnTo>
                <a:lnTo>
                  <a:pt x="260" y="767"/>
                </a:lnTo>
                <a:lnTo>
                  <a:pt x="264" y="747"/>
                </a:lnTo>
                <a:lnTo>
                  <a:pt x="268" y="749"/>
                </a:lnTo>
                <a:lnTo>
                  <a:pt x="270" y="749"/>
                </a:lnTo>
                <a:lnTo>
                  <a:pt x="273" y="749"/>
                </a:lnTo>
                <a:lnTo>
                  <a:pt x="275" y="748"/>
                </a:lnTo>
                <a:lnTo>
                  <a:pt x="278" y="746"/>
                </a:lnTo>
                <a:lnTo>
                  <a:pt x="284" y="739"/>
                </a:lnTo>
                <a:lnTo>
                  <a:pt x="301" y="714"/>
                </a:lnTo>
                <a:lnTo>
                  <a:pt x="303" y="708"/>
                </a:lnTo>
                <a:lnTo>
                  <a:pt x="304" y="703"/>
                </a:lnTo>
                <a:lnTo>
                  <a:pt x="304" y="695"/>
                </a:lnTo>
                <a:lnTo>
                  <a:pt x="305" y="689"/>
                </a:lnTo>
                <a:lnTo>
                  <a:pt x="307" y="677"/>
                </a:lnTo>
                <a:lnTo>
                  <a:pt x="306" y="639"/>
                </a:lnTo>
                <a:lnTo>
                  <a:pt x="307" y="631"/>
                </a:lnTo>
                <a:lnTo>
                  <a:pt x="309" y="625"/>
                </a:lnTo>
                <a:lnTo>
                  <a:pt x="305" y="617"/>
                </a:lnTo>
                <a:lnTo>
                  <a:pt x="294" y="610"/>
                </a:lnTo>
                <a:lnTo>
                  <a:pt x="253" y="591"/>
                </a:lnTo>
                <a:lnTo>
                  <a:pt x="244" y="586"/>
                </a:lnTo>
                <a:lnTo>
                  <a:pt x="243" y="578"/>
                </a:lnTo>
                <a:lnTo>
                  <a:pt x="266" y="562"/>
                </a:lnTo>
                <a:lnTo>
                  <a:pt x="270" y="556"/>
                </a:lnTo>
                <a:lnTo>
                  <a:pt x="274" y="547"/>
                </a:lnTo>
                <a:lnTo>
                  <a:pt x="274" y="540"/>
                </a:lnTo>
                <a:lnTo>
                  <a:pt x="276" y="531"/>
                </a:lnTo>
                <a:lnTo>
                  <a:pt x="282" y="524"/>
                </a:lnTo>
                <a:lnTo>
                  <a:pt x="294" y="516"/>
                </a:lnTo>
                <a:lnTo>
                  <a:pt x="297" y="511"/>
                </a:lnTo>
                <a:lnTo>
                  <a:pt x="297" y="507"/>
                </a:lnTo>
                <a:lnTo>
                  <a:pt x="295" y="503"/>
                </a:lnTo>
                <a:lnTo>
                  <a:pt x="294" y="500"/>
                </a:lnTo>
                <a:lnTo>
                  <a:pt x="292" y="474"/>
                </a:lnTo>
                <a:lnTo>
                  <a:pt x="296" y="455"/>
                </a:lnTo>
                <a:lnTo>
                  <a:pt x="303" y="444"/>
                </a:lnTo>
                <a:lnTo>
                  <a:pt x="313" y="436"/>
                </a:lnTo>
                <a:lnTo>
                  <a:pt x="322" y="432"/>
                </a:lnTo>
                <a:lnTo>
                  <a:pt x="331" y="425"/>
                </a:lnTo>
                <a:lnTo>
                  <a:pt x="333" y="420"/>
                </a:lnTo>
                <a:lnTo>
                  <a:pt x="326" y="407"/>
                </a:lnTo>
                <a:lnTo>
                  <a:pt x="323" y="399"/>
                </a:lnTo>
                <a:lnTo>
                  <a:pt x="323" y="383"/>
                </a:lnTo>
                <a:lnTo>
                  <a:pt x="321" y="375"/>
                </a:lnTo>
                <a:lnTo>
                  <a:pt x="316" y="368"/>
                </a:lnTo>
                <a:lnTo>
                  <a:pt x="312" y="365"/>
                </a:lnTo>
                <a:lnTo>
                  <a:pt x="306" y="359"/>
                </a:lnTo>
                <a:lnTo>
                  <a:pt x="304" y="354"/>
                </a:lnTo>
                <a:lnTo>
                  <a:pt x="303" y="346"/>
                </a:lnTo>
                <a:lnTo>
                  <a:pt x="306" y="339"/>
                </a:lnTo>
                <a:lnTo>
                  <a:pt x="325" y="311"/>
                </a:lnTo>
                <a:lnTo>
                  <a:pt x="352" y="281"/>
                </a:lnTo>
                <a:lnTo>
                  <a:pt x="353" y="273"/>
                </a:lnTo>
                <a:lnTo>
                  <a:pt x="348" y="252"/>
                </a:lnTo>
                <a:lnTo>
                  <a:pt x="346" y="236"/>
                </a:lnTo>
                <a:lnTo>
                  <a:pt x="344" y="230"/>
                </a:lnTo>
                <a:lnTo>
                  <a:pt x="340" y="227"/>
                </a:lnTo>
                <a:lnTo>
                  <a:pt x="336" y="223"/>
                </a:lnTo>
                <a:lnTo>
                  <a:pt x="333" y="217"/>
                </a:lnTo>
                <a:lnTo>
                  <a:pt x="331" y="207"/>
                </a:lnTo>
                <a:lnTo>
                  <a:pt x="330" y="195"/>
                </a:lnTo>
                <a:lnTo>
                  <a:pt x="330" y="181"/>
                </a:lnTo>
                <a:lnTo>
                  <a:pt x="331" y="173"/>
                </a:lnTo>
                <a:lnTo>
                  <a:pt x="334" y="167"/>
                </a:lnTo>
                <a:lnTo>
                  <a:pt x="339" y="163"/>
                </a:lnTo>
                <a:lnTo>
                  <a:pt x="343" y="159"/>
                </a:lnTo>
                <a:lnTo>
                  <a:pt x="347" y="155"/>
                </a:lnTo>
                <a:lnTo>
                  <a:pt x="353" y="147"/>
                </a:lnTo>
                <a:lnTo>
                  <a:pt x="357" y="142"/>
                </a:lnTo>
                <a:lnTo>
                  <a:pt x="364" y="136"/>
                </a:lnTo>
                <a:lnTo>
                  <a:pt x="379" y="128"/>
                </a:lnTo>
                <a:lnTo>
                  <a:pt x="385" y="122"/>
                </a:lnTo>
                <a:lnTo>
                  <a:pt x="391" y="117"/>
                </a:lnTo>
                <a:lnTo>
                  <a:pt x="393" y="110"/>
                </a:lnTo>
                <a:lnTo>
                  <a:pt x="394" y="103"/>
                </a:lnTo>
                <a:lnTo>
                  <a:pt x="393" y="96"/>
                </a:lnTo>
                <a:lnTo>
                  <a:pt x="386" y="78"/>
                </a:lnTo>
                <a:lnTo>
                  <a:pt x="386" y="68"/>
                </a:lnTo>
                <a:lnTo>
                  <a:pt x="388" y="62"/>
                </a:lnTo>
                <a:lnTo>
                  <a:pt x="395" y="53"/>
                </a:lnTo>
                <a:lnTo>
                  <a:pt x="406" y="38"/>
                </a:lnTo>
                <a:lnTo>
                  <a:pt x="413" y="32"/>
                </a:lnTo>
                <a:lnTo>
                  <a:pt x="426" y="25"/>
                </a:lnTo>
                <a:lnTo>
                  <a:pt x="435" y="22"/>
                </a:lnTo>
                <a:lnTo>
                  <a:pt x="458" y="27"/>
                </a:lnTo>
                <a:lnTo>
                  <a:pt x="475" y="26"/>
                </a:lnTo>
                <a:lnTo>
                  <a:pt x="485" y="22"/>
                </a:lnTo>
                <a:lnTo>
                  <a:pt x="496" y="18"/>
                </a:lnTo>
                <a:lnTo>
                  <a:pt x="502" y="13"/>
                </a:lnTo>
                <a:lnTo>
                  <a:pt x="515" y="0"/>
                </a:lnTo>
                <a:lnTo>
                  <a:pt x="544" y="5"/>
                </a:lnTo>
                <a:lnTo>
                  <a:pt x="561" y="19"/>
                </a:lnTo>
                <a:lnTo>
                  <a:pt x="570" y="29"/>
                </a:lnTo>
                <a:lnTo>
                  <a:pt x="579" y="39"/>
                </a:lnTo>
                <a:lnTo>
                  <a:pt x="585" y="48"/>
                </a:lnTo>
                <a:lnTo>
                  <a:pt x="605" y="102"/>
                </a:lnTo>
                <a:lnTo>
                  <a:pt x="611" y="124"/>
                </a:lnTo>
                <a:lnTo>
                  <a:pt x="617" y="139"/>
                </a:lnTo>
                <a:lnTo>
                  <a:pt x="625" y="147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1" name="Freeform 15">
            <a:extLst>
              <a:ext uri="{FF2B5EF4-FFF2-40B4-BE49-F238E27FC236}">
                <a16:creationId xmlns:a16="http://schemas.microsoft.com/office/drawing/2014/main" id="{5E7007B1-BBF2-6D07-FD39-5409E654CF6C}"/>
              </a:ext>
            </a:extLst>
          </p:cNvPr>
          <p:cNvSpPr>
            <a:spLocks/>
          </p:cNvSpPr>
          <p:nvPr/>
        </p:nvSpPr>
        <p:spPr bwMode="auto">
          <a:xfrm>
            <a:off x="3971327" y="1294789"/>
            <a:ext cx="1571960" cy="2183502"/>
          </a:xfrm>
          <a:custGeom>
            <a:avLst/>
            <a:gdLst>
              <a:gd name="T0" fmla="*/ 843 w 1011"/>
              <a:gd name="T1" fmla="*/ 134 h 1484"/>
              <a:gd name="T2" fmla="*/ 853 w 1011"/>
              <a:gd name="T3" fmla="*/ 152 h 1484"/>
              <a:gd name="T4" fmla="*/ 890 w 1011"/>
              <a:gd name="T5" fmla="*/ 170 h 1484"/>
              <a:gd name="T6" fmla="*/ 885 w 1011"/>
              <a:gd name="T7" fmla="*/ 194 h 1484"/>
              <a:gd name="T8" fmla="*/ 879 w 1011"/>
              <a:gd name="T9" fmla="*/ 210 h 1484"/>
              <a:gd name="T10" fmla="*/ 869 w 1011"/>
              <a:gd name="T11" fmla="*/ 220 h 1484"/>
              <a:gd name="T12" fmla="*/ 884 w 1011"/>
              <a:gd name="T13" fmla="*/ 260 h 1484"/>
              <a:gd name="T14" fmla="*/ 893 w 1011"/>
              <a:gd name="T15" fmla="*/ 304 h 1484"/>
              <a:gd name="T16" fmla="*/ 954 w 1011"/>
              <a:gd name="T17" fmla="*/ 361 h 1484"/>
              <a:gd name="T18" fmla="*/ 1006 w 1011"/>
              <a:gd name="T19" fmla="*/ 388 h 1484"/>
              <a:gd name="T20" fmla="*/ 973 w 1011"/>
              <a:gd name="T21" fmla="*/ 600 h 1484"/>
              <a:gd name="T22" fmla="*/ 915 w 1011"/>
              <a:gd name="T23" fmla="*/ 721 h 1484"/>
              <a:gd name="T24" fmla="*/ 824 w 1011"/>
              <a:gd name="T25" fmla="*/ 826 h 1484"/>
              <a:gd name="T26" fmla="*/ 765 w 1011"/>
              <a:gd name="T27" fmla="*/ 899 h 1484"/>
              <a:gd name="T28" fmla="*/ 744 w 1011"/>
              <a:gd name="T29" fmla="*/ 936 h 1484"/>
              <a:gd name="T30" fmla="*/ 655 w 1011"/>
              <a:gd name="T31" fmla="*/ 1016 h 1484"/>
              <a:gd name="T32" fmla="*/ 630 w 1011"/>
              <a:gd name="T33" fmla="*/ 999 h 1484"/>
              <a:gd name="T34" fmla="*/ 598 w 1011"/>
              <a:gd name="T35" fmla="*/ 1066 h 1484"/>
              <a:gd name="T36" fmla="*/ 524 w 1011"/>
              <a:gd name="T37" fmla="*/ 1167 h 1484"/>
              <a:gd name="T38" fmla="*/ 488 w 1011"/>
              <a:gd name="T39" fmla="*/ 1203 h 1484"/>
              <a:gd name="T40" fmla="*/ 491 w 1011"/>
              <a:gd name="T41" fmla="*/ 1268 h 1484"/>
              <a:gd name="T42" fmla="*/ 434 w 1011"/>
              <a:gd name="T43" fmla="*/ 1318 h 1484"/>
              <a:gd name="T44" fmla="*/ 460 w 1011"/>
              <a:gd name="T45" fmla="*/ 1343 h 1484"/>
              <a:gd name="T46" fmla="*/ 417 w 1011"/>
              <a:gd name="T47" fmla="*/ 1387 h 1484"/>
              <a:gd name="T48" fmla="*/ 381 w 1011"/>
              <a:gd name="T49" fmla="*/ 1396 h 1484"/>
              <a:gd name="T50" fmla="*/ 339 w 1011"/>
              <a:gd name="T51" fmla="*/ 1435 h 1484"/>
              <a:gd name="T52" fmla="*/ 324 w 1011"/>
              <a:gd name="T53" fmla="*/ 1476 h 1484"/>
              <a:gd name="T54" fmla="*/ 237 w 1011"/>
              <a:gd name="T55" fmla="*/ 1467 h 1484"/>
              <a:gd name="T56" fmla="*/ 252 w 1011"/>
              <a:gd name="T57" fmla="*/ 1407 h 1484"/>
              <a:gd name="T58" fmla="*/ 236 w 1011"/>
              <a:gd name="T59" fmla="*/ 1367 h 1484"/>
              <a:gd name="T60" fmla="*/ 101 w 1011"/>
              <a:gd name="T61" fmla="*/ 1370 h 1484"/>
              <a:gd name="T62" fmla="*/ 41 w 1011"/>
              <a:gd name="T63" fmla="*/ 1324 h 1484"/>
              <a:gd name="T64" fmla="*/ 78 w 1011"/>
              <a:gd name="T65" fmla="*/ 1242 h 1484"/>
              <a:gd name="T66" fmla="*/ 102 w 1011"/>
              <a:gd name="T67" fmla="*/ 1182 h 1484"/>
              <a:gd name="T68" fmla="*/ 9 w 1011"/>
              <a:gd name="T69" fmla="*/ 983 h 1484"/>
              <a:gd name="T70" fmla="*/ 41 w 1011"/>
              <a:gd name="T71" fmla="*/ 912 h 1484"/>
              <a:gd name="T72" fmla="*/ 95 w 1011"/>
              <a:gd name="T73" fmla="*/ 882 h 1484"/>
              <a:gd name="T74" fmla="*/ 150 w 1011"/>
              <a:gd name="T75" fmla="*/ 886 h 1484"/>
              <a:gd name="T76" fmla="*/ 200 w 1011"/>
              <a:gd name="T77" fmla="*/ 881 h 1484"/>
              <a:gd name="T78" fmla="*/ 280 w 1011"/>
              <a:gd name="T79" fmla="*/ 714 h 1484"/>
              <a:gd name="T80" fmla="*/ 332 w 1011"/>
              <a:gd name="T81" fmla="*/ 669 h 1484"/>
              <a:gd name="T82" fmla="*/ 374 w 1011"/>
              <a:gd name="T83" fmla="*/ 677 h 1484"/>
              <a:gd name="T84" fmla="*/ 319 w 1011"/>
              <a:gd name="T85" fmla="*/ 607 h 1484"/>
              <a:gd name="T86" fmla="*/ 302 w 1011"/>
              <a:gd name="T87" fmla="*/ 495 h 1484"/>
              <a:gd name="T88" fmla="*/ 379 w 1011"/>
              <a:gd name="T89" fmla="*/ 395 h 1484"/>
              <a:gd name="T90" fmla="*/ 498 w 1011"/>
              <a:gd name="T91" fmla="*/ 301 h 1484"/>
              <a:gd name="T92" fmla="*/ 569 w 1011"/>
              <a:gd name="T93" fmla="*/ 215 h 1484"/>
              <a:gd name="T94" fmla="*/ 587 w 1011"/>
              <a:gd name="T95" fmla="*/ 19 h 1484"/>
              <a:gd name="T96" fmla="*/ 610 w 1011"/>
              <a:gd name="T97" fmla="*/ 33 h 1484"/>
              <a:gd name="T98" fmla="*/ 649 w 1011"/>
              <a:gd name="T99" fmla="*/ 75 h 1484"/>
              <a:gd name="T100" fmla="*/ 673 w 1011"/>
              <a:gd name="T101" fmla="*/ 67 h 1484"/>
              <a:gd name="T102" fmla="*/ 686 w 1011"/>
              <a:gd name="T103" fmla="*/ 38 h 1484"/>
              <a:gd name="T104" fmla="*/ 746 w 1011"/>
              <a:gd name="T105" fmla="*/ 31 h 1484"/>
              <a:gd name="T106" fmla="*/ 792 w 1011"/>
              <a:gd name="T107" fmla="*/ 0 h 1484"/>
              <a:gd name="T108" fmla="*/ 817 w 1011"/>
              <a:gd name="T109" fmla="*/ 17 h 1484"/>
              <a:gd name="T110" fmla="*/ 805 w 1011"/>
              <a:gd name="T111" fmla="*/ 35 h 1484"/>
              <a:gd name="T112" fmla="*/ 810 w 1011"/>
              <a:gd name="T113" fmla="*/ 52 h 1484"/>
              <a:gd name="T114" fmla="*/ 844 w 1011"/>
              <a:gd name="T115" fmla="*/ 82 h 1484"/>
              <a:gd name="T116" fmla="*/ 811 w 1011"/>
              <a:gd name="T117" fmla="*/ 122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11" h="1484">
                <a:moveTo>
                  <a:pt x="830" y="137"/>
                </a:moveTo>
                <a:lnTo>
                  <a:pt x="832" y="136"/>
                </a:lnTo>
                <a:lnTo>
                  <a:pt x="833" y="135"/>
                </a:lnTo>
                <a:lnTo>
                  <a:pt x="835" y="134"/>
                </a:lnTo>
                <a:lnTo>
                  <a:pt x="837" y="133"/>
                </a:lnTo>
                <a:lnTo>
                  <a:pt x="841" y="133"/>
                </a:lnTo>
                <a:lnTo>
                  <a:pt x="843" y="134"/>
                </a:lnTo>
                <a:lnTo>
                  <a:pt x="844" y="136"/>
                </a:lnTo>
                <a:lnTo>
                  <a:pt x="845" y="148"/>
                </a:lnTo>
                <a:lnTo>
                  <a:pt x="846" y="151"/>
                </a:lnTo>
                <a:lnTo>
                  <a:pt x="847" y="152"/>
                </a:lnTo>
                <a:lnTo>
                  <a:pt x="849" y="153"/>
                </a:lnTo>
                <a:lnTo>
                  <a:pt x="851" y="153"/>
                </a:lnTo>
                <a:lnTo>
                  <a:pt x="853" y="152"/>
                </a:lnTo>
                <a:lnTo>
                  <a:pt x="858" y="148"/>
                </a:lnTo>
                <a:lnTo>
                  <a:pt x="862" y="147"/>
                </a:lnTo>
                <a:lnTo>
                  <a:pt x="866" y="147"/>
                </a:lnTo>
                <a:lnTo>
                  <a:pt x="868" y="150"/>
                </a:lnTo>
                <a:lnTo>
                  <a:pt x="872" y="155"/>
                </a:lnTo>
                <a:lnTo>
                  <a:pt x="885" y="166"/>
                </a:lnTo>
                <a:lnTo>
                  <a:pt x="890" y="170"/>
                </a:lnTo>
                <a:lnTo>
                  <a:pt x="895" y="171"/>
                </a:lnTo>
                <a:lnTo>
                  <a:pt x="899" y="171"/>
                </a:lnTo>
                <a:lnTo>
                  <a:pt x="901" y="172"/>
                </a:lnTo>
                <a:lnTo>
                  <a:pt x="902" y="172"/>
                </a:lnTo>
                <a:lnTo>
                  <a:pt x="902" y="174"/>
                </a:lnTo>
                <a:lnTo>
                  <a:pt x="902" y="175"/>
                </a:lnTo>
                <a:lnTo>
                  <a:pt x="885" y="194"/>
                </a:lnTo>
                <a:lnTo>
                  <a:pt x="883" y="197"/>
                </a:lnTo>
                <a:lnTo>
                  <a:pt x="882" y="199"/>
                </a:lnTo>
                <a:lnTo>
                  <a:pt x="882" y="203"/>
                </a:lnTo>
                <a:lnTo>
                  <a:pt x="881" y="207"/>
                </a:lnTo>
                <a:lnTo>
                  <a:pt x="881" y="209"/>
                </a:lnTo>
                <a:lnTo>
                  <a:pt x="880" y="210"/>
                </a:lnTo>
                <a:lnTo>
                  <a:pt x="879" y="210"/>
                </a:lnTo>
                <a:lnTo>
                  <a:pt x="877" y="211"/>
                </a:lnTo>
                <a:lnTo>
                  <a:pt x="875" y="212"/>
                </a:lnTo>
                <a:lnTo>
                  <a:pt x="873" y="212"/>
                </a:lnTo>
                <a:lnTo>
                  <a:pt x="872" y="214"/>
                </a:lnTo>
                <a:lnTo>
                  <a:pt x="871" y="215"/>
                </a:lnTo>
                <a:lnTo>
                  <a:pt x="870" y="217"/>
                </a:lnTo>
                <a:lnTo>
                  <a:pt x="869" y="220"/>
                </a:lnTo>
                <a:lnTo>
                  <a:pt x="869" y="222"/>
                </a:lnTo>
                <a:lnTo>
                  <a:pt x="869" y="225"/>
                </a:lnTo>
                <a:lnTo>
                  <a:pt x="871" y="230"/>
                </a:lnTo>
                <a:lnTo>
                  <a:pt x="871" y="233"/>
                </a:lnTo>
                <a:lnTo>
                  <a:pt x="871" y="238"/>
                </a:lnTo>
                <a:lnTo>
                  <a:pt x="873" y="242"/>
                </a:lnTo>
                <a:lnTo>
                  <a:pt x="884" y="260"/>
                </a:lnTo>
                <a:lnTo>
                  <a:pt x="879" y="265"/>
                </a:lnTo>
                <a:lnTo>
                  <a:pt x="877" y="270"/>
                </a:lnTo>
                <a:lnTo>
                  <a:pt x="876" y="278"/>
                </a:lnTo>
                <a:lnTo>
                  <a:pt x="879" y="291"/>
                </a:lnTo>
                <a:lnTo>
                  <a:pt x="882" y="299"/>
                </a:lnTo>
                <a:lnTo>
                  <a:pt x="888" y="303"/>
                </a:lnTo>
                <a:lnTo>
                  <a:pt x="893" y="304"/>
                </a:lnTo>
                <a:lnTo>
                  <a:pt x="897" y="306"/>
                </a:lnTo>
                <a:lnTo>
                  <a:pt x="902" y="312"/>
                </a:lnTo>
                <a:lnTo>
                  <a:pt x="911" y="317"/>
                </a:lnTo>
                <a:lnTo>
                  <a:pt x="915" y="321"/>
                </a:lnTo>
                <a:lnTo>
                  <a:pt x="933" y="343"/>
                </a:lnTo>
                <a:lnTo>
                  <a:pt x="950" y="359"/>
                </a:lnTo>
                <a:lnTo>
                  <a:pt x="954" y="361"/>
                </a:lnTo>
                <a:lnTo>
                  <a:pt x="978" y="368"/>
                </a:lnTo>
                <a:lnTo>
                  <a:pt x="983" y="369"/>
                </a:lnTo>
                <a:lnTo>
                  <a:pt x="993" y="368"/>
                </a:lnTo>
                <a:lnTo>
                  <a:pt x="998" y="368"/>
                </a:lnTo>
                <a:lnTo>
                  <a:pt x="1004" y="370"/>
                </a:lnTo>
                <a:lnTo>
                  <a:pt x="1007" y="377"/>
                </a:lnTo>
                <a:lnTo>
                  <a:pt x="1006" y="388"/>
                </a:lnTo>
                <a:lnTo>
                  <a:pt x="1011" y="507"/>
                </a:lnTo>
                <a:lnTo>
                  <a:pt x="1009" y="518"/>
                </a:lnTo>
                <a:lnTo>
                  <a:pt x="1004" y="527"/>
                </a:lnTo>
                <a:lnTo>
                  <a:pt x="983" y="560"/>
                </a:lnTo>
                <a:lnTo>
                  <a:pt x="981" y="575"/>
                </a:lnTo>
                <a:lnTo>
                  <a:pt x="980" y="580"/>
                </a:lnTo>
                <a:lnTo>
                  <a:pt x="973" y="600"/>
                </a:lnTo>
                <a:lnTo>
                  <a:pt x="961" y="615"/>
                </a:lnTo>
                <a:lnTo>
                  <a:pt x="952" y="645"/>
                </a:lnTo>
                <a:lnTo>
                  <a:pt x="947" y="659"/>
                </a:lnTo>
                <a:lnTo>
                  <a:pt x="932" y="690"/>
                </a:lnTo>
                <a:lnTo>
                  <a:pt x="924" y="714"/>
                </a:lnTo>
                <a:lnTo>
                  <a:pt x="922" y="717"/>
                </a:lnTo>
                <a:lnTo>
                  <a:pt x="915" y="721"/>
                </a:lnTo>
                <a:lnTo>
                  <a:pt x="908" y="723"/>
                </a:lnTo>
                <a:lnTo>
                  <a:pt x="902" y="727"/>
                </a:lnTo>
                <a:lnTo>
                  <a:pt x="895" y="734"/>
                </a:lnTo>
                <a:lnTo>
                  <a:pt x="890" y="746"/>
                </a:lnTo>
                <a:lnTo>
                  <a:pt x="881" y="793"/>
                </a:lnTo>
                <a:lnTo>
                  <a:pt x="868" y="820"/>
                </a:lnTo>
                <a:lnTo>
                  <a:pt x="824" y="826"/>
                </a:lnTo>
                <a:lnTo>
                  <a:pt x="814" y="831"/>
                </a:lnTo>
                <a:lnTo>
                  <a:pt x="806" y="835"/>
                </a:lnTo>
                <a:lnTo>
                  <a:pt x="799" y="840"/>
                </a:lnTo>
                <a:lnTo>
                  <a:pt x="773" y="876"/>
                </a:lnTo>
                <a:lnTo>
                  <a:pt x="770" y="884"/>
                </a:lnTo>
                <a:lnTo>
                  <a:pt x="768" y="892"/>
                </a:lnTo>
                <a:lnTo>
                  <a:pt x="765" y="899"/>
                </a:lnTo>
                <a:lnTo>
                  <a:pt x="754" y="905"/>
                </a:lnTo>
                <a:lnTo>
                  <a:pt x="751" y="909"/>
                </a:lnTo>
                <a:lnTo>
                  <a:pt x="750" y="914"/>
                </a:lnTo>
                <a:lnTo>
                  <a:pt x="751" y="920"/>
                </a:lnTo>
                <a:lnTo>
                  <a:pt x="750" y="924"/>
                </a:lnTo>
                <a:lnTo>
                  <a:pt x="747" y="929"/>
                </a:lnTo>
                <a:lnTo>
                  <a:pt x="744" y="936"/>
                </a:lnTo>
                <a:lnTo>
                  <a:pt x="740" y="942"/>
                </a:lnTo>
                <a:lnTo>
                  <a:pt x="730" y="952"/>
                </a:lnTo>
                <a:lnTo>
                  <a:pt x="719" y="970"/>
                </a:lnTo>
                <a:lnTo>
                  <a:pt x="712" y="979"/>
                </a:lnTo>
                <a:lnTo>
                  <a:pt x="677" y="1007"/>
                </a:lnTo>
                <a:lnTo>
                  <a:pt x="667" y="1013"/>
                </a:lnTo>
                <a:lnTo>
                  <a:pt x="655" y="1016"/>
                </a:lnTo>
                <a:lnTo>
                  <a:pt x="649" y="1014"/>
                </a:lnTo>
                <a:lnTo>
                  <a:pt x="645" y="1013"/>
                </a:lnTo>
                <a:lnTo>
                  <a:pt x="634" y="1014"/>
                </a:lnTo>
                <a:lnTo>
                  <a:pt x="629" y="1013"/>
                </a:lnTo>
                <a:lnTo>
                  <a:pt x="628" y="1009"/>
                </a:lnTo>
                <a:lnTo>
                  <a:pt x="630" y="1003"/>
                </a:lnTo>
                <a:lnTo>
                  <a:pt x="630" y="999"/>
                </a:lnTo>
                <a:lnTo>
                  <a:pt x="628" y="996"/>
                </a:lnTo>
                <a:lnTo>
                  <a:pt x="624" y="1000"/>
                </a:lnTo>
                <a:lnTo>
                  <a:pt x="617" y="1006"/>
                </a:lnTo>
                <a:lnTo>
                  <a:pt x="613" y="1016"/>
                </a:lnTo>
                <a:lnTo>
                  <a:pt x="609" y="1031"/>
                </a:lnTo>
                <a:lnTo>
                  <a:pt x="603" y="1045"/>
                </a:lnTo>
                <a:lnTo>
                  <a:pt x="598" y="1066"/>
                </a:lnTo>
                <a:lnTo>
                  <a:pt x="584" y="1102"/>
                </a:lnTo>
                <a:lnTo>
                  <a:pt x="578" y="1110"/>
                </a:lnTo>
                <a:lnTo>
                  <a:pt x="552" y="1131"/>
                </a:lnTo>
                <a:lnTo>
                  <a:pt x="537" y="1137"/>
                </a:lnTo>
                <a:lnTo>
                  <a:pt x="530" y="1144"/>
                </a:lnTo>
                <a:lnTo>
                  <a:pt x="525" y="1154"/>
                </a:lnTo>
                <a:lnTo>
                  <a:pt x="524" y="1167"/>
                </a:lnTo>
                <a:lnTo>
                  <a:pt x="526" y="1183"/>
                </a:lnTo>
                <a:lnTo>
                  <a:pt x="525" y="1186"/>
                </a:lnTo>
                <a:lnTo>
                  <a:pt x="522" y="1189"/>
                </a:lnTo>
                <a:lnTo>
                  <a:pt x="507" y="1194"/>
                </a:lnTo>
                <a:lnTo>
                  <a:pt x="496" y="1200"/>
                </a:lnTo>
                <a:lnTo>
                  <a:pt x="492" y="1201"/>
                </a:lnTo>
                <a:lnTo>
                  <a:pt x="488" y="1203"/>
                </a:lnTo>
                <a:lnTo>
                  <a:pt x="485" y="1209"/>
                </a:lnTo>
                <a:lnTo>
                  <a:pt x="482" y="1216"/>
                </a:lnTo>
                <a:lnTo>
                  <a:pt x="479" y="1234"/>
                </a:lnTo>
                <a:lnTo>
                  <a:pt x="479" y="1242"/>
                </a:lnTo>
                <a:lnTo>
                  <a:pt x="480" y="1250"/>
                </a:lnTo>
                <a:lnTo>
                  <a:pt x="483" y="1258"/>
                </a:lnTo>
                <a:lnTo>
                  <a:pt x="491" y="1268"/>
                </a:lnTo>
                <a:lnTo>
                  <a:pt x="491" y="1274"/>
                </a:lnTo>
                <a:lnTo>
                  <a:pt x="487" y="1279"/>
                </a:lnTo>
                <a:lnTo>
                  <a:pt x="465" y="1294"/>
                </a:lnTo>
                <a:lnTo>
                  <a:pt x="423" y="1300"/>
                </a:lnTo>
                <a:lnTo>
                  <a:pt x="423" y="1305"/>
                </a:lnTo>
                <a:lnTo>
                  <a:pt x="427" y="1311"/>
                </a:lnTo>
                <a:lnTo>
                  <a:pt x="434" y="1318"/>
                </a:lnTo>
                <a:lnTo>
                  <a:pt x="443" y="1326"/>
                </a:lnTo>
                <a:lnTo>
                  <a:pt x="449" y="1329"/>
                </a:lnTo>
                <a:lnTo>
                  <a:pt x="456" y="1330"/>
                </a:lnTo>
                <a:lnTo>
                  <a:pt x="460" y="1332"/>
                </a:lnTo>
                <a:lnTo>
                  <a:pt x="461" y="1335"/>
                </a:lnTo>
                <a:lnTo>
                  <a:pt x="461" y="1338"/>
                </a:lnTo>
                <a:lnTo>
                  <a:pt x="460" y="1343"/>
                </a:lnTo>
                <a:lnTo>
                  <a:pt x="461" y="1350"/>
                </a:lnTo>
                <a:lnTo>
                  <a:pt x="468" y="1369"/>
                </a:lnTo>
                <a:lnTo>
                  <a:pt x="465" y="1376"/>
                </a:lnTo>
                <a:lnTo>
                  <a:pt x="456" y="1379"/>
                </a:lnTo>
                <a:lnTo>
                  <a:pt x="430" y="1377"/>
                </a:lnTo>
                <a:lnTo>
                  <a:pt x="420" y="1382"/>
                </a:lnTo>
                <a:lnTo>
                  <a:pt x="417" y="1387"/>
                </a:lnTo>
                <a:lnTo>
                  <a:pt x="413" y="1388"/>
                </a:lnTo>
                <a:lnTo>
                  <a:pt x="408" y="1384"/>
                </a:lnTo>
                <a:lnTo>
                  <a:pt x="403" y="1380"/>
                </a:lnTo>
                <a:lnTo>
                  <a:pt x="399" y="1378"/>
                </a:lnTo>
                <a:lnTo>
                  <a:pt x="393" y="1380"/>
                </a:lnTo>
                <a:lnTo>
                  <a:pt x="388" y="1385"/>
                </a:lnTo>
                <a:lnTo>
                  <a:pt x="381" y="1396"/>
                </a:lnTo>
                <a:lnTo>
                  <a:pt x="377" y="1401"/>
                </a:lnTo>
                <a:lnTo>
                  <a:pt x="367" y="1404"/>
                </a:lnTo>
                <a:lnTo>
                  <a:pt x="361" y="1407"/>
                </a:lnTo>
                <a:lnTo>
                  <a:pt x="353" y="1414"/>
                </a:lnTo>
                <a:lnTo>
                  <a:pt x="348" y="1420"/>
                </a:lnTo>
                <a:lnTo>
                  <a:pt x="344" y="1428"/>
                </a:lnTo>
                <a:lnTo>
                  <a:pt x="339" y="1435"/>
                </a:lnTo>
                <a:lnTo>
                  <a:pt x="334" y="1442"/>
                </a:lnTo>
                <a:lnTo>
                  <a:pt x="328" y="1449"/>
                </a:lnTo>
                <a:lnTo>
                  <a:pt x="327" y="1456"/>
                </a:lnTo>
                <a:lnTo>
                  <a:pt x="327" y="1462"/>
                </a:lnTo>
                <a:lnTo>
                  <a:pt x="326" y="1467"/>
                </a:lnTo>
                <a:lnTo>
                  <a:pt x="325" y="1471"/>
                </a:lnTo>
                <a:lnTo>
                  <a:pt x="324" y="1476"/>
                </a:lnTo>
                <a:lnTo>
                  <a:pt x="321" y="1480"/>
                </a:lnTo>
                <a:lnTo>
                  <a:pt x="315" y="1482"/>
                </a:lnTo>
                <a:lnTo>
                  <a:pt x="296" y="1484"/>
                </a:lnTo>
                <a:lnTo>
                  <a:pt x="267" y="1483"/>
                </a:lnTo>
                <a:lnTo>
                  <a:pt x="253" y="1480"/>
                </a:lnTo>
                <a:lnTo>
                  <a:pt x="244" y="1474"/>
                </a:lnTo>
                <a:lnTo>
                  <a:pt x="237" y="1467"/>
                </a:lnTo>
                <a:lnTo>
                  <a:pt x="236" y="1461"/>
                </a:lnTo>
                <a:lnTo>
                  <a:pt x="236" y="1455"/>
                </a:lnTo>
                <a:lnTo>
                  <a:pt x="238" y="1448"/>
                </a:lnTo>
                <a:lnTo>
                  <a:pt x="240" y="1443"/>
                </a:lnTo>
                <a:lnTo>
                  <a:pt x="248" y="1431"/>
                </a:lnTo>
                <a:lnTo>
                  <a:pt x="249" y="1427"/>
                </a:lnTo>
                <a:lnTo>
                  <a:pt x="252" y="1407"/>
                </a:lnTo>
                <a:lnTo>
                  <a:pt x="251" y="1401"/>
                </a:lnTo>
                <a:lnTo>
                  <a:pt x="248" y="1396"/>
                </a:lnTo>
                <a:lnTo>
                  <a:pt x="239" y="1388"/>
                </a:lnTo>
                <a:lnTo>
                  <a:pt x="238" y="1383"/>
                </a:lnTo>
                <a:lnTo>
                  <a:pt x="238" y="1379"/>
                </a:lnTo>
                <a:lnTo>
                  <a:pt x="239" y="1372"/>
                </a:lnTo>
                <a:lnTo>
                  <a:pt x="236" y="1367"/>
                </a:lnTo>
                <a:lnTo>
                  <a:pt x="226" y="1362"/>
                </a:lnTo>
                <a:lnTo>
                  <a:pt x="207" y="1359"/>
                </a:lnTo>
                <a:lnTo>
                  <a:pt x="195" y="1359"/>
                </a:lnTo>
                <a:lnTo>
                  <a:pt x="171" y="1367"/>
                </a:lnTo>
                <a:lnTo>
                  <a:pt x="158" y="1370"/>
                </a:lnTo>
                <a:lnTo>
                  <a:pt x="110" y="1367"/>
                </a:lnTo>
                <a:lnTo>
                  <a:pt x="101" y="1370"/>
                </a:lnTo>
                <a:lnTo>
                  <a:pt x="96" y="1371"/>
                </a:lnTo>
                <a:lnTo>
                  <a:pt x="83" y="1369"/>
                </a:lnTo>
                <a:lnTo>
                  <a:pt x="66" y="1374"/>
                </a:lnTo>
                <a:lnTo>
                  <a:pt x="66" y="1374"/>
                </a:lnTo>
                <a:lnTo>
                  <a:pt x="54" y="1344"/>
                </a:lnTo>
                <a:lnTo>
                  <a:pt x="44" y="1332"/>
                </a:lnTo>
                <a:lnTo>
                  <a:pt x="41" y="1324"/>
                </a:lnTo>
                <a:lnTo>
                  <a:pt x="40" y="1314"/>
                </a:lnTo>
                <a:lnTo>
                  <a:pt x="43" y="1306"/>
                </a:lnTo>
                <a:lnTo>
                  <a:pt x="67" y="1290"/>
                </a:lnTo>
                <a:lnTo>
                  <a:pt x="64" y="1274"/>
                </a:lnTo>
                <a:lnTo>
                  <a:pt x="64" y="1254"/>
                </a:lnTo>
                <a:lnTo>
                  <a:pt x="70" y="1249"/>
                </a:lnTo>
                <a:lnTo>
                  <a:pt x="78" y="1242"/>
                </a:lnTo>
                <a:lnTo>
                  <a:pt x="87" y="1240"/>
                </a:lnTo>
                <a:lnTo>
                  <a:pt x="97" y="1240"/>
                </a:lnTo>
                <a:lnTo>
                  <a:pt x="100" y="1232"/>
                </a:lnTo>
                <a:lnTo>
                  <a:pt x="100" y="1222"/>
                </a:lnTo>
                <a:lnTo>
                  <a:pt x="101" y="1209"/>
                </a:lnTo>
                <a:lnTo>
                  <a:pt x="105" y="1197"/>
                </a:lnTo>
                <a:lnTo>
                  <a:pt x="102" y="1182"/>
                </a:lnTo>
                <a:lnTo>
                  <a:pt x="104" y="1172"/>
                </a:lnTo>
                <a:lnTo>
                  <a:pt x="116" y="1167"/>
                </a:lnTo>
                <a:lnTo>
                  <a:pt x="115" y="1150"/>
                </a:lnTo>
                <a:lnTo>
                  <a:pt x="95" y="1122"/>
                </a:lnTo>
                <a:lnTo>
                  <a:pt x="55" y="1074"/>
                </a:lnTo>
                <a:lnTo>
                  <a:pt x="23" y="1018"/>
                </a:lnTo>
                <a:lnTo>
                  <a:pt x="9" y="983"/>
                </a:lnTo>
                <a:lnTo>
                  <a:pt x="0" y="964"/>
                </a:lnTo>
                <a:lnTo>
                  <a:pt x="4" y="950"/>
                </a:lnTo>
                <a:lnTo>
                  <a:pt x="13" y="942"/>
                </a:lnTo>
                <a:lnTo>
                  <a:pt x="22" y="934"/>
                </a:lnTo>
                <a:lnTo>
                  <a:pt x="30" y="925"/>
                </a:lnTo>
                <a:lnTo>
                  <a:pt x="36" y="918"/>
                </a:lnTo>
                <a:lnTo>
                  <a:pt x="41" y="912"/>
                </a:lnTo>
                <a:lnTo>
                  <a:pt x="50" y="902"/>
                </a:lnTo>
                <a:lnTo>
                  <a:pt x="57" y="892"/>
                </a:lnTo>
                <a:lnTo>
                  <a:pt x="59" y="887"/>
                </a:lnTo>
                <a:lnTo>
                  <a:pt x="67" y="884"/>
                </a:lnTo>
                <a:lnTo>
                  <a:pt x="76" y="887"/>
                </a:lnTo>
                <a:lnTo>
                  <a:pt x="85" y="887"/>
                </a:lnTo>
                <a:lnTo>
                  <a:pt x="95" y="882"/>
                </a:lnTo>
                <a:lnTo>
                  <a:pt x="104" y="877"/>
                </a:lnTo>
                <a:lnTo>
                  <a:pt x="114" y="879"/>
                </a:lnTo>
                <a:lnTo>
                  <a:pt x="121" y="877"/>
                </a:lnTo>
                <a:lnTo>
                  <a:pt x="130" y="874"/>
                </a:lnTo>
                <a:lnTo>
                  <a:pt x="129" y="879"/>
                </a:lnTo>
                <a:lnTo>
                  <a:pt x="141" y="886"/>
                </a:lnTo>
                <a:lnTo>
                  <a:pt x="150" y="886"/>
                </a:lnTo>
                <a:lnTo>
                  <a:pt x="159" y="879"/>
                </a:lnTo>
                <a:lnTo>
                  <a:pt x="163" y="877"/>
                </a:lnTo>
                <a:lnTo>
                  <a:pt x="169" y="871"/>
                </a:lnTo>
                <a:lnTo>
                  <a:pt x="176" y="869"/>
                </a:lnTo>
                <a:lnTo>
                  <a:pt x="183" y="878"/>
                </a:lnTo>
                <a:lnTo>
                  <a:pt x="188" y="879"/>
                </a:lnTo>
                <a:lnTo>
                  <a:pt x="200" y="881"/>
                </a:lnTo>
                <a:lnTo>
                  <a:pt x="218" y="874"/>
                </a:lnTo>
                <a:lnTo>
                  <a:pt x="232" y="861"/>
                </a:lnTo>
                <a:lnTo>
                  <a:pt x="247" y="846"/>
                </a:lnTo>
                <a:lnTo>
                  <a:pt x="257" y="804"/>
                </a:lnTo>
                <a:lnTo>
                  <a:pt x="259" y="791"/>
                </a:lnTo>
                <a:lnTo>
                  <a:pt x="267" y="747"/>
                </a:lnTo>
                <a:lnTo>
                  <a:pt x="280" y="714"/>
                </a:lnTo>
                <a:lnTo>
                  <a:pt x="296" y="683"/>
                </a:lnTo>
                <a:lnTo>
                  <a:pt x="303" y="664"/>
                </a:lnTo>
                <a:lnTo>
                  <a:pt x="306" y="661"/>
                </a:lnTo>
                <a:lnTo>
                  <a:pt x="313" y="656"/>
                </a:lnTo>
                <a:lnTo>
                  <a:pt x="322" y="655"/>
                </a:lnTo>
                <a:lnTo>
                  <a:pt x="330" y="652"/>
                </a:lnTo>
                <a:lnTo>
                  <a:pt x="332" y="669"/>
                </a:lnTo>
                <a:lnTo>
                  <a:pt x="341" y="683"/>
                </a:lnTo>
                <a:lnTo>
                  <a:pt x="360" y="691"/>
                </a:lnTo>
                <a:lnTo>
                  <a:pt x="377" y="693"/>
                </a:lnTo>
                <a:lnTo>
                  <a:pt x="413" y="694"/>
                </a:lnTo>
                <a:lnTo>
                  <a:pt x="413" y="685"/>
                </a:lnTo>
                <a:lnTo>
                  <a:pt x="394" y="681"/>
                </a:lnTo>
                <a:lnTo>
                  <a:pt x="374" y="677"/>
                </a:lnTo>
                <a:lnTo>
                  <a:pt x="361" y="677"/>
                </a:lnTo>
                <a:lnTo>
                  <a:pt x="351" y="669"/>
                </a:lnTo>
                <a:lnTo>
                  <a:pt x="343" y="651"/>
                </a:lnTo>
                <a:lnTo>
                  <a:pt x="335" y="635"/>
                </a:lnTo>
                <a:lnTo>
                  <a:pt x="326" y="631"/>
                </a:lnTo>
                <a:lnTo>
                  <a:pt x="321" y="624"/>
                </a:lnTo>
                <a:lnTo>
                  <a:pt x="319" y="607"/>
                </a:lnTo>
                <a:lnTo>
                  <a:pt x="313" y="589"/>
                </a:lnTo>
                <a:lnTo>
                  <a:pt x="311" y="570"/>
                </a:lnTo>
                <a:lnTo>
                  <a:pt x="301" y="549"/>
                </a:lnTo>
                <a:lnTo>
                  <a:pt x="289" y="534"/>
                </a:lnTo>
                <a:lnTo>
                  <a:pt x="280" y="506"/>
                </a:lnTo>
                <a:lnTo>
                  <a:pt x="288" y="496"/>
                </a:lnTo>
                <a:lnTo>
                  <a:pt x="302" y="495"/>
                </a:lnTo>
                <a:lnTo>
                  <a:pt x="324" y="477"/>
                </a:lnTo>
                <a:lnTo>
                  <a:pt x="344" y="446"/>
                </a:lnTo>
                <a:lnTo>
                  <a:pt x="351" y="434"/>
                </a:lnTo>
                <a:lnTo>
                  <a:pt x="353" y="425"/>
                </a:lnTo>
                <a:lnTo>
                  <a:pt x="358" y="410"/>
                </a:lnTo>
                <a:lnTo>
                  <a:pt x="365" y="399"/>
                </a:lnTo>
                <a:lnTo>
                  <a:pt x="379" y="395"/>
                </a:lnTo>
                <a:lnTo>
                  <a:pt x="388" y="381"/>
                </a:lnTo>
                <a:lnTo>
                  <a:pt x="396" y="367"/>
                </a:lnTo>
                <a:lnTo>
                  <a:pt x="408" y="378"/>
                </a:lnTo>
                <a:lnTo>
                  <a:pt x="423" y="370"/>
                </a:lnTo>
                <a:lnTo>
                  <a:pt x="440" y="358"/>
                </a:lnTo>
                <a:lnTo>
                  <a:pt x="458" y="344"/>
                </a:lnTo>
                <a:lnTo>
                  <a:pt x="498" y="301"/>
                </a:lnTo>
                <a:lnTo>
                  <a:pt x="530" y="260"/>
                </a:lnTo>
                <a:lnTo>
                  <a:pt x="541" y="246"/>
                </a:lnTo>
                <a:lnTo>
                  <a:pt x="546" y="233"/>
                </a:lnTo>
                <a:lnTo>
                  <a:pt x="547" y="224"/>
                </a:lnTo>
                <a:lnTo>
                  <a:pt x="550" y="222"/>
                </a:lnTo>
                <a:lnTo>
                  <a:pt x="555" y="220"/>
                </a:lnTo>
                <a:lnTo>
                  <a:pt x="569" y="215"/>
                </a:lnTo>
                <a:lnTo>
                  <a:pt x="578" y="190"/>
                </a:lnTo>
                <a:lnTo>
                  <a:pt x="585" y="168"/>
                </a:lnTo>
                <a:lnTo>
                  <a:pt x="588" y="133"/>
                </a:lnTo>
                <a:lnTo>
                  <a:pt x="587" y="117"/>
                </a:lnTo>
                <a:lnTo>
                  <a:pt x="583" y="88"/>
                </a:lnTo>
                <a:lnTo>
                  <a:pt x="581" y="38"/>
                </a:lnTo>
                <a:lnTo>
                  <a:pt x="587" y="19"/>
                </a:lnTo>
                <a:lnTo>
                  <a:pt x="587" y="14"/>
                </a:lnTo>
                <a:lnTo>
                  <a:pt x="589" y="12"/>
                </a:lnTo>
                <a:lnTo>
                  <a:pt x="596" y="15"/>
                </a:lnTo>
                <a:lnTo>
                  <a:pt x="599" y="18"/>
                </a:lnTo>
                <a:lnTo>
                  <a:pt x="601" y="23"/>
                </a:lnTo>
                <a:lnTo>
                  <a:pt x="604" y="33"/>
                </a:lnTo>
                <a:lnTo>
                  <a:pt x="610" y="33"/>
                </a:lnTo>
                <a:lnTo>
                  <a:pt x="611" y="25"/>
                </a:lnTo>
                <a:lnTo>
                  <a:pt x="613" y="19"/>
                </a:lnTo>
                <a:lnTo>
                  <a:pt x="613" y="19"/>
                </a:lnTo>
                <a:lnTo>
                  <a:pt x="630" y="60"/>
                </a:lnTo>
                <a:lnTo>
                  <a:pt x="639" y="72"/>
                </a:lnTo>
                <a:lnTo>
                  <a:pt x="643" y="74"/>
                </a:lnTo>
                <a:lnTo>
                  <a:pt x="649" y="75"/>
                </a:lnTo>
                <a:lnTo>
                  <a:pt x="653" y="77"/>
                </a:lnTo>
                <a:lnTo>
                  <a:pt x="658" y="77"/>
                </a:lnTo>
                <a:lnTo>
                  <a:pt x="661" y="77"/>
                </a:lnTo>
                <a:lnTo>
                  <a:pt x="663" y="75"/>
                </a:lnTo>
                <a:lnTo>
                  <a:pt x="667" y="71"/>
                </a:lnTo>
                <a:lnTo>
                  <a:pt x="669" y="69"/>
                </a:lnTo>
                <a:lnTo>
                  <a:pt x="673" y="67"/>
                </a:lnTo>
                <a:lnTo>
                  <a:pt x="675" y="65"/>
                </a:lnTo>
                <a:lnTo>
                  <a:pt x="677" y="61"/>
                </a:lnTo>
                <a:lnTo>
                  <a:pt x="679" y="56"/>
                </a:lnTo>
                <a:lnTo>
                  <a:pt x="682" y="48"/>
                </a:lnTo>
                <a:lnTo>
                  <a:pt x="685" y="41"/>
                </a:lnTo>
                <a:lnTo>
                  <a:pt x="685" y="40"/>
                </a:lnTo>
                <a:lnTo>
                  <a:pt x="686" y="38"/>
                </a:lnTo>
                <a:lnTo>
                  <a:pt x="687" y="38"/>
                </a:lnTo>
                <a:lnTo>
                  <a:pt x="689" y="36"/>
                </a:lnTo>
                <a:lnTo>
                  <a:pt x="691" y="36"/>
                </a:lnTo>
                <a:lnTo>
                  <a:pt x="714" y="38"/>
                </a:lnTo>
                <a:lnTo>
                  <a:pt x="725" y="36"/>
                </a:lnTo>
                <a:lnTo>
                  <a:pt x="738" y="34"/>
                </a:lnTo>
                <a:lnTo>
                  <a:pt x="746" y="31"/>
                </a:lnTo>
                <a:lnTo>
                  <a:pt x="750" y="29"/>
                </a:lnTo>
                <a:lnTo>
                  <a:pt x="757" y="23"/>
                </a:lnTo>
                <a:lnTo>
                  <a:pt x="771" y="8"/>
                </a:lnTo>
                <a:lnTo>
                  <a:pt x="775" y="6"/>
                </a:lnTo>
                <a:lnTo>
                  <a:pt x="779" y="3"/>
                </a:lnTo>
                <a:lnTo>
                  <a:pt x="786" y="0"/>
                </a:lnTo>
                <a:lnTo>
                  <a:pt x="792" y="0"/>
                </a:lnTo>
                <a:lnTo>
                  <a:pt x="796" y="0"/>
                </a:lnTo>
                <a:lnTo>
                  <a:pt x="799" y="1"/>
                </a:lnTo>
                <a:lnTo>
                  <a:pt x="803" y="2"/>
                </a:lnTo>
                <a:lnTo>
                  <a:pt x="809" y="7"/>
                </a:lnTo>
                <a:lnTo>
                  <a:pt x="815" y="13"/>
                </a:lnTo>
                <a:lnTo>
                  <a:pt x="816" y="15"/>
                </a:lnTo>
                <a:lnTo>
                  <a:pt x="817" y="17"/>
                </a:lnTo>
                <a:lnTo>
                  <a:pt x="817" y="18"/>
                </a:lnTo>
                <a:lnTo>
                  <a:pt x="817" y="19"/>
                </a:lnTo>
                <a:lnTo>
                  <a:pt x="817" y="20"/>
                </a:lnTo>
                <a:lnTo>
                  <a:pt x="816" y="21"/>
                </a:lnTo>
                <a:lnTo>
                  <a:pt x="809" y="29"/>
                </a:lnTo>
                <a:lnTo>
                  <a:pt x="807" y="33"/>
                </a:lnTo>
                <a:lnTo>
                  <a:pt x="805" y="35"/>
                </a:lnTo>
                <a:lnTo>
                  <a:pt x="805" y="38"/>
                </a:lnTo>
                <a:lnTo>
                  <a:pt x="804" y="40"/>
                </a:lnTo>
                <a:lnTo>
                  <a:pt x="804" y="42"/>
                </a:lnTo>
                <a:lnTo>
                  <a:pt x="805" y="45"/>
                </a:lnTo>
                <a:lnTo>
                  <a:pt x="806" y="47"/>
                </a:lnTo>
                <a:lnTo>
                  <a:pt x="808" y="49"/>
                </a:lnTo>
                <a:lnTo>
                  <a:pt x="810" y="52"/>
                </a:lnTo>
                <a:lnTo>
                  <a:pt x="842" y="71"/>
                </a:lnTo>
                <a:lnTo>
                  <a:pt x="844" y="73"/>
                </a:lnTo>
                <a:lnTo>
                  <a:pt x="846" y="75"/>
                </a:lnTo>
                <a:lnTo>
                  <a:pt x="846" y="77"/>
                </a:lnTo>
                <a:lnTo>
                  <a:pt x="846" y="79"/>
                </a:lnTo>
                <a:lnTo>
                  <a:pt x="845" y="80"/>
                </a:lnTo>
                <a:lnTo>
                  <a:pt x="844" y="82"/>
                </a:lnTo>
                <a:lnTo>
                  <a:pt x="840" y="86"/>
                </a:lnTo>
                <a:lnTo>
                  <a:pt x="835" y="90"/>
                </a:lnTo>
                <a:lnTo>
                  <a:pt x="832" y="93"/>
                </a:lnTo>
                <a:lnTo>
                  <a:pt x="828" y="98"/>
                </a:lnTo>
                <a:lnTo>
                  <a:pt x="825" y="103"/>
                </a:lnTo>
                <a:lnTo>
                  <a:pt x="812" y="121"/>
                </a:lnTo>
                <a:lnTo>
                  <a:pt x="811" y="122"/>
                </a:lnTo>
                <a:lnTo>
                  <a:pt x="812" y="125"/>
                </a:lnTo>
                <a:lnTo>
                  <a:pt x="815" y="127"/>
                </a:lnTo>
                <a:lnTo>
                  <a:pt x="822" y="134"/>
                </a:lnTo>
                <a:lnTo>
                  <a:pt x="827" y="136"/>
                </a:lnTo>
                <a:lnTo>
                  <a:pt x="830" y="137"/>
                </a:lnTo>
                <a:close/>
              </a:path>
            </a:pathLst>
          </a:custGeom>
          <a:solidFill>
            <a:srgbClr val="004B8E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2" name="Freeform 16">
            <a:extLst>
              <a:ext uri="{FF2B5EF4-FFF2-40B4-BE49-F238E27FC236}">
                <a16:creationId xmlns:a16="http://schemas.microsoft.com/office/drawing/2014/main" id="{9C39EA10-D432-381E-4E2F-C2821750CFC5}"/>
              </a:ext>
            </a:extLst>
          </p:cNvPr>
          <p:cNvSpPr>
            <a:spLocks/>
          </p:cNvSpPr>
          <p:nvPr/>
        </p:nvSpPr>
        <p:spPr bwMode="auto">
          <a:xfrm>
            <a:off x="5059725" y="2199676"/>
            <a:ext cx="814746" cy="1586128"/>
          </a:xfrm>
          <a:custGeom>
            <a:avLst/>
            <a:gdLst>
              <a:gd name="T0" fmla="*/ 354 w 524"/>
              <a:gd name="T1" fmla="*/ 7 h 1078"/>
              <a:gd name="T2" fmla="*/ 345 w 524"/>
              <a:gd name="T3" fmla="*/ 31 h 1078"/>
              <a:gd name="T4" fmla="*/ 343 w 524"/>
              <a:gd name="T5" fmla="*/ 68 h 1078"/>
              <a:gd name="T6" fmla="*/ 348 w 524"/>
              <a:gd name="T7" fmla="*/ 92 h 1078"/>
              <a:gd name="T8" fmla="*/ 380 w 524"/>
              <a:gd name="T9" fmla="*/ 101 h 1078"/>
              <a:gd name="T10" fmla="*/ 411 w 524"/>
              <a:gd name="T11" fmla="*/ 77 h 1078"/>
              <a:gd name="T12" fmla="*/ 495 w 524"/>
              <a:gd name="T13" fmla="*/ 8 h 1078"/>
              <a:gd name="T14" fmla="*/ 518 w 524"/>
              <a:gd name="T15" fmla="*/ 35 h 1078"/>
              <a:gd name="T16" fmla="*/ 452 w 524"/>
              <a:gd name="T17" fmla="*/ 170 h 1078"/>
              <a:gd name="T18" fmla="*/ 417 w 524"/>
              <a:gd name="T19" fmla="*/ 218 h 1078"/>
              <a:gd name="T20" fmla="*/ 388 w 524"/>
              <a:gd name="T21" fmla="*/ 247 h 1078"/>
              <a:gd name="T22" fmla="*/ 379 w 524"/>
              <a:gd name="T23" fmla="*/ 307 h 1078"/>
              <a:gd name="T24" fmla="*/ 372 w 524"/>
              <a:gd name="T25" fmla="*/ 397 h 1078"/>
              <a:gd name="T26" fmla="*/ 351 w 524"/>
              <a:gd name="T27" fmla="*/ 472 h 1078"/>
              <a:gd name="T28" fmla="*/ 325 w 524"/>
              <a:gd name="T29" fmla="*/ 522 h 1078"/>
              <a:gd name="T30" fmla="*/ 349 w 524"/>
              <a:gd name="T31" fmla="*/ 504 h 1078"/>
              <a:gd name="T32" fmla="*/ 368 w 524"/>
              <a:gd name="T33" fmla="*/ 515 h 1078"/>
              <a:gd name="T34" fmla="*/ 382 w 524"/>
              <a:gd name="T35" fmla="*/ 539 h 1078"/>
              <a:gd name="T36" fmla="*/ 369 w 524"/>
              <a:gd name="T37" fmla="*/ 546 h 1078"/>
              <a:gd name="T38" fmla="*/ 376 w 524"/>
              <a:gd name="T39" fmla="*/ 630 h 1078"/>
              <a:gd name="T40" fmla="*/ 416 w 524"/>
              <a:gd name="T41" fmla="*/ 667 h 1078"/>
              <a:gd name="T42" fmla="*/ 404 w 524"/>
              <a:gd name="T43" fmla="*/ 698 h 1078"/>
              <a:gd name="T44" fmla="*/ 391 w 524"/>
              <a:gd name="T45" fmla="*/ 696 h 1078"/>
              <a:gd name="T46" fmla="*/ 358 w 524"/>
              <a:gd name="T47" fmla="*/ 726 h 1078"/>
              <a:gd name="T48" fmla="*/ 358 w 524"/>
              <a:gd name="T49" fmla="*/ 737 h 1078"/>
              <a:gd name="T50" fmla="*/ 374 w 524"/>
              <a:gd name="T51" fmla="*/ 746 h 1078"/>
              <a:gd name="T52" fmla="*/ 395 w 524"/>
              <a:gd name="T53" fmla="*/ 768 h 1078"/>
              <a:gd name="T54" fmla="*/ 414 w 524"/>
              <a:gd name="T55" fmla="*/ 824 h 1078"/>
              <a:gd name="T56" fmla="*/ 429 w 524"/>
              <a:gd name="T57" fmla="*/ 856 h 1078"/>
              <a:gd name="T58" fmla="*/ 407 w 524"/>
              <a:gd name="T59" fmla="*/ 926 h 1078"/>
              <a:gd name="T60" fmla="*/ 418 w 524"/>
              <a:gd name="T61" fmla="*/ 972 h 1078"/>
              <a:gd name="T62" fmla="*/ 441 w 524"/>
              <a:gd name="T63" fmla="*/ 1035 h 1078"/>
              <a:gd name="T64" fmla="*/ 341 w 524"/>
              <a:gd name="T65" fmla="*/ 963 h 1078"/>
              <a:gd name="T66" fmla="*/ 290 w 524"/>
              <a:gd name="T67" fmla="*/ 926 h 1078"/>
              <a:gd name="T68" fmla="*/ 220 w 524"/>
              <a:gd name="T69" fmla="*/ 899 h 1078"/>
              <a:gd name="T70" fmla="*/ 143 w 524"/>
              <a:gd name="T71" fmla="*/ 907 h 1078"/>
              <a:gd name="T72" fmla="*/ 110 w 524"/>
              <a:gd name="T73" fmla="*/ 833 h 1078"/>
              <a:gd name="T74" fmla="*/ 75 w 524"/>
              <a:gd name="T75" fmla="*/ 772 h 1078"/>
              <a:gd name="T76" fmla="*/ 5 w 524"/>
              <a:gd name="T77" fmla="*/ 723 h 1078"/>
              <a:gd name="T78" fmla="*/ 10 w 524"/>
              <a:gd name="T79" fmla="*/ 689 h 1078"/>
              <a:gd name="T80" fmla="*/ 5 w 524"/>
              <a:gd name="T81" fmla="*/ 602 h 1078"/>
              <a:gd name="T82" fmla="*/ 39 w 524"/>
              <a:gd name="T83" fmla="*/ 541 h 1078"/>
              <a:gd name="T84" fmla="*/ 85 w 524"/>
              <a:gd name="T85" fmla="*/ 450 h 1078"/>
              <a:gd name="T86" fmla="*/ 91 w 524"/>
              <a:gd name="T87" fmla="*/ 427 h 1078"/>
              <a:gd name="T88" fmla="*/ 107 w 524"/>
              <a:gd name="T89" fmla="*/ 419 h 1078"/>
              <a:gd name="T90" fmla="*/ 115 w 524"/>
              <a:gd name="T91" fmla="*/ 406 h 1078"/>
              <a:gd name="T92" fmla="*/ 128 w 524"/>
              <a:gd name="T93" fmla="*/ 394 h 1078"/>
              <a:gd name="T94" fmla="*/ 146 w 524"/>
              <a:gd name="T95" fmla="*/ 378 h 1078"/>
              <a:gd name="T96" fmla="*/ 167 w 524"/>
              <a:gd name="T97" fmla="*/ 353 h 1078"/>
              <a:gd name="T98" fmla="*/ 189 w 524"/>
              <a:gd name="T99" fmla="*/ 344 h 1078"/>
              <a:gd name="T100" fmla="*/ 203 w 524"/>
              <a:gd name="T101" fmla="*/ 303 h 1078"/>
              <a:gd name="T102" fmla="*/ 222 w 524"/>
              <a:gd name="T103" fmla="*/ 284 h 1078"/>
              <a:gd name="T104" fmla="*/ 223 w 524"/>
              <a:gd name="T105" fmla="*/ 262 h 1078"/>
              <a:gd name="T106" fmla="*/ 224 w 524"/>
              <a:gd name="T107" fmla="*/ 196 h 1078"/>
              <a:gd name="T108" fmla="*/ 181 w 524"/>
              <a:gd name="T109" fmla="*/ 178 h 1078"/>
              <a:gd name="T110" fmla="*/ 208 w 524"/>
              <a:gd name="T111" fmla="*/ 108 h 1078"/>
              <a:gd name="T112" fmla="*/ 232 w 524"/>
              <a:gd name="T113" fmla="*/ 75 h 1078"/>
              <a:gd name="T114" fmla="*/ 281 w 524"/>
              <a:gd name="T115" fmla="*/ 0 h 1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4" h="1078">
                <a:moveTo>
                  <a:pt x="296" y="2"/>
                </a:moveTo>
                <a:lnTo>
                  <a:pt x="332" y="1"/>
                </a:lnTo>
                <a:lnTo>
                  <a:pt x="348" y="3"/>
                </a:lnTo>
                <a:lnTo>
                  <a:pt x="354" y="7"/>
                </a:lnTo>
                <a:lnTo>
                  <a:pt x="351" y="11"/>
                </a:lnTo>
                <a:lnTo>
                  <a:pt x="346" y="15"/>
                </a:lnTo>
                <a:lnTo>
                  <a:pt x="343" y="22"/>
                </a:lnTo>
                <a:lnTo>
                  <a:pt x="345" y="31"/>
                </a:lnTo>
                <a:lnTo>
                  <a:pt x="349" y="42"/>
                </a:lnTo>
                <a:lnTo>
                  <a:pt x="351" y="52"/>
                </a:lnTo>
                <a:lnTo>
                  <a:pt x="348" y="60"/>
                </a:lnTo>
                <a:lnTo>
                  <a:pt x="343" y="68"/>
                </a:lnTo>
                <a:lnTo>
                  <a:pt x="341" y="75"/>
                </a:lnTo>
                <a:lnTo>
                  <a:pt x="343" y="81"/>
                </a:lnTo>
                <a:lnTo>
                  <a:pt x="344" y="87"/>
                </a:lnTo>
                <a:lnTo>
                  <a:pt x="348" y="92"/>
                </a:lnTo>
                <a:lnTo>
                  <a:pt x="354" y="96"/>
                </a:lnTo>
                <a:lnTo>
                  <a:pt x="363" y="100"/>
                </a:lnTo>
                <a:lnTo>
                  <a:pt x="371" y="102"/>
                </a:lnTo>
                <a:lnTo>
                  <a:pt x="380" y="101"/>
                </a:lnTo>
                <a:lnTo>
                  <a:pt x="389" y="99"/>
                </a:lnTo>
                <a:lnTo>
                  <a:pt x="395" y="94"/>
                </a:lnTo>
                <a:lnTo>
                  <a:pt x="403" y="86"/>
                </a:lnTo>
                <a:lnTo>
                  <a:pt x="411" y="77"/>
                </a:lnTo>
                <a:lnTo>
                  <a:pt x="420" y="70"/>
                </a:lnTo>
                <a:lnTo>
                  <a:pt x="437" y="62"/>
                </a:lnTo>
                <a:lnTo>
                  <a:pt x="445" y="56"/>
                </a:lnTo>
                <a:lnTo>
                  <a:pt x="495" y="8"/>
                </a:lnTo>
                <a:lnTo>
                  <a:pt x="506" y="1"/>
                </a:lnTo>
                <a:lnTo>
                  <a:pt x="512" y="1"/>
                </a:lnTo>
                <a:lnTo>
                  <a:pt x="524" y="5"/>
                </a:lnTo>
                <a:lnTo>
                  <a:pt x="518" y="35"/>
                </a:lnTo>
                <a:lnTo>
                  <a:pt x="471" y="143"/>
                </a:lnTo>
                <a:lnTo>
                  <a:pt x="461" y="161"/>
                </a:lnTo>
                <a:lnTo>
                  <a:pt x="457" y="167"/>
                </a:lnTo>
                <a:lnTo>
                  <a:pt x="452" y="170"/>
                </a:lnTo>
                <a:lnTo>
                  <a:pt x="446" y="173"/>
                </a:lnTo>
                <a:lnTo>
                  <a:pt x="440" y="179"/>
                </a:lnTo>
                <a:lnTo>
                  <a:pt x="434" y="184"/>
                </a:lnTo>
                <a:lnTo>
                  <a:pt x="417" y="218"/>
                </a:lnTo>
                <a:lnTo>
                  <a:pt x="409" y="224"/>
                </a:lnTo>
                <a:lnTo>
                  <a:pt x="401" y="231"/>
                </a:lnTo>
                <a:lnTo>
                  <a:pt x="394" y="237"/>
                </a:lnTo>
                <a:lnTo>
                  <a:pt x="388" y="247"/>
                </a:lnTo>
                <a:lnTo>
                  <a:pt x="379" y="271"/>
                </a:lnTo>
                <a:lnTo>
                  <a:pt x="378" y="283"/>
                </a:lnTo>
                <a:lnTo>
                  <a:pt x="377" y="295"/>
                </a:lnTo>
                <a:lnTo>
                  <a:pt x="379" y="307"/>
                </a:lnTo>
                <a:lnTo>
                  <a:pt x="368" y="353"/>
                </a:lnTo>
                <a:lnTo>
                  <a:pt x="367" y="371"/>
                </a:lnTo>
                <a:lnTo>
                  <a:pt x="366" y="386"/>
                </a:lnTo>
                <a:lnTo>
                  <a:pt x="372" y="397"/>
                </a:lnTo>
                <a:lnTo>
                  <a:pt x="390" y="419"/>
                </a:lnTo>
                <a:lnTo>
                  <a:pt x="395" y="441"/>
                </a:lnTo>
                <a:lnTo>
                  <a:pt x="363" y="456"/>
                </a:lnTo>
                <a:lnTo>
                  <a:pt x="351" y="472"/>
                </a:lnTo>
                <a:lnTo>
                  <a:pt x="335" y="498"/>
                </a:lnTo>
                <a:lnTo>
                  <a:pt x="325" y="509"/>
                </a:lnTo>
                <a:lnTo>
                  <a:pt x="323" y="518"/>
                </a:lnTo>
                <a:lnTo>
                  <a:pt x="325" y="522"/>
                </a:lnTo>
                <a:lnTo>
                  <a:pt x="330" y="523"/>
                </a:lnTo>
                <a:lnTo>
                  <a:pt x="336" y="521"/>
                </a:lnTo>
                <a:lnTo>
                  <a:pt x="340" y="517"/>
                </a:lnTo>
                <a:lnTo>
                  <a:pt x="349" y="504"/>
                </a:lnTo>
                <a:lnTo>
                  <a:pt x="353" y="500"/>
                </a:lnTo>
                <a:lnTo>
                  <a:pt x="357" y="500"/>
                </a:lnTo>
                <a:lnTo>
                  <a:pt x="362" y="503"/>
                </a:lnTo>
                <a:lnTo>
                  <a:pt x="368" y="515"/>
                </a:lnTo>
                <a:lnTo>
                  <a:pt x="388" y="529"/>
                </a:lnTo>
                <a:lnTo>
                  <a:pt x="388" y="532"/>
                </a:lnTo>
                <a:lnTo>
                  <a:pt x="385" y="536"/>
                </a:lnTo>
                <a:lnTo>
                  <a:pt x="382" y="539"/>
                </a:lnTo>
                <a:lnTo>
                  <a:pt x="379" y="541"/>
                </a:lnTo>
                <a:lnTo>
                  <a:pt x="375" y="541"/>
                </a:lnTo>
                <a:lnTo>
                  <a:pt x="372" y="542"/>
                </a:lnTo>
                <a:lnTo>
                  <a:pt x="369" y="546"/>
                </a:lnTo>
                <a:lnTo>
                  <a:pt x="368" y="553"/>
                </a:lnTo>
                <a:lnTo>
                  <a:pt x="367" y="605"/>
                </a:lnTo>
                <a:lnTo>
                  <a:pt x="369" y="619"/>
                </a:lnTo>
                <a:lnTo>
                  <a:pt x="376" y="630"/>
                </a:lnTo>
                <a:lnTo>
                  <a:pt x="384" y="639"/>
                </a:lnTo>
                <a:lnTo>
                  <a:pt x="406" y="653"/>
                </a:lnTo>
                <a:lnTo>
                  <a:pt x="411" y="659"/>
                </a:lnTo>
                <a:lnTo>
                  <a:pt x="416" y="667"/>
                </a:lnTo>
                <a:lnTo>
                  <a:pt x="415" y="676"/>
                </a:lnTo>
                <a:lnTo>
                  <a:pt x="411" y="686"/>
                </a:lnTo>
                <a:lnTo>
                  <a:pt x="408" y="691"/>
                </a:lnTo>
                <a:lnTo>
                  <a:pt x="404" y="698"/>
                </a:lnTo>
                <a:lnTo>
                  <a:pt x="402" y="700"/>
                </a:lnTo>
                <a:lnTo>
                  <a:pt x="398" y="700"/>
                </a:lnTo>
                <a:lnTo>
                  <a:pt x="394" y="697"/>
                </a:lnTo>
                <a:lnTo>
                  <a:pt x="391" y="696"/>
                </a:lnTo>
                <a:lnTo>
                  <a:pt x="387" y="697"/>
                </a:lnTo>
                <a:lnTo>
                  <a:pt x="368" y="718"/>
                </a:lnTo>
                <a:lnTo>
                  <a:pt x="364" y="723"/>
                </a:lnTo>
                <a:lnTo>
                  <a:pt x="358" y="726"/>
                </a:lnTo>
                <a:lnTo>
                  <a:pt x="354" y="728"/>
                </a:lnTo>
                <a:lnTo>
                  <a:pt x="353" y="733"/>
                </a:lnTo>
                <a:lnTo>
                  <a:pt x="355" y="736"/>
                </a:lnTo>
                <a:lnTo>
                  <a:pt x="358" y="737"/>
                </a:lnTo>
                <a:lnTo>
                  <a:pt x="364" y="738"/>
                </a:lnTo>
                <a:lnTo>
                  <a:pt x="367" y="740"/>
                </a:lnTo>
                <a:lnTo>
                  <a:pt x="370" y="743"/>
                </a:lnTo>
                <a:lnTo>
                  <a:pt x="374" y="746"/>
                </a:lnTo>
                <a:lnTo>
                  <a:pt x="378" y="744"/>
                </a:lnTo>
                <a:lnTo>
                  <a:pt x="382" y="747"/>
                </a:lnTo>
                <a:lnTo>
                  <a:pt x="388" y="754"/>
                </a:lnTo>
                <a:lnTo>
                  <a:pt x="395" y="768"/>
                </a:lnTo>
                <a:lnTo>
                  <a:pt x="415" y="799"/>
                </a:lnTo>
                <a:lnTo>
                  <a:pt x="416" y="804"/>
                </a:lnTo>
                <a:lnTo>
                  <a:pt x="413" y="817"/>
                </a:lnTo>
                <a:lnTo>
                  <a:pt x="414" y="824"/>
                </a:lnTo>
                <a:lnTo>
                  <a:pt x="416" y="832"/>
                </a:lnTo>
                <a:lnTo>
                  <a:pt x="421" y="842"/>
                </a:lnTo>
                <a:lnTo>
                  <a:pt x="426" y="848"/>
                </a:lnTo>
                <a:lnTo>
                  <a:pt x="429" y="856"/>
                </a:lnTo>
                <a:lnTo>
                  <a:pt x="428" y="866"/>
                </a:lnTo>
                <a:lnTo>
                  <a:pt x="421" y="879"/>
                </a:lnTo>
                <a:lnTo>
                  <a:pt x="409" y="923"/>
                </a:lnTo>
                <a:lnTo>
                  <a:pt x="407" y="926"/>
                </a:lnTo>
                <a:lnTo>
                  <a:pt x="398" y="932"/>
                </a:lnTo>
                <a:lnTo>
                  <a:pt x="395" y="938"/>
                </a:lnTo>
                <a:lnTo>
                  <a:pt x="396" y="944"/>
                </a:lnTo>
                <a:lnTo>
                  <a:pt x="418" y="972"/>
                </a:lnTo>
                <a:lnTo>
                  <a:pt x="441" y="1009"/>
                </a:lnTo>
                <a:lnTo>
                  <a:pt x="445" y="1019"/>
                </a:lnTo>
                <a:lnTo>
                  <a:pt x="445" y="1024"/>
                </a:lnTo>
                <a:lnTo>
                  <a:pt x="441" y="1035"/>
                </a:lnTo>
                <a:lnTo>
                  <a:pt x="435" y="1058"/>
                </a:lnTo>
                <a:lnTo>
                  <a:pt x="426" y="1078"/>
                </a:lnTo>
                <a:lnTo>
                  <a:pt x="391" y="1047"/>
                </a:lnTo>
                <a:lnTo>
                  <a:pt x="341" y="963"/>
                </a:lnTo>
                <a:lnTo>
                  <a:pt x="333" y="955"/>
                </a:lnTo>
                <a:lnTo>
                  <a:pt x="313" y="939"/>
                </a:lnTo>
                <a:lnTo>
                  <a:pt x="305" y="934"/>
                </a:lnTo>
                <a:lnTo>
                  <a:pt x="290" y="926"/>
                </a:lnTo>
                <a:lnTo>
                  <a:pt x="260" y="906"/>
                </a:lnTo>
                <a:lnTo>
                  <a:pt x="247" y="899"/>
                </a:lnTo>
                <a:lnTo>
                  <a:pt x="233" y="898"/>
                </a:lnTo>
                <a:lnTo>
                  <a:pt x="220" y="899"/>
                </a:lnTo>
                <a:lnTo>
                  <a:pt x="186" y="911"/>
                </a:lnTo>
                <a:lnTo>
                  <a:pt x="163" y="916"/>
                </a:lnTo>
                <a:lnTo>
                  <a:pt x="148" y="912"/>
                </a:lnTo>
                <a:lnTo>
                  <a:pt x="143" y="907"/>
                </a:lnTo>
                <a:lnTo>
                  <a:pt x="138" y="892"/>
                </a:lnTo>
                <a:lnTo>
                  <a:pt x="123" y="864"/>
                </a:lnTo>
                <a:lnTo>
                  <a:pt x="115" y="841"/>
                </a:lnTo>
                <a:lnTo>
                  <a:pt x="110" y="833"/>
                </a:lnTo>
                <a:lnTo>
                  <a:pt x="93" y="811"/>
                </a:lnTo>
                <a:lnTo>
                  <a:pt x="86" y="800"/>
                </a:lnTo>
                <a:lnTo>
                  <a:pt x="82" y="786"/>
                </a:lnTo>
                <a:lnTo>
                  <a:pt x="75" y="772"/>
                </a:lnTo>
                <a:lnTo>
                  <a:pt x="65" y="763"/>
                </a:lnTo>
                <a:lnTo>
                  <a:pt x="11" y="735"/>
                </a:lnTo>
                <a:lnTo>
                  <a:pt x="7" y="729"/>
                </a:lnTo>
                <a:lnTo>
                  <a:pt x="5" y="723"/>
                </a:lnTo>
                <a:lnTo>
                  <a:pt x="4" y="713"/>
                </a:lnTo>
                <a:lnTo>
                  <a:pt x="5" y="705"/>
                </a:lnTo>
                <a:lnTo>
                  <a:pt x="8" y="693"/>
                </a:lnTo>
                <a:lnTo>
                  <a:pt x="10" y="689"/>
                </a:lnTo>
                <a:lnTo>
                  <a:pt x="1" y="660"/>
                </a:lnTo>
                <a:lnTo>
                  <a:pt x="0" y="652"/>
                </a:lnTo>
                <a:lnTo>
                  <a:pt x="3" y="610"/>
                </a:lnTo>
                <a:lnTo>
                  <a:pt x="5" y="602"/>
                </a:lnTo>
                <a:lnTo>
                  <a:pt x="15" y="572"/>
                </a:lnTo>
                <a:lnTo>
                  <a:pt x="18" y="566"/>
                </a:lnTo>
                <a:lnTo>
                  <a:pt x="27" y="554"/>
                </a:lnTo>
                <a:lnTo>
                  <a:pt x="39" y="541"/>
                </a:lnTo>
                <a:lnTo>
                  <a:pt x="44" y="533"/>
                </a:lnTo>
                <a:lnTo>
                  <a:pt x="82" y="463"/>
                </a:lnTo>
                <a:lnTo>
                  <a:pt x="84" y="456"/>
                </a:lnTo>
                <a:lnTo>
                  <a:pt x="85" y="450"/>
                </a:lnTo>
                <a:lnTo>
                  <a:pt x="85" y="436"/>
                </a:lnTo>
                <a:lnTo>
                  <a:pt x="86" y="431"/>
                </a:lnTo>
                <a:lnTo>
                  <a:pt x="89" y="429"/>
                </a:lnTo>
                <a:lnTo>
                  <a:pt x="91" y="427"/>
                </a:lnTo>
                <a:lnTo>
                  <a:pt x="94" y="426"/>
                </a:lnTo>
                <a:lnTo>
                  <a:pt x="102" y="424"/>
                </a:lnTo>
                <a:lnTo>
                  <a:pt x="105" y="423"/>
                </a:lnTo>
                <a:lnTo>
                  <a:pt x="107" y="419"/>
                </a:lnTo>
                <a:lnTo>
                  <a:pt x="108" y="412"/>
                </a:lnTo>
                <a:lnTo>
                  <a:pt x="109" y="409"/>
                </a:lnTo>
                <a:lnTo>
                  <a:pt x="112" y="406"/>
                </a:lnTo>
                <a:lnTo>
                  <a:pt x="115" y="406"/>
                </a:lnTo>
                <a:lnTo>
                  <a:pt x="119" y="405"/>
                </a:lnTo>
                <a:lnTo>
                  <a:pt x="123" y="403"/>
                </a:lnTo>
                <a:lnTo>
                  <a:pt x="125" y="399"/>
                </a:lnTo>
                <a:lnTo>
                  <a:pt x="128" y="394"/>
                </a:lnTo>
                <a:lnTo>
                  <a:pt x="129" y="386"/>
                </a:lnTo>
                <a:lnTo>
                  <a:pt x="132" y="381"/>
                </a:lnTo>
                <a:lnTo>
                  <a:pt x="136" y="379"/>
                </a:lnTo>
                <a:lnTo>
                  <a:pt x="146" y="378"/>
                </a:lnTo>
                <a:lnTo>
                  <a:pt x="150" y="375"/>
                </a:lnTo>
                <a:lnTo>
                  <a:pt x="157" y="365"/>
                </a:lnTo>
                <a:lnTo>
                  <a:pt x="164" y="357"/>
                </a:lnTo>
                <a:lnTo>
                  <a:pt x="167" y="353"/>
                </a:lnTo>
                <a:lnTo>
                  <a:pt x="171" y="349"/>
                </a:lnTo>
                <a:lnTo>
                  <a:pt x="177" y="347"/>
                </a:lnTo>
                <a:lnTo>
                  <a:pt x="184" y="346"/>
                </a:lnTo>
                <a:lnTo>
                  <a:pt x="189" y="344"/>
                </a:lnTo>
                <a:lnTo>
                  <a:pt x="194" y="339"/>
                </a:lnTo>
                <a:lnTo>
                  <a:pt x="197" y="332"/>
                </a:lnTo>
                <a:lnTo>
                  <a:pt x="201" y="309"/>
                </a:lnTo>
                <a:lnTo>
                  <a:pt x="203" y="303"/>
                </a:lnTo>
                <a:lnTo>
                  <a:pt x="207" y="296"/>
                </a:lnTo>
                <a:lnTo>
                  <a:pt x="211" y="290"/>
                </a:lnTo>
                <a:lnTo>
                  <a:pt x="216" y="287"/>
                </a:lnTo>
                <a:lnTo>
                  <a:pt x="222" y="284"/>
                </a:lnTo>
                <a:lnTo>
                  <a:pt x="226" y="277"/>
                </a:lnTo>
                <a:lnTo>
                  <a:pt x="225" y="274"/>
                </a:lnTo>
                <a:lnTo>
                  <a:pt x="223" y="269"/>
                </a:lnTo>
                <a:lnTo>
                  <a:pt x="223" y="262"/>
                </a:lnTo>
                <a:lnTo>
                  <a:pt x="234" y="233"/>
                </a:lnTo>
                <a:lnTo>
                  <a:pt x="237" y="211"/>
                </a:lnTo>
                <a:lnTo>
                  <a:pt x="233" y="202"/>
                </a:lnTo>
                <a:lnTo>
                  <a:pt x="224" y="196"/>
                </a:lnTo>
                <a:lnTo>
                  <a:pt x="213" y="196"/>
                </a:lnTo>
                <a:lnTo>
                  <a:pt x="189" y="198"/>
                </a:lnTo>
                <a:lnTo>
                  <a:pt x="168" y="205"/>
                </a:lnTo>
                <a:lnTo>
                  <a:pt x="181" y="178"/>
                </a:lnTo>
                <a:lnTo>
                  <a:pt x="190" y="131"/>
                </a:lnTo>
                <a:lnTo>
                  <a:pt x="195" y="119"/>
                </a:lnTo>
                <a:lnTo>
                  <a:pt x="202" y="112"/>
                </a:lnTo>
                <a:lnTo>
                  <a:pt x="208" y="108"/>
                </a:lnTo>
                <a:lnTo>
                  <a:pt x="215" y="106"/>
                </a:lnTo>
                <a:lnTo>
                  <a:pt x="222" y="102"/>
                </a:lnTo>
                <a:lnTo>
                  <a:pt x="224" y="99"/>
                </a:lnTo>
                <a:lnTo>
                  <a:pt x="232" y="75"/>
                </a:lnTo>
                <a:lnTo>
                  <a:pt x="247" y="44"/>
                </a:lnTo>
                <a:lnTo>
                  <a:pt x="252" y="30"/>
                </a:lnTo>
                <a:lnTo>
                  <a:pt x="261" y="0"/>
                </a:lnTo>
                <a:lnTo>
                  <a:pt x="281" y="0"/>
                </a:lnTo>
                <a:lnTo>
                  <a:pt x="296" y="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3" name="Freeform 17">
            <a:extLst>
              <a:ext uri="{FF2B5EF4-FFF2-40B4-BE49-F238E27FC236}">
                <a16:creationId xmlns:a16="http://schemas.microsoft.com/office/drawing/2014/main" id="{0DD43EAA-FDFA-BDAE-3023-3EE72D1F5B61}"/>
              </a:ext>
            </a:extLst>
          </p:cNvPr>
          <p:cNvSpPr>
            <a:spLocks/>
          </p:cNvSpPr>
          <p:nvPr/>
        </p:nvSpPr>
        <p:spPr bwMode="auto">
          <a:xfrm>
            <a:off x="4389583" y="4943769"/>
            <a:ext cx="1470895" cy="1424279"/>
          </a:xfrm>
          <a:custGeom>
            <a:avLst/>
            <a:gdLst>
              <a:gd name="T0" fmla="*/ 808 w 946"/>
              <a:gd name="T1" fmla="*/ 19 h 968"/>
              <a:gd name="T2" fmla="*/ 818 w 946"/>
              <a:gd name="T3" fmla="*/ 73 h 968"/>
              <a:gd name="T4" fmla="*/ 884 w 946"/>
              <a:gd name="T5" fmla="*/ 78 h 968"/>
              <a:gd name="T6" fmla="*/ 926 w 946"/>
              <a:gd name="T7" fmla="*/ 141 h 968"/>
              <a:gd name="T8" fmla="*/ 932 w 946"/>
              <a:gd name="T9" fmla="*/ 223 h 968"/>
              <a:gd name="T10" fmla="*/ 915 w 946"/>
              <a:gd name="T11" fmla="*/ 252 h 968"/>
              <a:gd name="T12" fmla="*/ 894 w 946"/>
              <a:gd name="T13" fmla="*/ 260 h 968"/>
              <a:gd name="T14" fmla="*/ 886 w 946"/>
              <a:gd name="T15" fmla="*/ 276 h 968"/>
              <a:gd name="T16" fmla="*/ 923 w 946"/>
              <a:gd name="T17" fmla="*/ 341 h 968"/>
              <a:gd name="T18" fmla="*/ 930 w 946"/>
              <a:gd name="T19" fmla="*/ 387 h 968"/>
              <a:gd name="T20" fmla="*/ 923 w 946"/>
              <a:gd name="T21" fmla="*/ 472 h 968"/>
              <a:gd name="T22" fmla="*/ 912 w 946"/>
              <a:gd name="T23" fmla="*/ 549 h 968"/>
              <a:gd name="T24" fmla="*/ 927 w 946"/>
              <a:gd name="T25" fmla="*/ 561 h 968"/>
              <a:gd name="T26" fmla="*/ 944 w 946"/>
              <a:gd name="T27" fmla="*/ 584 h 968"/>
              <a:gd name="T28" fmla="*/ 941 w 946"/>
              <a:gd name="T29" fmla="*/ 665 h 968"/>
              <a:gd name="T30" fmla="*/ 936 w 946"/>
              <a:gd name="T31" fmla="*/ 730 h 968"/>
              <a:gd name="T32" fmla="*/ 905 w 946"/>
              <a:gd name="T33" fmla="*/ 770 h 968"/>
              <a:gd name="T34" fmla="*/ 880 w 946"/>
              <a:gd name="T35" fmla="*/ 784 h 968"/>
              <a:gd name="T36" fmla="*/ 852 w 946"/>
              <a:gd name="T37" fmla="*/ 776 h 968"/>
              <a:gd name="T38" fmla="*/ 819 w 946"/>
              <a:gd name="T39" fmla="*/ 775 h 968"/>
              <a:gd name="T40" fmla="*/ 797 w 946"/>
              <a:gd name="T41" fmla="*/ 822 h 968"/>
              <a:gd name="T42" fmla="*/ 771 w 946"/>
              <a:gd name="T43" fmla="*/ 889 h 968"/>
              <a:gd name="T44" fmla="*/ 705 w 946"/>
              <a:gd name="T45" fmla="*/ 967 h 968"/>
              <a:gd name="T46" fmla="*/ 677 w 946"/>
              <a:gd name="T47" fmla="*/ 824 h 968"/>
              <a:gd name="T48" fmla="*/ 640 w 946"/>
              <a:gd name="T49" fmla="*/ 797 h 968"/>
              <a:gd name="T50" fmla="*/ 549 w 946"/>
              <a:gd name="T51" fmla="*/ 749 h 968"/>
              <a:gd name="T52" fmla="*/ 425 w 946"/>
              <a:gd name="T53" fmla="*/ 734 h 968"/>
              <a:gd name="T54" fmla="*/ 339 w 946"/>
              <a:gd name="T55" fmla="*/ 702 h 968"/>
              <a:gd name="T56" fmla="*/ 266 w 946"/>
              <a:gd name="T57" fmla="*/ 652 h 968"/>
              <a:gd name="T58" fmla="*/ 214 w 946"/>
              <a:gd name="T59" fmla="*/ 648 h 968"/>
              <a:gd name="T60" fmla="*/ 184 w 946"/>
              <a:gd name="T61" fmla="*/ 699 h 968"/>
              <a:gd name="T62" fmla="*/ 83 w 946"/>
              <a:gd name="T63" fmla="*/ 771 h 968"/>
              <a:gd name="T64" fmla="*/ 15 w 946"/>
              <a:gd name="T65" fmla="*/ 728 h 968"/>
              <a:gd name="T66" fmla="*/ 53 w 946"/>
              <a:gd name="T67" fmla="*/ 597 h 968"/>
              <a:gd name="T68" fmla="*/ 18 w 946"/>
              <a:gd name="T69" fmla="*/ 539 h 968"/>
              <a:gd name="T70" fmla="*/ 2 w 946"/>
              <a:gd name="T71" fmla="*/ 494 h 968"/>
              <a:gd name="T72" fmla="*/ 44 w 946"/>
              <a:gd name="T73" fmla="*/ 440 h 968"/>
              <a:gd name="T74" fmla="*/ 126 w 946"/>
              <a:gd name="T75" fmla="*/ 461 h 968"/>
              <a:gd name="T76" fmla="*/ 223 w 946"/>
              <a:gd name="T77" fmla="*/ 389 h 968"/>
              <a:gd name="T78" fmla="*/ 335 w 946"/>
              <a:gd name="T79" fmla="*/ 358 h 968"/>
              <a:gd name="T80" fmla="*/ 449 w 946"/>
              <a:gd name="T81" fmla="*/ 335 h 968"/>
              <a:gd name="T82" fmla="*/ 541 w 946"/>
              <a:gd name="T83" fmla="*/ 330 h 968"/>
              <a:gd name="T84" fmla="*/ 602 w 946"/>
              <a:gd name="T85" fmla="*/ 285 h 968"/>
              <a:gd name="T86" fmla="*/ 631 w 946"/>
              <a:gd name="T87" fmla="*/ 310 h 968"/>
              <a:gd name="T88" fmla="*/ 694 w 946"/>
              <a:gd name="T89" fmla="*/ 317 h 968"/>
              <a:gd name="T90" fmla="*/ 741 w 946"/>
              <a:gd name="T91" fmla="*/ 306 h 968"/>
              <a:gd name="T92" fmla="*/ 744 w 946"/>
              <a:gd name="T93" fmla="*/ 264 h 968"/>
              <a:gd name="T94" fmla="*/ 767 w 946"/>
              <a:gd name="T95" fmla="*/ 228 h 968"/>
              <a:gd name="T96" fmla="*/ 755 w 946"/>
              <a:gd name="T97" fmla="*/ 193 h 968"/>
              <a:gd name="T98" fmla="*/ 721 w 946"/>
              <a:gd name="T99" fmla="*/ 177 h 968"/>
              <a:gd name="T100" fmla="*/ 692 w 946"/>
              <a:gd name="T101" fmla="*/ 206 h 968"/>
              <a:gd name="T102" fmla="*/ 697 w 946"/>
              <a:gd name="T103" fmla="*/ 147 h 968"/>
              <a:gd name="T104" fmla="*/ 730 w 946"/>
              <a:gd name="T105" fmla="*/ 85 h 968"/>
              <a:gd name="T106" fmla="*/ 720 w 946"/>
              <a:gd name="T107" fmla="*/ 69 h 968"/>
              <a:gd name="T108" fmla="*/ 704 w 946"/>
              <a:gd name="T109" fmla="*/ 36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" h="968">
                <a:moveTo>
                  <a:pt x="766" y="10"/>
                </a:moveTo>
                <a:lnTo>
                  <a:pt x="784" y="8"/>
                </a:lnTo>
                <a:lnTo>
                  <a:pt x="793" y="8"/>
                </a:lnTo>
                <a:lnTo>
                  <a:pt x="801" y="13"/>
                </a:lnTo>
                <a:lnTo>
                  <a:pt x="808" y="19"/>
                </a:lnTo>
                <a:lnTo>
                  <a:pt x="812" y="30"/>
                </a:lnTo>
                <a:lnTo>
                  <a:pt x="813" y="37"/>
                </a:lnTo>
                <a:lnTo>
                  <a:pt x="812" y="50"/>
                </a:lnTo>
                <a:lnTo>
                  <a:pt x="813" y="65"/>
                </a:lnTo>
                <a:lnTo>
                  <a:pt x="818" y="73"/>
                </a:lnTo>
                <a:lnTo>
                  <a:pt x="825" y="82"/>
                </a:lnTo>
                <a:lnTo>
                  <a:pt x="842" y="89"/>
                </a:lnTo>
                <a:lnTo>
                  <a:pt x="855" y="89"/>
                </a:lnTo>
                <a:lnTo>
                  <a:pt x="865" y="88"/>
                </a:lnTo>
                <a:lnTo>
                  <a:pt x="884" y="78"/>
                </a:lnTo>
                <a:lnTo>
                  <a:pt x="890" y="77"/>
                </a:lnTo>
                <a:lnTo>
                  <a:pt x="894" y="81"/>
                </a:lnTo>
                <a:lnTo>
                  <a:pt x="899" y="94"/>
                </a:lnTo>
                <a:lnTo>
                  <a:pt x="906" y="108"/>
                </a:lnTo>
                <a:lnTo>
                  <a:pt x="926" y="141"/>
                </a:lnTo>
                <a:lnTo>
                  <a:pt x="931" y="154"/>
                </a:lnTo>
                <a:lnTo>
                  <a:pt x="931" y="169"/>
                </a:lnTo>
                <a:lnTo>
                  <a:pt x="933" y="189"/>
                </a:lnTo>
                <a:lnTo>
                  <a:pt x="945" y="207"/>
                </a:lnTo>
                <a:lnTo>
                  <a:pt x="932" y="223"/>
                </a:lnTo>
                <a:lnTo>
                  <a:pt x="927" y="225"/>
                </a:lnTo>
                <a:lnTo>
                  <a:pt x="917" y="234"/>
                </a:lnTo>
                <a:lnTo>
                  <a:pt x="915" y="238"/>
                </a:lnTo>
                <a:lnTo>
                  <a:pt x="915" y="248"/>
                </a:lnTo>
                <a:lnTo>
                  <a:pt x="915" y="252"/>
                </a:lnTo>
                <a:lnTo>
                  <a:pt x="912" y="257"/>
                </a:lnTo>
                <a:lnTo>
                  <a:pt x="909" y="259"/>
                </a:lnTo>
                <a:lnTo>
                  <a:pt x="905" y="260"/>
                </a:lnTo>
                <a:lnTo>
                  <a:pt x="898" y="261"/>
                </a:lnTo>
                <a:lnTo>
                  <a:pt x="894" y="260"/>
                </a:lnTo>
                <a:lnTo>
                  <a:pt x="890" y="261"/>
                </a:lnTo>
                <a:lnTo>
                  <a:pt x="887" y="262"/>
                </a:lnTo>
                <a:lnTo>
                  <a:pt x="885" y="265"/>
                </a:lnTo>
                <a:lnTo>
                  <a:pt x="884" y="271"/>
                </a:lnTo>
                <a:lnTo>
                  <a:pt x="886" y="276"/>
                </a:lnTo>
                <a:lnTo>
                  <a:pt x="887" y="282"/>
                </a:lnTo>
                <a:lnTo>
                  <a:pt x="893" y="293"/>
                </a:lnTo>
                <a:lnTo>
                  <a:pt x="903" y="316"/>
                </a:lnTo>
                <a:lnTo>
                  <a:pt x="910" y="326"/>
                </a:lnTo>
                <a:lnTo>
                  <a:pt x="923" y="341"/>
                </a:lnTo>
                <a:lnTo>
                  <a:pt x="930" y="355"/>
                </a:lnTo>
                <a:lnTo>
                  <a:pt x="932" y="362"/>
                </a:lnTo>
                <a:lnTo>
                  <a:pt x="933" y="373"/>
                </a:lnTo>
                <a:lnTo>
                  <a:pt x="933" y="379"/>
                </a:lnTo>
                <a:lnTo>
                  <a:pt x="930" y="387"/>
                </a:lnTo>
                <a:lnTo>
                  <a:pt x="925" y="401"/>
                </a:lnTo>
                <a:lnTo>
                  <a:pt x="920" y="416"/>
                </a:lnTo>
                <a:lnTo>
                  <a:pt x="918" y="436"/>
                </a:lnTo>
                <a:lnTo>
                  <a:pt x="919" y="452"/>
                </a:lnTo>
                <a:lnTo>
                  <a:pt x="923" y="472"/>
                </a:lnTo>
                <a:lnTo>
                  <a:pt x="922" y="482"/>
                </a:lnTo>
                <a:lnTo>
                  <a:pt x="912" y="520"/>
                </a:lnTo>
                <a:lnTo>
                  <a:pt x="911" y="534"/>
                </a:lnTo>
                <a:lnTo>
                  <a:pt x="910" y="544"/>
                </a:lnTo>
                <a:lnTo>
                  <a:pt x="912" y="549"/>
                </a:lnTo>
                <a:lnTo>
                  <a:pt x="914" y="552"/>
                </a:lnTo>
                <a:lnTo>
                  <a:pt x="915" y="555"/>
                </a:lnTo>
                <a:lnTo>
                  <a:pt x="917" y="557"/>
                </a:lnTo>
                <a:lnTo>
                  <a:pt x="920" y="558"/>
                </a:lnTo>
                <a:lnTo>
                  <a:pt x="927" y="561"/>
                </a:lnTo>
                <a:lnTo>
                  <a:pt x="930" y="563"/>
                </a:lnTo>
                <a:lnTo>
                  <a:pt x="933" y="566"/>
                </a:lnTo>
                <a:lnTo>
                  <a:pt x="936" y="570"/>
                </a:lnTo>
                <a:lnTo>
                  <a:pt x="942" y="578"/>
                </a:lnTo>
                <a:lnTo>
                  <a:pt x="944" y="584"/>
                </a:lnTo>
                <a:lnTo>
                  <a:pt x="945" y="589"/>
                </a:lnTo>
                <a:lnTo>
                  <a:pt x="945" y="601"/>
                </a:lnTo>
                <a:lnTo>
                  <a:pt x="944" y="610"/>
                </a:lnTo>
                <a:lnTo>
                  <a:pt x="946" y="627"/>
                </a:lnTo>
                <a:lnTo>
                  <a:pt x="941" y="665"/>
                </a:lnTo>
                <a:lnTo>
                  <a:pt x="942" y="673"/>
                </a:lnTo>
                <a:lnTo>
                  <a:pt x="943" y="689"/>
                </a:lnTo>
                <a:lnTo>
                  <a:pt x="942" y="703"/>
                </a:lnTo>
                <a:lnTo>
                  <a:pt x="938" y="725"/>
                </a:lnTo>
                <a:lnTo>
                  <a:pt x="936" y="730"/>
                </a:lnTo>
                <a:lnTo>
                  <a:pt x="932" y="734"/>
                </a:lnTo>
                <a:lnTo>
                  <a:pt x="925" y="742"/>
                </a:lnTo>
                <a:lnTo>
                  <a:pt x="915" y="756"/>
                </a:lnTo>
                <a:lnTo>
                  <a:pt x="910" y="766"/>
                </a:lnTo>
                <a:lnTo>
                  <a:pt x="905" y="770"/>
                </a:lnTo>
                <a:lnTo>
                  <a:pt x="899" y="772"/>
                </a:lnTo>
                <a:lnTo>
                  <a:pt x="893" y="773"/>
                </a:lnTo>
                <a:lnTo>
                  <a:pt x="888" y="776"/>
                </a:lnTo>
                <a:lnTo>
                  <a:pt x="884" y="779"/>
                </a:lnTo>
                <a:lnTo>
                  <a:pt x="880" y="784"/>
                </a:lnTo>
                <a:lnTo>
                  <a:pt x="876" y="789"/>
                </a:lnTo>
                <a:lnTo>
                  <a:pt x="871" y="789"/>
                </a:lnTo>
                <a:lnTo>
                  <a:pt x="864" y="783"/>
                </a:lnTo>
                <a:lnTo>
                  <a:pt x="858" y="779"/>
                </a:lnTo>
                <a:lnTo>
                  <a:pt x="852" y="776"/>
                </a:lnTo>
                <a:lnTo>
                  <a:pt x="844" y="775"/>
                </a:lnTo>
                <a:lnTo>
                  <a:pt x="835" y="771"/>
                </a:lnTo>
                <a:lnTo>
                  <a:pt x="828" y="770"/>
                </a:lnTo>
                <a:lnTo>
                  <a:pt x="823" y="770"/>
                </a:lnTo>
                <a:lnTo>
                  <a:pt x="819" y="775"/>
                </a:lnTo>
                <a:lnTo>
                  <a:pt x="814" y="782"/>
                </a:lnTo>
                <a:lnTo>
                  <a:pt x="811" y="788"/>
                </a:lnTo>
                <a:lnTo>
                  <a:pt x="800" y="795"/>
                </a:lnTo>
                <a:lnTo>
                  <a:pt x="797" y="816"/>
                </a:lnTo>
                <a:lnTo>
                  <a:pt x="797" y="822"/>
                </a:lnTo>
                <a:lnTo>
                  <a:pt x="800" y="835"/>
                </a:lnTo>
                <a:lnTo>
                  <a:pt x="799" y="842"/>
                </a:lnTo>
                <a:lnTo>
                  <a:pt x="796" y="851"/>
                </a:lnTo>
                <a:lnTo>
                  <a:pt x="792" y="859"/>
                </a:lnTo>
                <a:lnTo>
                  <a:pt x="771" y="889"/>
                </a:lnTo>
                <a:lnTo>
                  <a:pt x="762" y="898"/>
                </a:lnTo>
                <a:lnTo>
                  <a:pt x="740" y="934"/>
                </a:lnTo>
                <a:lnTo>
                  <a:pt x="711" y="965"/>
                </a:lnTo>
                <a:lnTo>
                  <a:pt x="705" y="968"/>
                </a:lnTo>
                <a:lnTo>
                  <a:pt x="705" y="967"/>
                </a:lnTo>
                <a:lnTo>
                  <a:pt x="688" y="934"/>
                </a:lnTo>
                <a:lnTo>
                  <a:pt x="680" y="895"/>
                </a:lnTo>
                <a:lnTo>
                  <a:pt x="660" y="866"/>
                </a:lnTo>
                <a:lnTo>
                  <a:pt x="660" y="851"/>
                </a:lnTo>
                <a:lnTo>
                  <a:pt x="677" y="824"/>
                </a:lnTo>
                <a:lnTo>
                  <a:pt x="678" y="814"/>
                </a:lnTo>
                <a:lnTo>
                  <a:pt x="675" y="808"/>
                </a:lnTo>
                <a:lnTo>
                  <a:pt x="660" y="799"/>
                </a:lnTo>
                <a:lnTo>
                  <a:pt x="644" y="799"/>
                </a:lnTo>
                <a:lnTo>
                  <a:pt x="640" y="797"/>
                </a:lnTo>
                <a:lnTo>
                  <a:pt x="631" y="791"/>
                </a:lnTo>
                <a:lnTo>
                  <a:pt x="626" y="789"/>
                </a:lnTo>
                <a:lnTo>
                  <a:pt x="592" y="755"/>
                </a:lnTo>
                <a:lnTo>
                  <a:pt x="573" y="745"/>
                </a:lnTo>
                <a:lnTo>
                  <a:pt x="549" y="749"/>
                </a:lnTo>
                <a:lnTo>
                  <a:pt x="526" y="763"/>
                </a:lnTo>
                <a:lnTo>
                  <a:pt x="481" y="777"/>
                </a:lnTo>
                <a:lnTo>
                  <a:pt x="456" y="772"/>
                </a:lnTo>
                <a:lnTo>
                  <a:pt x="439" y="755"/>
                </a:lnTo>
                <a:lnTo>
                  <a:pt x="425" y="734"/>
                </a:lnTo>
                <a:lnTo>
                  <a:pt x="408" y="718"/>
                </a:lnTo>
                <a:lnTo>
                  <a:pt x="391" y="714"/>
                </a:lnTo>
                <a:lnTo>
                  <a:pt x="373" y="714"/>
                </a:lnTo>
                <a:lnTo>
                  <a:pt x="356" y="712"/>
                </a:lnTo>
                <a:lnTo>
                  <a:pt x="339" y="702"/>
                </a:lnTo>
                <a:lnTo>
                  <a:pt x="325" y="692"/>
                </a:lnTo>
                <a:lnTo>
                  <a:pt x="303" y="668"/>
                </a:lnTo>
                <a:lnTo>
                  <a:pt x="291" y="659"/>
                </a:lnTo>
                <a:lnTo>
                  <a:pt x="279" y="654"/>
                </a:lnTo>
                <a:lnTo>
                  <a:pt x="266" y="652"/>
                </a:lnTo>
                <a:lnTo>
                  <a:pt x="254" y="648"/>
                </a:lnTo>
                <a:lnTo>
                  <a:pt x="250" y="641"/>
                </a:lnTo>
                <a:lnTo>
                  <a:pt x="249" y="641"/>
                </a:lnTo>
                <a:lnTo>
                  <a:pt x="222" y="646"/>
                </a:lnTo>
                <a:lnTo>
                  <a:pt x="214" y="648"/>
                </a:lnTo>
                <a:lnTo>
                  <a:pt x="206" y="651"/>
                </a:lnTo>
                <a:lnTo>
                  <a:pt x="201" y="655"/>
                </a:lnTo>
                <a:lnTo>
                  <a:pt x="196" y="665"/>
                </a:lnTo>
                <a:lnTo>
                  <a:pt x="189" y="689"/>
                </a:lnTo>
                <a:lnTo>
                  <a:pt x="184" y="699"/>
                </a:lnTo>
                <a:lnTo>
                  <a:pt x="173" y="711"/>
                </a:lnTo>
                <a:lnTo>
                  <a:pt x="122" y="750"/>
                </a:lnTo>
                <a:lnTo>
                  <a:pt x="94" y="765"/>
                </a:lnTo>
                <a:lnTo>
                  <a:pt x="88" y="770"/>
                </a:lnTo>
                <a:lnTo>
                  <a:pt x="83" y="771"/>
                </a:lnTo>
                <a:lnTo>
                  <a:pt x="71" y="771"/>
                </a:lnTo>
                <a:lnTo>
                  <a:pt x="59" y="767"/>
                </a:lnTo>
                <a:lnTo>
                  <a:pt x="30" y="751"/>
                </a:lnTo>
                <a:lnTo>
                  <a:pt x="20" y="742"/>
                </a:lnTo>
                <a:lnTo>
                  <a:pt x="15" y="728"/>
                </a:lnTo>
                <a:lnTo>
                  <a:pt x="17" y="717"/>
                </a:lnTo>
                <a:lnTo>
                  <a:pt x="106" y="599"/>
                </a:lnTo>
                <a:lnTo>
                  <a:pt x="113" y="584"/>
                </a:lnTo>
                <a:lnTo>
                  <a:pt x="82" y="588"/>
                </a:lnTo>
                <a:lnTo>
                  <a:pt x="53" y="597"/>
                </a:lnTo>
                <a:lnTo>
                  <a:pt x="30" y="594"/>
                </a:lnTo>
                <a:lnTo>
                  <a:pt x="16" y="564"/>
                </a:lnTo>
                <a:lnTo>
                  <a:pt x="16" y="558"/>
                </a:lnTo>
                <a:lnTo>
                  <a:pt x="18" y="545"/>
                </a:lnTo>
                <a:lnTo>
                  <a:pt x="18" y="539"/>
                </a:lnTo>
                <a:lnTo>
                  <a:pt x="15" y="531"/>
                </a:lnTo>
                <a:lnTo>
                  <a:pt x="4" y="516"/>
                </a:lnTo>
                <a:lnTo>
                  <a:pt x="0" y="507"/>
                </a:lnTo>
                <a:lnTo>
                  <a:pt x="2" y="495"/>
                </a:lnTo>
                <a:lnTo>
                  <a:pt x="2" y="494"/>
                </a:lnTo>
                <a:lnTo>
                  <a:pt x="7" y="477"/>
                </a:lnTo>
                <a:lnTo>
                  <a:pt x="15" y="460"/>
                </a:lnTo>
                <a:lnTo>
                  <a:pt x="22" y="451"/>
                </a:lnTo>
                <a:lnTo>
                  <a:pt x="32" y="443"/>
                </a:lnTo>
                <a:lnTo>
                  <a:pt x="44" y="440"/>
                </a:lnTo>
                <a:lnTo>
                  <a:pt x="58" y="439"/>
                </a:lnTo>
                <a:lnTo>
                  <a:pt x="72" y="439"/>
                </a:lnTo>
                <a:lnTo>
                  <a:pt x="85" y="443"/>
                </a:lnTo>
                <a:lnTo>
                  <a:pt x="113" y="458"/>
                </a:lnTo>
                <a:lnTo>
                  <a:pt x="126" y="461"/>
                </a:lnTo>
                <a:lnTo>
                  <a:pt x="140" y="454"/>
                </a:lnTo>
                <a:lnTo>
                  <a:pt x="151" y="441"/>
                </a:lnTo>
                <a:lnTo>
                  <a:pt x="161" y="425"/>
                </a:lnTo>
                <a:lnTo>
                  <a:pt x="171" y="413"/>
                </a:lnTo>
                <a:lnTo>
                  <a:pt x="223" y="389"/>
                </a:lnTo>
                <a:lnTo>
                  <a:pt x="234" y="377"/>
                </a:lnTo>
                <a:lnTo>
                  <a:pt x="234" y="370"/>
                </a:lnTo>
                <a:lnTo>
                  <a:pt x="243" y="370"/>
                </a:lnTo>
                <a:lnTo>
                  <a:pt x="293" y="367"/>
                </a:lnTo>
                <a:lnTo>
                  <a:pt x="335" y="358"/>
                </a:lnTo>
                <a:lnTo>
                  <a:pt x="374" y="339"/>
                </a:lnTo>
                <a:lnTo>
                  <a:pt x="387" y="337"/>
                </a:lnTo>
                <a:lnTo>
                  <a:pt x="426" y="332"/>
                </a:lnTo>
                <a:lnTo>
                  <a:pt x="438" y="332"/>
                </a:lnTo>
                <a:lnTo>
                  <a:pt x="449" y="335"/>
                </a:lnTo>
                <a:lnTo>
                  <a:pt x="462" y="340"/>
                </a:lnTo>
                <a:lnTo>
                  <a:pt x="474" y="341"/>
                </a:lnTo>
                <a:lnTo>
                  <a:pt x="517" y="339"/>
                </a:lnTo>
                <a:lnTo>
                  <a:pt x="532" y="336"/>
                </a:lnTo>
                <a:lnTo>
                  <a:pt x="541" y="330"/>
                </a:lnTo>
                <a:lnTo>
                  <a:pt x="559" y="311"/>
                </a:lnTo>
                <a:lnTo>
                  <a:pt x="565" y="304"/>
                </a:lnTo>
                <a:lnTo>
                  <a:pt x="586" y="293"/>
                </a:lnTo>
                <a:lnTo>
                  <a:pt x="595" y="289"/>
                </a:lnTo>
                <a:lnTo>
                  <a:pt x="602" y="285"/>
                </a:lnTo>
                <a:lnTo>
                  <a:pt x="607" y="285"/>
                </a:lnTo>
                <a:lnTo>
                  <a:pt x="612" y="286"/>
                </a:lnTo>
                <a:lnTo>
                  <a:pt x="616" y="295"/>
                </a:lnTo>
                <a:lnTo>
                  <a:pt x="620" y="300"/>
                </a:lnTo>
                <a:lnTo>
                  <a:pt x="631" y="310"/>
                </a:lnTo>
                <a:lnTo>
                  <a:pt x="639" y="313"/>
                </a:lnTo>
                <a:lnTo>
                  <a:pt x="650" y="314"/>
                </a:lnTo>
                <a:lnTo>
                  <a:pt x="673" y="311"/>
                </a:lnTo>
                <a:lnTo>
                  <a:pt x="682" y="313"/>
                </a:lnTo>
                <a:lnTo>
                  <a:pt x="694" y="317"/>
                </a:lnTo>
                <a:lnTo>
                  <a:pt x="703" y="319"/>
                </a:lnTo>
                <a:lnTo>
                  <a:pt x="715" y="321"/>
                </a:lnTo>
                <a:lnTo>
                  <a:pt x="727" y="317"/>
                </a:lnTo>
                <a:lnTo>
                  <a:pt x="735" y="312"/>
                </a:lnTo>
                <a:lnTo>
                  <a:pt x="741" y="306"/>
                </a:lnTo>
                <a:lnTo>
                  <a:pt x="746" y="300"/>
                </a:lnTo>
                <a:lnTo>
                  <a:pt x="748" y="293"/>
                </a:lnTo>
                <a:lnTo>
                  <a:pt x="748" y="287"/>
                </a:lnTo>
                <a:lnTo>
                  <a:pt x="744" y="269"/>
                </a:lnTo>
                <a:lnTo>
                  <a:pt x="744" y="264"/>
                </a:lnTo>
                <a:lnTo>
                  <a:pt x="747" y="260"/>
                </a:lnTo>
                <a:lnTo>
                  <a:pt x="758" y="250"/>
                </a:lnTo>
                <a:lnTo>
                  <a:pt x="761" y="246"/>
                </a:lnTo>
                <a:lnTo>
                  <a:pt x="764" y="239"/>
                </a:lnTo>
                <a:lnTo>
                  <a:pt x="767" y="228"/>
                </a:lnTo>
                <a:lnTo>
                  <a:pt x="769" y="219"/>
                </a:lnTo>
                <a:lnTo>
                  <a:pt x="767" y="209"/>
                </a:lnTo>
                <a:lnTo>
                  <a:pt x="764" y="201"/>
                </a:lnTo>
                <a:lnTo>
                  <a:pt x="759" y="196"/>
                </a:lnTo>
                <a:lnTo>
                  <a:pt x="755" y="193"/>
                </a:lnTo>
                <a:lnTo>
                  <a:pt x="747" y="187"/>
                </a:lnTo>
                <a:lnTo>
                  <a:pt x="740" y="181"/>
                </a:lnTo>
                <a:lnTo>
                  <a:pt x="734" y="177"/>
                </a:lnTo>
                <a:lnTo>
                  <a:pt x="728" y="175"/>
                </a:lnTo>
                <a:lnTo>
                  <a:pt x="721" y="177"/>
                </a:lnTo>
                <a:lnTo>
                  <a:pt x="717" y="182"/>
                </a:lnTo>
                <a:lnTo>
                  <a:pt x="709" y="192"/>
                </a:lnTo>
                <a:lnTo>
                  <a:pt x="701" y="200"/>
                </a:lnTo>
                <a:lnTo>
                  <a:pt x="696" y="205"/>
                </a:lnTo>
                <a:lnTo>
                  <a:pt x="692" y="206"/>
                </a:lnTo>
                <a:lnTo>
                  <a:pt x="689" y="201"/>
                </a:lnTo>
                <a:lnTo>
                  <a:pt x="688" y="195"/>
                </a:lnTo>
                <a:lnTo>
                  <a:pt x="689" y="186"/>
                </a:lnTo>
                <a:lnTo>
                  <a:pt x="698" y="156"/>
                </a:lnTo>
                <a:lnTo>
                  <a:pt x="697" y="147"/>
                </a:lnTo>
                <a:lnTo>
                  <a:pt x="698" y="131"/>
                </a:lnTo>
                <a:lnTo>
                  <a:pt x="701" y="123"/>
                </a:lnTo>
                <a:lnTo>
                  <a:pt x="705" y="116"/>
                </a:lnTo>
                <a:lnTo>
                  <a:pt x="728" y="90"/>
                </a:lnTo>
                <a:lnTo>
                  <a:pt x="730" y="85"/>
                </a:lnTo>
                <a:lnTo>
                  <a:pt x="731" y="81"/>
                </a:lnTo>
                <a:lnTo>
                  <a:pt x="731" y="78"/>
                </a:lnTo>
                <a:lnTo>
                  <a:pt x="728" y="73"/>
                </a:lnTo>
                <a:lnTo>
                  <a:pt x="724" y="70"/>
                </a:lnTo>
                <a:lnTo>
                  <a:pt x="720" y="69"/>
                </a:lnTo>
                <a:lnTo>
                  <a:pt x="715" y="68"/>
                </a:lnTo>
                <a:lnTo>
                  <a:pt x="711" y="65"/>
                </a:lnTo>
                <a:lnTo>
                  <a:pt x="708" y="58"/>
                </a:lnTo>
                <a:lnTo>
                  <a:pt x="705" y="47"/>
                </a:lnTo>
                <a:lnTo>
                  <a:pt x="704" y="36"/>
                </a:lnTo>
                <a:lnTo>
                  <a:pt x="707" y="0"/>
                </a:lnTo>
                <a:lnTo>
                  <a:pt x="724" y="6"/>
                </a:lnTo>
                <a:lnTo>
                  <a:pt x="743" y="10"/>
                </a:lnTo>
                <a:lnTo>
                  <a:pt x="766" y="1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57D8ECEE-4893-1021-409E-FBF32043252A}"/>
              </a:ext>
            </a:extLst>
          </p:cNvPr>
          <p:cNvSpPr>
            <a:spLocks/>
          </p:cNvSpPr>
          <p:nvPr/>
        </p:nvSpPr>
        <p:spPr bwMode="auto">
          <a:xfrm>
            <a:off x="5953769" y="804825"/>
            <a:ext cx="1246995" cy="726853"/>
          </a:xfrm>
          <a:custGeom>
            <a:avLst/>
            <a:gdLst>
              <a:gd name="T0" fmla="*/ 776 w 802"/>
              <a:gd name="T1" fmla="*/ 388 h 494"/>
              <a:gd name="T2" fmla="*/ 778 w 802"/>
              <a:gd name="T3" fmla="*/ 394 h 494"/>
              <a:gd name="T4" fmla="*/ 781 w 802"/>
              <a:gd name="T5" fmla="*/ 397 h 494"/>
              <a:gd name="T6" fmla="*/ 787 w 802"/>
              <a:gd name="T7" fmla="*/ 399 h 494"/>
              <a:gd name="T8" fmla="*/ 785 w 802"/>
              <a:gd name="T9" fmla="*/ 405 h 494"/>
              <a:gd name="T10" fmla="*/ 762 w 802"/>
              <a:gd name="T11" fmla="*/ 434 h 494"/>
              <a:gd name="T12" fmla="*/ 753 w 802"/>
              <a:gd name="T13" fmla="*/ 442 h 494"/>
              <a:gd name="T14" fmla="*/ 737 w 802"/>
              <a:gd name="T15" fmla="*/ 451 h 494"/>
              <a:gd name="T16" fmla="*/ 625 w 802"/>
              <a:gd name="T17" fmla="*/ 451 h 494"/>
              <a:gd name="T18" fmla="*/ 589 w 802"/>
              <a:gd name="T19" fmla="*/ 476 h 494"/>
              <a:gd name="T20" fmla="*/ 525 w 802"/>
              <a:gd name="T21" fmla="*/ 494 h 494"/>
              <a:gd name="T22" fmla="*/ 484 w 802"/>
              <a:gd name="T23" fmla="*/ 475 h 494"/>
              <a:gd name="T24" fmla="*/ 456 w 802"/>
              <a:gd name="T25" fmla="*/ 456 h 494"/>
              <a:gd name="T26" fmla="*/ 432 w 802"/>
              <a:gd name="T27" fmla="*/ 472 h 494"/>
              <a:gd name="T28" fmla="*/ 436 w 802"/>
              <a:gd name="T29" fmla="*/ 452 h 494"/>
              <a:gd name="T30" fmla="*/ 433 w 802"/>
              <a:gd name="T31" fmla="*/ 431 h 494"/>
              <a:gd name="T32" fmla="*/ 400 w 802"/>
              <a:gd name="T33" fmla="*/ 419 h 494"/>
              <a:gd name="T34" fmla="*/ 320 w 802"/>
              <a:gd name="T35" fmla="*/ 427 h 494"/>
              <a:gd name="T36" fmla="*/ 263 w 802"/>
              <a:gd name="T37" fmla="*/ 438 h 494"/>
              <a:gd name="T38" fmla="*/ 172 w 802"/>
              <a:gd name="T39" fmla="*/ 425 h 494"/>
              <a:gd name="T40" fmla="*/ 73 w 802"/>
              <a:gd name="T41" fmla="*/ 438 h 494"/>
              <a:gd name="T42" fmla="*/ 40 w 802"/>
              <a:gd name="T43" fmla="*/ 442 h 494"/>
              <a:gd name="T44" fmla="*/ 12 w 802"/>
              <a:gd name="T45" fmla="*/ 430 h 494"/>
              <a:gd name="T46" fmla="*/ 16 w 802"/>
              <a:gd name="T47" fmla="*/ 404 h 494"/>
              <a:gd name="T48" fmla="*/ 44 w 802"/>
              <a:gd name="T49" fmla="*/ 363 h 494"/>
              <a:gd name="T50" fmla="*/ 67 w 802"/>
              <a:gd name="T51" fmla="*/ 341 h 494"/>
              <a:gd name="T52" fmla="*/ 69 w 802"/>
              <a:gd name="T53" fmla="*/ 329 h 494"/>
              <a:gd name="T54" fmla="*/ 89 w 802"/>
              <a:gd name="T55" fmla="*/ 309 h 494"/>
              <a:gd name="T56" fmla="*/ 117 w 802"/>
              <a:gd name="T57" fmla="*/ 298 h 494"/>
              <a:gd name="T58" fmla="*/ 169 w 802"/>
              <a:gd name="T59" fmla="*/ 310 h 494"/>
              <a:gd name="T60" fmla="*/ 195 w 802"/>
              <a:gd name="T61" fmla="*/ 314 h 494"/>
              <a:gd name="T62" fmla="*/ 216 w 802"/>
              <a:gd name="T63" fmla="*/ 329 h 494"/>
              <a:gd name="T64" fmla="*/ 231 w 802"/>
              <a:gd name="T65" fmla="*/ 334 h 494"/>
              <a:gd name="T66" fmla="*/ 257 w 802"/>
              <a:gd name="T67" fmla="*/ 311 h 494"/>
              <a:gd name="T68" fmla="*/ 311 w 802"/>
              <a:gd name="T69" fmla="*/ 244 h 494"/>
              <a:gd name="T70" fmla="*/ 345 w 802"/>
              <a:gd name="T71" fmla="*/ 221 h 494"/>
              <a:gd name="T72" fmla="*/ 367 w 802"/>
              <a:gd name="T73" fmla="*/ 222 h 494"/>
              <a:gd name="T74" fmla="*/ 389 w 802"/>
              <a:gd name="T75" fmla="*/ 214 h 494"/>
              <a:gd name="T76" fmla="*/ 393 w 802"/>
              <a:gd name="T77" fmla="*/ 191 h 494"/>
              <a:gd name="T78" fmla="*/ 366 w 802"/>
              <a:gd name="T79" fmla="*/ 152 h 494"/>
              <a:gd name="T80" fmla="*/ 355 w 802"/>
              <a:gd name="T81" fmla="*/ 117 h 494"/>
              <a:gd name="T82" fmla="*/ 335 w 802"/>
              <a:gd name="T83" fmla="*/ 70 h 494"/>
              <a:gd name="T84" fmla="*/ 360 w 802"/>
              <a:gd name="T85" fmla="*/ 65 h 494"/>
              <a:gd name="T86" fmla="*/ 376 w 802"/>
              <a:gd name="T87" fmla="*/ 55 h 494"/>
              <a:gd name="T88" fmla="*/ 380 w 802"/>
              <a:gd name="T89" fmla="*/ 25 h 494"/>
              <a:gd name="T90" fmla="*/ 403 w 802"/>
              <a:gd name="T91" fmla="*/ 9 h 494"/>
              <a:gd name="T92" fmla="*/ 442 w 802"/>
              <a:gd name="T93" fmla="*/ 16 h 494"/>
              <a:gd name="T94" fmla="*/ 504 w 802"/>
              <a:gd name="T95" fmla="*/ 64 h 494"/>
              <a:gd name="T96" fmla="*/ 564 w 802"/>
              <a:gd name="T97" fmla="*/ 147 h 494"/>
              <a:gd name="T98" fmla="*/ 577 w 802"/>
              <a:gd name="T99" fmla="*/ 211 h 494"/>
              <a:gd name="T100" fmla="*/ 589 w 802"/>
              <a:gd name="T101" fmla="*/ 245 h 494"/>
              <a:gd name="T102" fmla="*/ 628 w 802"/>
              <a:gd name="T103" fmla="*/ 260 h 494"/>
              <a:gd name="T104" fmla="*/ 677 w 802"/>
              <a:gd name="T105" fmla="*/ 270 h 494"/>
              <a:gd name="T106" fmla="*/ 766 w 802"/>
              <a:gd name="T107" fmla="*/ 323 h 494"/>
              <a:gd name="T108" fmla="*/ 802 w 802"/>
              <a:gd name="T109" fmla="*/ 352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02" h="494">
                <a:moveTo>
                  <a:pt x="802" y="352"/>
                </a:moveTo>
                <a:lnTo>
                  <a:pt x="780" y="379"/>
                </a:lnTo>
                <a:lnTo>
                  <a:pt x="776" y="388"/>
                </a:lnTo>
                <a:lnTo>
                  <a:pt x="776" y="392"/>
                </a:lnTo>
                <a:lnTo>
                  <a:pt x="777" y="393"/>
                </a:lnTo>
                <a:lnTo>
                  <a:pt x="778" y="394"/>
                </a:lnTo>
                <a:lnTo>
                  <a:pt x="779" y="395"/>
                </a:lnTo>
                <a:lnTo>
                  <a:pt x="780" y="397"/>
                </a:lnTo>
                <a:lnTo>
                  <a:pt x="781" y="397"/>
                </a:lnTo>
                <a:lnTo>
                  <a:pt x="783" y="397"/>
                </a:lnTo>
                <a:lnTo>
                  <a:pt x="784" y="398"/>
                </a:lnTo>
                <a:lnTo>
                  <a:pt x="787" y="399"/>
                </a:lnTo>
                <a:lnTo>
                  <a:pt x="788" y="401"/>
                </a:lnTo>
                <a:lnTo>
                  <a:pt x="788" y="403"/>
                </a:lnTo>
                <a:lnTo>
                  <a:pt x="785" y="405"/>
                </a:lnTo>
                <a:lnTo>
                  <a:pt x="782" y="407"/>
                </a:lnTo>
                <a:lnTo>
                  <a:pt x="775" y="417"/>
                </a:lnTo>
                <a:lnTo>
                  <a:pt x="762" y="434"/>
                </a:lnTo>
                <a:lnTo>
                  <a:pt x="758" y="439"/>
                </a:lnTo>
                <a:lnTo>
                  <a:pt x="756" y="440"/>
                </a:lnTo>
                <a:lnTo>
                  <a:pt x="753" y="442"/>
                </a:lnTo>
                <a:lnTo>
                  <a:pt x="750" y="443"/>
                </a:lnTo>
                <a:lnTo>
                  <a:pt x="746" y="444"/>
                </a:lnTo>
                <a:lnTo>
                  <a:pt x="737" y="451"/>
                </a:lnTo>
                <a:lnTo>
                  <a:pt x="714" y="476"/>
                </a:lnTo>
                <a:lnTo>
                  <a:pt x="637" y="452"/>
                </a:lnTo>
                <a:lnTo>
                  <a:pt x="625" y="451"/>
                </a:lnTo>
                <a:lnTo>
                  <a:pt x="616" y="456"/>
                </a:lnTo>
                <a:lnTo>
                  <a:pt x="601" y="468"/>
                </a:lnTo>
                <a:lnTo>
                  <a:pt x="589" y="476"/>
                </a:lnTo>
                <a:lnTo>
                  <a:pt x="560" y="490"/>
                </a:lnTo>
                <a:lnTo>
                  <a:pt x="542" y="493"/>
                </a:lnTo>
                <a:lnTo>
                  <a:pt x="525" y="494"/>
                </a:lnTo>
                <a:lnTo>
                  <a:pt x="507" y="489"/>
                </a:lnTo>
                <a:lnTo>
                  <a:pt x="495" y="482"/>
                </a:lnTo>
                <a:lnTo>
                  <a:pt x="484" y="475"/>
                </a:lnTo>
                <a:lnTo>
                  <a:pt x="470" y="463"/>
                </a:lnTo>
                <a:lnTo>
                  <a:pt x="463" y="457"/>
                </a:lnTo>
                <a:lnTo>
                  <a:pt x="456" y="456"/>
                </a:lnTo>
                <a:lnTo>
                  <a:pt x="449" y="459"/>
                </a:lnTo>
                <a:lnTo>
                  <a:pt x="437" y="470"/>
                </a:lnTo>
                <a:lnTo>
                  <a:pt x="432" y="472"/>
                </a:lnTo>
                <a:lnTo>
                  <a:pt x="431" y="468"/>
                </a:lnTo>
                <a:lnTo>
                  <a:pt x="432" y="464"/>
                </a:lnTo>
                <a:lnTo>
                  <a:pt x="436" y="452"/>
                </a:lnTo>
                <a:lnTo>
                  <a:pt x="437" y="445"/>
                </a:lnTo>
                <a:lnTo>
                  <a:pt x="436" y="438"/>
                </a:lnTo>
                <a:lnTo>
                  <a:pt x="433" y="431"/>
                </a:lnTo>
                <a:lnTo>
                  <a:pt x="429" y="426"/>
                </a:lnTo>
                <a:lnTo>
                  <a:pt x="418" y="421"/>
                </a:lnTo>
                <a:lnTo>
                  <a:pt x="400" y="419"/>
                </a:lnTo>
                <a:lnTo>
                  <a:pt x="364" y="421"/>
                </a:lnTo>
                <a:lnTo>
                  <a:pt x="329" y="428"/>
                </a:lnTo>
                <a:lnTo>
                  <a:pt x="320" y="427"/>
                </a:lnTo>
                <a:lnTo>
                  <a:pt x="306" y="431"/>
                </a:lnTo>
                <a:lnTo>
                  <a:pt x="271" y="436"/>
                </a:lnTo>
                <a:lnTo>
                  <a:pt x="263" y="438"/>
                </a:lnTo>
                <a:lnTo>
                  <a:pt x="255" y="440"/>
                </a:lnTo>
                <a:lnTo>
                  <a:pt x="241" y="439"/>
                </a:lnTo>
                <a:lnTo>
                  <a:pt x="172" y="425"/>
                </a:lnTo>
                <a:lnTo>
                  <a:pt x="156" y="424"/>
                </a:lnTo>
                <a:lnTo>
                  <a:pt x="99" y="429"/>
                </a:lnTo>
                <a:lnTo>
                  <a:pt x="73" y="438"/>
                </a:lnTo>
                <a:lnTo>
                  <a:pt x="59" y="440"/>
                </a:lnTo>
                <a:lnTo>
                  <a:pt x="50" y="442"/>
                </a:lnTo>
                <a:lnTo>
                  <a:pt x="40" y="442"/>
                </a:lnTo>
                <a:lnTo>
                  <a:pt x="28" y="439"/>
                </a:lnTo>
                <a:lnTo>
                  <a:pt x="18" y="434"/>
                </a:lnTo>
                <a:lnTo>
                  <a:pt x="12" y="430"/>
                </a:lnTo>
                <a:lnTo>
                  <a:pt x="0" y="404"/>
                </a:lnTo>
                <a:lnTo>
                  <a:pt x="12" y="405"/>
                </a:lnTo>
                <a:lnTo>
                  <a:pt x="16" y="404"/>
                </a:lnTo>
                <a:lnTo>
                  <a:pt x="20" y="402"/>
                </a:lnTo>
                <a:lnTo>
                  <a:pt x="23" y="398"/>
                </a:lnTo>
                <a:lnTo>
                  <a:pt x="44" y="363"/>
                </a:lnTo>
                <a:lnTo>
                  <a:pt x="59" y="348"/>
                </a:lnTo>
                <a:lnTo>
                  <a:pt x="66" y="343"/>
                </a:lnTo>
                <a:lnTo>
                  <a:pt x="67" y="341"/>
                </a:lnTo>
                <a:lnTo>
                  <a:pt x="67" y="337"/>
                </a:lnTo>
                <a:lnTo>
                  <a:pt x="67" y="334"/>
                </a:lnTo>
                <a:lnTo>
                  <a:pt x="69" y="329"/>
                </a:lnTo>
                <a:lnTo>
                  <a:pt x="73" y="325"/>
                </a:lnTo>
                <a:lnTo>
                  <a:pt x="81" y="315"/>
                </a:lnTo>
                <a:lnTo>
                  <a:pt x="89" y="309"/>
                </a:lnTo>
                <a:lnTo>
                  <a:pt x="102" y="300"/>
                </a:lnTo>
                <a:lnTo>
                  <a:pt x="109" y="298"/>
                </a:lnTo>
                <a:lnTo>
                  <a:pt x="117" y="298"/>
                </a:lnTo>
                <a:lnTo>
                  <a:pt x="138" y="304"/>
                </a:lnTo>
                <a:lnTo>
                  <a:pt x="160" y="307"/>
                </a:lnTo>
                <a:lnTo>
                  <a:pt x="169" y="310"/>
                </a:lnTo>
                <a:lnTo>
                  <a:pt x="182" y="313"/>
                </a:lnTo>
                <a:lnTo>
                  <a:pt x="190" y="313"/>
                </a:lnTo>
                <a:lnTo>
                  <a:pt x="195" y="314"/>
                </a:lnTo>
                <a:lnTo>
                  <a:pt x="202" y="316"/>
                </a:lnTo>
                <a:lnTo>
                  <a:pt x="206" y="320"/>
                </a:lnTo>
                <a:lnTo>
                  <a:pt x="216" y="329"/>
                </a:lnTo>
                <a:lnTo>
                  <a:pt x="221" y="333"/>
                </a:lnTo>
                <a:lnTo>
                  <a:pt x="225" y="335"/>
                </a:lnTo>
                <a:lnTo>
                  <a:pt x="231" y="334"/>
                </a:lnTo>
                <a:lnTo>
                  <a:pt x="235" y="332"/>
                </a:lnTo>
                <a:lnTo>
                  <a:pt x="246" y="323"/>
                </a:lnTo>
                <a:lnTo>
                  <a:pt x="257" y="311"/>
                </a:lnTo>
                <a:lnTo>
                  <a:pt x="280" y="282"/>
                </a:lnTo>
                <a:lnTo>
                  <a:pt x="301" y="258"/>
                </a:lnTo>
                <a:lnTo>
                  <a:pt x="311" y="244"/>
                </a:lnTo>
                <a:lnTo>
                  <a:pt x="316" y="238"/>
                </a:lnTo>
                <a:lnTo>
                  <a:pt x="338" y="223"/>
                </a:lnTo>
                <a:lnTo>
                  <a:pt x="345" y="221"/>
                </a:lnTo>
                <a:lnTo>
                  <a:pt x="350" y="220"/>
                </a:lnTo>
                <a:lnTo>
                  <a:pt x="361" y="222"/>
                </a:lnTo>
                <a:lnTo>
                  <a:pt x="367" y="222"/>
                </a:lnTo>
                <a:lnTo>
                  <a:pt x="377" y="221"/>
                </a:lnTo>
                <a:lnTo>
                  <a:pt x="384" y="218"/>
                </a:lnTo>
                <a:lnTo>
                  <a:pt x="389" y="214"/>
                </a:lnTo>
                <a:lnTo>
                  <a:pt x="392" y="209"/>
                </a:lnTo>
                <a:lnTo>
                  <a:pt x="393" y="200"/>
                </a:lnTo>
                <a:lnTo>
                  <a:pt x="393" y="191"/>
                </a:lnTo>
                <a:lnTo>
                  <a:pt x="388" y="180"/>
                </a:lnTo>
                <a:lnTo>
                  <a:pt x="369" y="158"/>
                </a:lnTo>
                <a:lnTo>
                  <a:pt x="366" y="152"/>
                </a:lnTo>
                <a:lnTo>
                  <a:pt x="363" y="144"/>
                </a:lnTo>
                <a:lnTo>
                  <a:pt x="358" y="123"/>
                </a:lnTo>
                <a:lnTo>
                  <a:pt x="355" y="117"/>
                </a:lnTo>
                <a:lnTo>
                  <a:pt x="335" y="81"/>
                </a:lnTo>
                <a:lnTo>
                  <a:pt x="334" y="75"/>
                </a:lnTo>
                <a:lnTo>
                  <a:pt x="335" y="70"/>
                </a:lnTo>
                <a:lnTo>
                  <a:pt x="341" y="67"/>
                </a:lnTo>
                <a:lnTo>
                  <a:pt x="348" y="65"/>
                </a:lnTo>
                <a:lnTo>
                  <a:pt x="360" y="65"/>
                </a:lnTo>
                <a:lnTo>
                  <a:pt x="365" y="63"/>
                </a:lnTo>
                <a:lnTo>
                  <a:pt x="369" y="61"/>
                </a:lnTo>
                <a:lnTo>
                  <a:pt x="376" y="55"/>
                </a:lnTo>
                <a:lnTo>
                  <a:pt x="379" y="47"/>
                </a:lnTo>
                <a:lnTo>
                  <a:pt x="381" y="37"/>
                </a:lnTo>
                <a:lnTo>
                  <a:pt x="380" y="25"/>
                </a:lnTo>
                <a:lnTo>
                  <a:pt x="381" y="0"/>
                </a:lnTo>
                <a:lnTo>
                  <a:pt x="390" y="4"/>
                </a:lnTo>
                <a:lnTo>
                  <a:pt x="403" y="9"/>
                </a:lnTo>
                <a:lnTo>
                  <a:pt x="428" y="11"/>
                </a:lnTo>
                <a:lnTo>
                  <a:pt x="436" y="12"/>
                </a:lnTo>
                <a:lnTo>
                  <a:pt x="442" y="16"/>
                </a:lnTo>
                <a:lnTo>
                  <a:pt x="453" y="27"/>
                </a:lnTo>
                <a:lnTo>
                  <a:pt x="483" y="47"/>
                </a:lnTo>
                <a:lnTo>
                  <a:pt x="504" y="64"/>
                </a:lnTo>
                <a:lnTo>
                  <a:pt x="520" y="83"/>
                </a:lnTo>
                <a:lnTo>
                  <a:pt x="537" y="114"/>
                </a:lnTo>
                <a:lnTo>
                  <a:pt x="564" y="147"/>
                </a:lnTo>
                <a:lnTo>
                  <a:pt x="579" y="186"/>
                </a:lnTo>
                <a:lnTo>
                  <a:pt x="579" y="192"/>
                </a:lnTo>
                <a:lnTo>
                  <a:pt x="577" y="211"/>
                </a:lnTo>
                <a:lnTo>
                  <a:pt x="579" y="223"/>
                </a:lnTo>
                <a:lnTo>
                  <a:pt x="582" y="235"/>
                </a:lnTo>
                <a:lnTo>
                  <a:pt x="589" y="245"/>
                </a:lnTo>
                <a:lnTo>
                  <a:pt x="615" y="249"/>
                </a:lnTo>
                <a:lnTo>
                  <a:pt x="620" y="255"/>
                </a:lnTo>
                <a:lnTo>
                  <a:pt x="628" y="260"/>
                </a:lnTo>
                <a:lnTo>
                  <a:pt x="641" y="263"/>
                </a:lnTo>
                <a:lnTo>
                  <a:pt x="653" y="264"/>
                </a:lnTo>
                <a:lnTo>
                  <a:pt x="677" y="270"/>
                </a:lnTo>
                <a:lnTo>
                  <a:pt x="707" y="287"/>
                </a:lnTo>
                <a:lnTo>
                  <a:pt x="735" y="306"/>
                </a:lnTo>
                <a:lnTo>
                  <a:pt x="766" y="323"/>
                </a:lnTo>
                <a:lnTo>
                  <a:pt x="774" y="329"/>
                </a:lnTo>
                <a:lnTo>
                  <a:pt x="785" y="343"/>
                </a:lnTo>
                <a:lnTo>
                  <a:pt x="802" y="35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5" name="Freeform 19">
            <a:extLst>
              <a:ext uri="{FF2B5EF4-FFF2-40B4-BE49-F238E27FC236}">
                <a16:creationId xmlns:a16="http://schemas.microsoft.com/office/drawing/2014/main" id="{CF2B4E66-7AD1-366B-061F-1857387AEC42}"/>
              </a:ext>
            </a:extLst>
          </p:cNvPr>
          <p:cNvSpPr>
            <a:spLocks noEditPoints="1"/>
          </p:cNvSpPr>
          <p:nvPr/>
        </p:nvSpPr>
        <p:spPr bwMode="auto">
          <a:xfrm>
            <a:off x="4360040" y="2488065"/>
            <a:ext cx="1472450" cy="2195273"/>
          </a:xfrm>
          <a:custGeom>
            <a:avLst/>
            <a:gdLst>
              <a:gd name="T0" fmla="*/ 190 w 947"/>
              <a:gd name="T1" fmla="*/ 1333 h 1492"/>
              <a:gd name="T2" fmla="*/ 238 w 947"/>
              <a:gd name="T3" fmla="*/ 1468 h 1492"/>
              <a:gd name="T4" fmla="*/ 320 w 947"/>
              <a:gd name="T5" fmla="*/ 1398 h 1492"/>
              <a:gd name="T6" fmla="*/ 364 w 947"/>
              <a:gd name="T7" fmla="*/ 1318 h 1492"/>
              <a:gd name="T8" fmla="*/ 427 w 947"/>
              <a:gd name="T9" fmla="*/ 1265 h 1492"/>
              <a:gd name="T10" fmla="*/ 516 w 947"/>
              <a:gd name="T11" fmla="*/ 1142 h 1492"/>
              <a:gd name="T12" fmla="*/ 458 w 947"/>
              <a:gd name="T13" fmla="*/ 1215 h 1492"/>
              <a:gd name="T14" fmla="*/ 903 w 947"/>
              <a:gd name="T15" fmla="*/ 888 h 1492"/>
              <a:gd name="T16" fmla="*/ 710 w 947"/>
              <a:gd name="T17" fmla="*/ 710 h 1492"/>
              <a:gd name="T18" fmla="*/ 588 w 947"/>
              <a:gd name="T19" fmla="*/ 696 h 1492"/>
              <a:gd name="T20" fmla="*/ 515 w 947"/>
              <a:gd name="T21" fmla="*/ 567 h 1492"/>
              <a:gd name="T22" fmla="*/ 451 w 947"/>
              <a:gd name="T23" fmla="*/ 464 h 1492"/>
              <a:gd name="T24" fmla="*/ 494 w 947"/>
              <a:gd name="T25" fmla="*/ 337 h 1492"/>
              <a:gd name="T26" fmla="*/ 544 w 947"/>
              <a:gd name="T27" fmla="*/ 230 h 1492"/>
              <a:gd name="T28" fmla="*/ 569 w 947"/>
              <a:gd name="T29" fmla="*/ 209 h 1492"/>
              <a:gd name="T30" fmla="*/ 600 w 947"/>
              <a:gd name="T31" fmla="*/ 179 h 1492"/>
              <a:gd name="T32" fmla="*/ 644 w 947"/>
              <a:gd name="T33" fmla="*/ 143 h 1492"/>
              <a:gd name="T34" fmla="*/ 676 w 947"/>
              <a:gd name="T35" fmla="*/ 81 h 1492"/>
              <a:gd name="T36" fmla="*/ 663 w 947"/>
              <a:gd name="T37" fmla="*/ 0 h 1492"/>
              <a:gd name="T38" fmla="*/ 520 w 947"/>
              <a:gd name="T39" fmla="*/ 73 h 1492"/>
              <a:gd name="T40" fmla="*/ 497 w 947"/>
              <a:gd name="T41" fmla="*/ 118 h 1492"/>
              <a:gd name="T42" fmla="*/ 405 w 947"/>
              <a:gd name="T43" fmla="*/ 205 h 1492"/>
              <a:gd name="T44" fmla="*/ 378 w 947"/>
              <a:gd name="T45" fmla="*/ 185 h 1492"/>
              <a:gd name="T46" fmla="*/ 328 w 947"/>
              <a:gd name="T47" fmla="*/ 299 h 1492"/>
              <a:gd name="T48" fmla="*/ 272 w 947"/>
              <a:gd name="T49" fmla="*/ 378 h 1492"/>
              <a:gd name="T50" fmla="*/ 229 w 947"/>
              <a:gd name="T51" fmla="*/ 431 h 1492"/>
              <a:gd name="T52" fmla="*/ 173 w 947"/>
              <a:gd name="T53" fmla="*/ 494 h 1492"/>
              <a:gd name="T54" fmla="*/ 211 w 947"/>
              <a:gd name="T55" fmla="*/ 527 h 1492"/>
              <a:gd name="T56" fmla="*/ 167 w 947"/>
              <a:gd name="T57" fmla="*/ 576 h 1492"/>
              <a:gd name="T58" fmla="*/ 127 w 947"/>
              <a:gd name="T59" fmla="*/ 590 h 1492"/>
              <a:gd name="T60" fmla="*/ 78 w 947"/>
              <a:gd name="T61" fmla="*/ 638 h 1492"/>
              <a:gd name="T62" fmla="*/ 46 w 947"/>
              <a:gd name="T63" fmla="*/ 673 h 1492"/>
              <a:gd name="T64" fmla="*/ 220 w 947"/>
              <a:gd name="T65" fmla="*/ 853 h 1492"/>
              <a:gd name="T66" fmla="*/ 50 w 947"/>
              <a:gd name="T67" fmla="*/ 1193 h 1492"/>
              <a:gd name="T68" fmla="*/ 149 w 947"/>
              <a:gd name="T69" fmla="*/ 1255 h 1492"/>
              <a:gd name="T70" fmla="*/ 176 w 947"/>
              <a:gd name="T71" fmla="*/ 1214 h 1492"/>
              <a:gd name="T72" fmla="*/ 208 w 947"/>
              <a:gd name="T73" fmla="*/ 1200 h 1492"/>
              <a:gd name="T74" fmla="*/ 347 w 947"/>
              <a:gd name="T75" fmla="*/ 1002 h 1492"/>
              <a:gd name="T76" fmla="*/ 383 w 947"/>
              <a:gd name="T77" fmla="*/ 1007 h 1492"/>
              <a:gd name="T78" fmla="*/ 336 w 947"/>
              <a:gd name="T79" fmla="*/ 1087 h 1492"/>
              <a:gd name="T80" fmla="*/ 410 w 947"/>
              <a:gd name="T81" fmla="*/ 1097 h 1492"/>
              <a:gd name="T82" fmla="*/ 362 w 947"/>
              <a:gd name="T83" fmla="*/ 1101 h 1492"/>
              <a:gd name="T84" fmla="*/ 334 w 947"/>
              <a:gd name="T85" fmla="*/ 1174 h 1492"/>
              <a:gd name="T86" fmla="*/ 414 w 947"/>
              <a:gd name="T87" fmla="*/ 1164 h 1492"/>
              <a:gd name="T88" fmla="*/ 430 w 947"/>
              <a:gd name="T89" fmla="*/ 883 h 1492"/>
              <a:gd name="T90" fmla="*/ 476 w 947"/>
              <a:gd name="T91" fmla="*/ 808 h 1492"/>
              <a:gd name="T92" fmla="*/ 477 w 947"/>
              <a:gd name="T93" fmla="*/ 837 h 1492"/>
              <a:gd name="T94" fmla="*/ 453 w 947"/>
              <a:gd name="T95" fmla="*/ 891 h 1492"/>
              <a:gd name="T96" fmla="*/ 465 w 947"/>
              <a:gd name="T97" fmla="*/ 943 h 1492"/>
              <a:gd name="T98" fmla="*/ 504 w 947"/>
              <a:gd name="T99" fmla="*/ 1101 h 1492"/>
              <a:gd name="T100" fmla="*/ 541 w 947"/>
              <a:gd name="T101" fmla="*/ 1189 h 1492"/>
              <a:gd name="T102" fmla="*/ 453 w 947"/>
              <a:gd name="T103" fmla="*/ 1388 h 1492"/>
              <a:gd name="T104" fmla="*/ 438 w 947"/>
              <a:gd name="T105" fmla="*/ 1480 h 1492"/>
              <a:gd name="T106" fmla="*/ 568 w 947"/>
              <a:gd name="T107" fmla="*/ 1415 h 1492"/>
              <a:gd name="T108" fmla="*/ 724 w 947"/>
              <a:gd name="T109" fmla="*/ 1175 h 1492"/>
              <a:gd name="T110" fmla="*/ 721 w 947"/>
              <a:gd name="T111" fmla="*/ 1117 h 1492"/>
              <a:gd name="T112" fmla="*/ 747 w 947"/>
              <a:gd name="T113" fmla="*/ 1053 h 1492"/>
              <a:gd name="T114" fmla="*/ 789 w 947"/>
              <a:gd name="T115" fmla="*/ 985 h 1492"/>
              <a:gd name="T116" fmla="*/ 939 w 947"/>
              <a:gd name="T117" fmla="*/ 929 h 1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7" h="1492">
                <a:moveTo>
                  <a:pt x="353" y="1223"/>
                </a:moveTo>
                <a:lnTo>
                  <a:pt x="323" y="1223"/>
                </a:lnTo>
                <a:lnTo>
                  <a:pt x="309" y="1228"/>
                </a:lnTo>
                <a:lnTo>
                  <a:pt x="272" y="1246"/>
                </a:lnTo>
                <a:lnTo>
                  <a:pt x="232" y="1258"/>
                </a:lnTo>
                <a:lnTo>
                  <a:pt x="222" y="1265"/>
                </a:lnTo>
                <a:lnTo>
                  <a:pt x="212" y="1292"/>
                </a:lnTo>
                <a:lnTo>
                  <a:pt x="190" y="1333"/>
                </a:lnTo>
                <a:lnTo>
                  <a:pt x="188" y="1343"/>
                </a:lnTo>
                <a:lnTo>
                  <a:pt x="185" y="1423"/>
                </a:lnTo>
                <a:lnTo>
                  <a:pt x="181" y="1447"/>
                </a:lnTo>
                <a:lnTo>
                  <a:pt x="185" y="1462"/>
                </a:lnTo>
                <a:lnTo>
                  <a:pt x="195" y="1466"/>
                </a:lnTo>
                <a:lnTo>
                  <a:pt x="210" y="1471"/>
                </a:lnTo>
                <a:lnTo>
                  <a:pt x="227" y="1472"/>
                </a:lnTo>
                <a:lnTo>
                  <a:pt x="238" y="1468"/>
                </a:lnTo>
                <a:lnTo>
                  <a:pt x="252" y="1461"/>
                </a:lnTo>
                <a:lnTo>
                  <a:pt x="275" y="1463"/>
                </a:lnTo>
                <a:lnTo>
                  <a:pt x="286" y="1448"/>
                </a:lnTo>
                <a:lnTo>
                  <a:pt x="291" y="1438"/>
                </a:lnTo>
                <a:lnTo>
                  <a:pt x="300" y="1428"/>
                </a:lnTo>
                <a:lnTo>
                  <a:pt x="300" y="1413"/>
                </a:lnTo>
                <a:lnTo>
                  <a:pt x="309" y="1402"/>
                </a:lnTo>
                <a:lnTo>
                  <a:pt x="320" y="1398"/>
                </a:lnTo>
                <a:lnTo>
                  <a:pt x="324" y="1387"/>
                </a:lnTo>
                <a:lnTo>
                  <a:pt x="333" y="1372"/>
                </a:lnTo>
                <a:lnTo>
                  <a:pt x="340" y="1356"/>
                </a:lnTo>
                <a:lnTo>
                  <a:pt x="348" y="1344"/>
                </a:lnTo>
                <a:lnTo>
                  <a:pt x="349" y="1344"/>
                </a:lnTo>
                <a:lnTo>
                  <a:pt x="354" y="1338"/>
                </a:lnTo>
                <a:lnTo>
                  <a:pt x="360" y="1327"/>
                </a:lnTo>
                <a:lnTo>
                  <a:pt x="364" y="1318"/>
                </a:lnTo>
                <a:lnTo>
                  <a:pt x="366" y="1313"/>
                </a:lnTo>
                <a:lnTo>
                  <a:pt x="376" y="1305"/>
                </a:lnTo>
                <a:lnTo>
                  <a:pt x="378" y="1298"/>
                </a:lnTo>
                <a:lnTo>
                  <a:pt x="412" y="1284"/>
                </a:lnTo>
                <a:lnTo>
                  <a:pt x="419" y="1278"/>
                </a:lnTo>
                <a:lnTo>
                  <a:pt x="423" y="1274"/>
                </a:lnTo>
                <a:lnTo>
                  <a:pt x="425" y="1270"/>
                </a:lnTo>
                <a:lnTo>
                  <a:pt x="427" y="1265"/>
                </a:lnTo>
                <a:lnTo>
                  <a:pt x="428" y="1259"/>
                </a:lnTo>
                <a:lnTo>
                  <a:pt x="400" y="1253"/>
                </a:lnTo>
                <a:lnTo>
                  <a:pt x="353" y="1223"/>
                </a:lnTo>
                <a:close/>
                <a:moveTo>
                  <a:pt x="458" y="1215"/>
                </a:moveTo>
                <a:lnTo>
                  <a:pt x="475" y="1205"/>
                </a:lnTo>
                <a:lnTo>
                  <a:pt x="478" y="1176"/>
                </a:lnTo>
                <a:lnTo>
                  <a:pt x="502" y="1164"/>
                </a:lnTo>
                <a:lnTo>
                  <a:pt x="516" y="1142"/>
                </a:lnTo>
                <a:lnTo>
                  <a:pt x="507" y="1128"/>
                </a:lnTo>
                <a:lnTo>
                  <a:pt x="491" y="1122"/>
                </a:lnTo>
                <a:lnTo>
                  <a:pt x="484" y="1104"/>
                </a:lnTo>
                <a:lnTo>
                  <a:pt x="466" y="1137"/>
                </a:lnTo>
                <a:lnTo>
                  <a:pt x="452" y="1174"/>
                </a:lnTo>
                <a:lnTo>
                  <a:pt x="442" y="1199"/>
                </a:lnTo>
                <a:lnTo>
                  <a:pt x="445" y="1214"/>
                </a:lnTo>
                <a:lnTo>
                  <a:pt x="458" y="1215"/>
                </a:lnTo>
                <a:close/>
                <a:moveTo>
                  <a:pt x="945" y="882"/>
                </a:moveTo>
                <a:lnTo>
                  <a:pt x="939" y="877"/>
                </a:lnTo>
                <a:lnTo>
                  <a:pt x="933" y="877"/>
                </a:lnTo>
                <a:lnTo>
                  <a:pt x="926" y="881"/>
                </a:lnTo>
                <a:lnTo>
                  <a:pt x="922" y="884"/>
                </a:lnTo>
                <a:lnTo>
                  <a:pt x="918" y="888"/>
                </a:lnTo>
                <a:lnTo>
                  <a:pt x="910" y="888"/>
                </a:lnTo>
                <a:lnTo>
                  <a:pt x="903" y="888"/>
                </a:lnTo>
                <a:lnTo>
                  <a:pt x="876" y="882"/>
                </a:lnTo>
                <a:lnTo>
                  <a:pt x="841" y="851"/>
                </a:lnTo>
                <a:lnTo>
                  <a:pt x="791" y="767"/>
                </a:lnTo>
                <a:lnTo>
                  <a:pt x="783" y="759"/>
                </a:lnTo>
                <a:lnTo>
                  <a:pt x="763" y="743"/>
                </a:lnTo>
                <a:lnTo>
                  <a:pt x="755" y="738"/>
                </a:lnTo>
                <a:lnTo>
                  <a:pt x="740" y="730"/>
                </a:lnTo>
                <a:lnTo>
                  <a:pt x="710" y="710"/>
                </a:lnTo>
                <a:lnTo>
                  <a:pt x="697" y="703"/>
                </a:lnTo>
                <a:lnTo>
                  <a:pt x="683" y="702"/>
                </a:lnTo>
                <a:lnTo>
                  <a:pt x="670" y="703"/>
                </a:lnTo>
                <a:lnTo>
                  <a:pt x="636" y="715"/>
                </a:lnTo>
                <a:lnTo>
                  <a:pt x="613" y="720"/>
                </a:lnTo>
                <a:lnTo>
                  <a:pt x="598" y="716"/>
                </a:lnTo>
                <a:lnTo>
                  <a:pt x="593" y="711"/>
                </a:lnTo>
                <a:lnTo>
                  <a:pt x="588" y="696"/>
                </a:lnTo>
                <a:lnTo>
                  <a:pt x="573" y="668"/>
                </a:lnTo>
                <a:lnTo>
                  <a:pt x="565" y="645"/>
                </a:lnTo>
                <a:lnTo>
                  <a:pt x="560" y="637"/>
                </a:lnTo>
                <a:lnTo>
                  <a:pt x="543" y="615"/>
                </a:lnTo>
                <a:lnTo>
                  <a:pt x="536" y="604"/>
                </a:lnTo>
                <a:lnTo>
                  <a:pt x="532" y="590"/>
                </a:lnTo>
                <a:lnTo>
                  <a:pt x="525" y="576"/>
                </a:lnTo>
                <a:lnTo>
                  <a:pt x="515" y="567"/>
                </a:lnTo>
                <a:lnTo>
                  <a:pt x="461" y="539"/>
                </a:lnTo>
                <a:lnTo>
                  <a:pt x="457" y="533"/>
                </a:lnTo>
                <a:lnTo>
                  <a:pt x="455" y="527"/>
                </a:lnTo>
                <a:lnTo>
                  <a:pt x="454" y="517"/>
                </a:lnTo>
                <a:lnTo>
                  <a:pt x="455" y="509"/>
                </a:lnTo>
                <a:lnTo>
                  <a:pt x="458" y="497"/>
                </a:lnTo>
                <a:lnTo>
                  <a:pt x="460" y="493"/>
                </a:lnTo>
                <a:lnTo>
                  <a:pt x="451" y="464"/>
                </a:lnTo>
                <a:lnTo>
                  <a:pt x="450" y="456"/>
                </a:lnTo>
                <a:lnTo>
                  <a:pt x="453" y="414"/>
                </a:lnTo>
                <a:lnTo>
                  <a:pt x="455" y="406"/>
                </a:lnTo>
                <a:lnTo>
                  <a:pt x="465" y="376"/>
                </a:lnTo>
                <a:lnTo>
                  <a:pt x="468" y="370"/>
                </a:lnTo>
                <a:lnTo>
                  <a:pt x="477" y="358"/>
                </a:lnTo>
                <a:lnTo>
                  <a:pt x="489" y="345"/>
                </a:lnTo>
                <a:lnTo>
                  <a:pt x="494" y="337"/>
                </a:lnTo>
                <a:lnTo>
                  <a:pt x="532" y="267"/>
                </a:lnTo>
                <a:lnTo>
                  <a:pt x="534" y="260"/>
                </a:lnTo>
                <a:lnTo>
                  <a:pt x="535" y="254"/>
                </a:lnTo>
                <a:lnTo>
                  <a:pt x="535" y="240"/>
                </a:lnTo>
                <a:lnTo>
                  <a:pt x="536" y="235"/>
                </a:lnTo>
                <a:lnTo>
                  <a:pt x="539" y="233"/>
                </a:lnTo>
                <a:lnTo>
                  <a:pt x="541" y="231"/>
                </a:lnTo>
                <a:lnTo>
                  <a:pt x="544" y="230"/>
                </a:lnTo>
                <a:lnTo>
                  <a:pt x="552" y="228"/>
                </a:lnTo>
                <a:lnTo>
                  <a:pt x="555" y="227"/>
                </a:lnTo>
                <a:lnTo>
                  <a:pt x="557" y="223"/>
                </a:lnTo>
                <a:lnTo>
                  <a:pt x="558" y="216"/>
                </a:lnTo>
                <a:lnTo>
                  <a:pt x="559" y="213"/>
                </a:lnTo>
                <a:lnTo>
                  <a:pt x="562" y="210"/>
                </a:lnTo>
                <a:lnTo>
                  <a:pt x="565" y="210"/>
                </a:lnTo>
                <a:lnTo>
                  <a:pt x="569" y="209"/>
                </a:lnTo>
                <a:lnTo>
                  <a:pt x="573" y="207"/>
                </a:lnTo>
                <a:lnTo>
                  <a:pt x="575" y="203"/>
                </a:lnTo>
                <a:lnTo>
                  <a:pt x="578" y="198"/>
                </a:lnTo>
                <a:lnTo>
                  <a:pt x="579" y="190"/>
                </a:lnTo>
                <a:lnTo>
                  <a:pt x="582" y="185"/>
                </a:lnTo>
                <a:lnTo>
                  <a:pt x="586" y="183"/>
                </a:lnTo>
                <a:lnTo>
                  <a:pt x="596" y="182"/>
                </a:lnTo>
                <a:lnTo>
                  <a:pt x="600" y="179"/>
                </a:lnTo>
                <a:lnTo>
                  <a:pt x="607" y="169"/>
                </a:lnTo>
                <a:lnTo>
                  <a:pt x="614" y="161"/>
                </a:lnTo>
                <a:lnTo>
                  <a:pt x="617" y="157"/>
                </a:lnTo>
                <a:lnTo>
                  <a:pt x="621" y="153"/>
                </a:lnTo>
                <a:lnTo>
                  <a:pt x="627" y="151"/>
                </a:lnTo>
                <a:lnTo>
                  <a:pt x="634" y="150"/>
                </a:lnTo>
                <a:lnTo>
                  <a:pt x="639" y="148"/>
                </a:lnTo>
                <a:lnTo>
                  <a:pt x="644" y="143"/>
                </a:lnTo>
                <a:lnTo>
                  <a:pt x="647" y="136"/>
                </a:lnTo>
                <a:lnTo>
                  <a:pt x="651" y="113"/>
                </a:lnTo>
                <a:lnTo>
                  <a:pt x="653" y="107"/>
                </a:lnTo>
                <a:lnTo>
                  <a:pt x="657" y="100"/>
                </a:lnTo>
                <a:lnTo>
                  <a:pt x="661" y="94"/>
                </a:lnTo>
                <a:lnTo>
                  <a:pt x="666" y="91"/>
                </a:lnTo>
                <a:lnTo>
                  <a:pt x="672" y="88"/>
                </a:lnTo>
                <a:lnTo>
                  <a:pt x="676" y="81"/>
                </a:lnTo>
                <a:lnTo>
                  <a:pt x="675" y="78"/>
                </a:lnTo>
                <a:lnTo>
                  <a:pt x="673" y="73"/>
                </a:lnTo>
                <a:lnTo>
                  <a:pt x="673" y="66"/>
                </a:lnTo>
                <a:lnTo>
                  <a:pt x="684" y="37"/>
                </a:lnTo>
                <a:lnTo>
                  <a:pt x="687" y="15"/>
                </a:lnTo>
                <a:lnTo>
                  <a:pt x="683" y="6"/>
                </a:lnTo>
                <a:lnTo>
                  <a:pt x="674" y="0"/>
                </a:lnTo>
                <a:lnTo>
                  <a:pt x="663" y="0"/>
                </a:lnTo>
                <a:lnTo>
                  <a:pt x="639" y="2"/>
                </a:lnTo>
                <a:lnTo>
                  <a:pt x="618" y="9"/>
                </a:lnTo>
                <a:lnTo>
                  <a:pt x="574" y="15"/>
                </a:lnTo>
                <a:lnTo>
                  <a:pt x="564" y="20"/>
                </a:lnTo>
                <a:lnTo>
                  <a:pt x="556" y="24"/>
                </a:lnTo>
                <a:lnTo>
                  <a:pt x="549" y="29"/>
                </a:lnTo>
                <a:lnTo>
                  <a:pt x="523" y="65"/>
                </a:lnTo>
                <a:lnTo>
                  <a:pt x="520" y="73"/>
                </a:lnTo>
                <a:lnTo>
                  <a:pt x="518" y="81"/>
                </a:lnTo>
                <a:lnTo>
                  <a:pt x="515" y="88"/>
                </a:lnTo>
                <a:lnTo>
                  <a:pt x="504" y="94"/>
                </a:lnTo>
                <a:lnTo>
                  <a:pt x="501" y="98"/>
                </a:lnTo>
                <a:lnTo>
                  <a:pt x="500" y="103"/>
                </a:lnTo>
                <a:lnTo>
                  <a:pt x="501" y="109"/>
                </a:lnTo>
                <a:lnTo>
                  <a:pt x="500" y="113"/>
                </a:lnTo>
                <a:lnTo>
                  <a:pt x="497" y="118"/>
                </a:lnTo>
                <a:lnTo>
                  <a:pt x="494" y="125"/>
                </a:lnTo>
                <a:lnTo>
                  <a:pt x="490" y="131"/>
                </a:lnTo>
                <a:lnTo>
                  <a:pt x="480" y="141"/>
                </a:lnTo>
                <a:lnTo>
                  <a:pt x="469" y="159"/>
                </a:lnTo>
                <a:lnTo>
                  <a:pt x="462" y="168"/>
                </a:lnTo>
                <a:lnTo>
                  <a:pt x="427" y="196"/>
                </a:lnTo>
                <a:lnTo>
                  <a:pt x="417" y="202"/>
                </a:lnTo>
                <a:lnTo>
                  <a:pt x="405" y="205"/>
                </a:lnTo>
                <a:lnTo>
                  <a:pt x="399" y="203"/>
                </a:lnTo>
                <a:lnTo>
                  <a:pt x="395" y="202"/>
                </a:lnTo>
                <a:lnTo>
                  <a:pt x="384" y="203"/>
                </a:lnTo>
                <a:lnTo>
                  <a:pt x="379" y="202"/>
                </a:lnTo>
                <a:lnTo>
                  <a:pt x="378" y="198"/>
                </a:lnTo>
                <a:lnTo>
                  <a:pt x="380" y="192"/>
                </a:lnTo>
                <a:lnTo>
                  <a:pt x="380" y="188"/>
                </a:lnTo>
                <a:lnTo>
                  <a:pt x="378" y="185"/>
                </a:lnTo>
                <a:lnTo>
                  <a:pt x="374" y="189"/>
                </a:lnTo>
                <a:lnTo>
                  <a:pt x="367" y="195"/>
                </a:lnTo>
                <a:lnTo>
                  <a:pt x="363" y="205"/>
                </a:lnTo>
                <a:lnTo>
                  <a:pt x="359" y="220"/>
                </a:lnTo>
                <a:lnTo>
                  <a:pt x="353" y="234"/>
                </a:lnTo>
                <a:lnTo>
                  <a:pt x="348" y="255"/>
                </a:lnTo>
                <a:lnTo>
                  <a:pt x="334" y="291"/>
                </a:lnTo>
                <a:lnTo>
                  <a:pt x="328" y="299"/>
                </a:lnTo>
                <a:lnTo>
                  <a:pt x="302" y="320"/>
                </a:lnTo>
                <a:lnTo>
                  <a:pt x="287" y="326"/>
                </a:lnTo>
                <a:lnTo>
                  <a:pt x="280" y="333"/>
                </a:lnTo>
                <a:lnTo>
                  <a:pt x="275" y="343"/>
                </a:lnTo>
                <a:lnTo>
                  <a:pt x="274" y="356"/>
                </a:lnTo>
                <a:lnTo>
                  <a:pt x="276" y="372"/>
                </a:lnTo>
                <a:lnTo>
                  <a:pt x="275" y="375"/>
                </a:lnTo>
                <a:lnTo>
                  <a:pt x="272" y="378"/>
                </a:lnTo>
                <a:lnTo>
                  <a:pt x="257" y="383"/>
                </a:lnTo>
                <a:lnTo>
                  <a:pt x="246" y="389"/>
                </a:lnTo>
                <a:lnTo>
                  <a:pt x="242" y="390"/>
                </a:lnTo>
                <a:lnTo>
                  <a:pt x="238" y="392"/>
                </a:lnTo>
                <a:lnTo>
                  <a:pt x="235" y="398"/>
                </a:lnTo>
                <a:lnTo>
                  <a:pt x="232" y="405"/>
                </a:lnTo>
                <a:lnTo>
                  <a:pt x="229" y="423"/>
                </a:lnTo>
                <a:lnTo>
                  <a:pt x="229" y="431"/>
                </a:lnTo>
                <a:lnTo>
                  <a:pt x="230" y="439"/>
                </a:lnTo>
                <a:lnTo>
                  <a:pt x="233" y="447"/>
                </a:lnTo>
                <a:lnTo>
                  <a:pt x="241" y="457"/>
                </a:lnTo>
                <a:lnTo>
                  <a:pt x="241" y="463"/>
                </a:lnTo>
                <a:lnTo>
                  <a:pt x="237" y="468"/>
                </a:lnTo>
                <a:lnTo>
                  <a:pt x="215" y="483"/>
                </a:lnTo>
                <a:lnTo>
                  <a:pt x="173" y="489"/>
                </a:lnTo>
                <a:lnTo>
                  <a:pt x="173" y="494"/>
                </a:lnTo>
                <a:lnTo>
                  <a:pt x="177" y="500"/>
                </a:lnTo>
                <a:lnTo>
                  <a:pt x="184" y="507"/>
                </a:lnTo>
                <a:lnTo>
                  <a:pt x="193" y="515"/>
                </a:lnTo>
                <a:lnTo>
                  <a:pt x="199" y="518"/>
                </a:lnTo>
                <a:lnTo>
                  <a:pt x="206" y="519"/>
                </a:lnTo>
                <a:lnTo>
                  <a:pt x="210" y="521"/>
                </a:lnTo>
                <a:lnTo>
                  <a:pt x="211" y="524"/>
                </a:lnTo>
                <a:lnTo>
                  <a:pt x="211" y="527"/>
                </a:lnTo>
                <a:lnTo>
                  <a:pt x="210" y="532"/>
                </a:lnTo>
                <a:lnTo>
                  <a:pt x="211" y="539"/>
                </a:lnTo>
                <a:lnTo>
                  <a:pt x="218" y="558"/>
                </a:lnTo>
                <a:lnTo>
                  <a:pt x="215" y="565"/>
                </a:lnTo>
                <a:lnTo>
                  <a:pt x="206" y="568"/>
                </a:lnTo>
                <a:lnTo>
                  <a:pt x="180" y="566"/>
                </a:lnTo>
                <a:lnTo>
                  <a:pt x="170" y="571"/>
                </a:lnTo>
                <a:lnTo>
                  <a:pt x="167" y="576"/>
                </a:lnTo>
                <a:lnTo>
                  <a:pt x="163" y="577"/>
                </a:lnTo>
                <a:lnTo>
                  <a:pt x="158" y="573"/>
                </a:lnTo>
                <a:lnTo>
                  <a:pt x="153" y="569"/>
                </a:lnTo>
                <a:lnTo>
                  <a:pt x="149" y="567"/>
                </a:lnTo>
                <a:lnTo>
                  <a:pt x="143" y="569"/>
                </a:lnTo>
                <a:lnTo>
                  <a:pt x="138" y="574"/>
                </a:lnTo>
                <a:lnTo>
                  <a:pt x="131" y="585"/>
                </a:lnTo>
                <a:lnTo>
                  <a:pt x="127" y="590"/>
                </a:lnTo>
                <a:lnTo>
                  <a:pt x="117" y="593"/>
                </a:lnTo>
                <a:lnTo>
                  <a:pt x="111" y="596"/>
                </a:lnTo>
                <a:lnTo>
                  <a:pt x="103" y="603"/>
                </a:lnTo>
                <a:lnTo>
                  <a:pt x="98" y="609"/>
                </a:lnTo>
                <a:lnTo>
                  <a:pt x="94" y="617"/>
                </a:lnTo>
                <a:lnTo>
                  <a:pt x="89" y="624"/>
                </a:lnTo>
                <a:lnTo>
                  <a:pt x="84" y="631"/>
                </a:lnTo>
                <a:lnTo>
                  <a:pt x="78" y="638"/>
                </a:lnTo>
                <a:lnTo>
                  <a:pt x="77" y="645"/>
                </a:lnTo>
                <a:lnTo>
                  <a:pt x="77" y="651"/>
                </a:lnTo>
                <a:lnTo>
                  <a:pt x="76" y="656"/>
                </a:lnTo>
                <a:lnTo>
                  <a:pt x="75" y="660"/>
                </a:lnTo>
                <a:lnTo>
                  <a:pt x="74" y="665"/>
                </a:lnTo>
                <a:lnTo>
                  <a:pt x="71" y="669"/>
                </a:lnTo>
                <a:lnTo>
                  <a:pt x="65" y="671"/>
                </a:lnTo>
                <a:lnTo>
                  <a:pt x="46" y="673"/>
                </a:lnTo>
                <a:lnTo>
                  <a:pt x="17" y="672"/>
                </a:lnTo>
                <a:lnTo>
                  <a:pt x="24" y="701"/>
                </a:lnTo>
                <a:lnTo>
                  <a:pt x="43" y="733"/>
                </a:lnTo>
                <a:lnTo>
                  <a:pt x="78" y="753"/>
                </a:lnTo>
                <a:lnTo>
                  <a:pt x="130" y="766"/>
                </a:lnTo>
                <a:lnTo>
                  <a:pt x="170" y="790"/>
                </a:lnTo>
                <a:lnTo>
                  <a:pt x="194" y="813"/>
                </a:lnTo>
                <a:lnTo>
                  <a:pt x="220" y="853"/>
                </a:lnTo>
                <a:lnTo>
                  <a:pt x="219" y="911"/>
                </a:lnTo>
                <a:lnTo>
                  <a:pt x="208" y="980"/>
                </a:lnTo>
                <a:lnTo>
                  <a:pt x="178" y="1025"/>
                </a:lnTo>
                <a:lnTo>
                  <a:pt x="145" y="1044"/>
                </a:lnTo>
                <a:lnTo>
                  <a:pt x="88" y="1058"/>
                </a:lnTo>
                <a:lnTo>
                  <a:pt x="48" y="1088"/>
                </a:lnTo>
                <a:lnTo>
                  <a:pt x="0" y="1134"/>
                </a:lnTo>
                <a:lnTo>
                  <a:pt x="50" y="1193"/>
                </a:lnTo>
                <a:lnTo>
                  <a:pt x="76" y="1209"/>
                </a:lnTo>
                <a:lnTo>
                  <a:pt x="81" y="1210"/>
                </a:lnTo>
                <a:lnTo>
                  <a:pt x="93" y="1213"/>
                </a:lnTo>
                <a:lnTo>
                  <a:pt x="98" y="1214"/>
                </a:lnTo>
                <a:lnTo>
                  <a:pt x="102" y="1217"/>
                </a:lnTo>
                <a:lnTo>
                  <a:pt x="111" y="1226"/>
                </a:lnTo>
                <a:lnTo>
                  <a:pt x="120" y="1231"/>
                </a:lnTo>
                <a:lnTo>
                  <a:pt x="149" y="1255"/>
                </a:lnTo>
                <a:lnTo>
                  <a:pt x="177" y="1266"/>
                </a:lnTo>
                <a:lnTo>
                  <a:pt x="192" y="1268"/>
                </a:lnTo>
                <a:lnTo>
                  <a:pt x="198" y="1262"/>
                </a:lnTo>
                <a:lnTo>
                  <a:pt x="199" y="1247"/>
                </a:lnTo>
                <a:lnTo>
                  <a:pt x="199" y="1240"/>
                </a:lnTo>
                <a:lnTo>
                  <a:pt x="197" y="1234"/>
                </a:lnTo>
                <a:lnTo>
                  <a:pt x="179" y="1216"/>
                </a:lnTo>
                <a:lnTo>
                  <a:pt x="176" y="1214"/>
                </a:lnTo>
                <a:lnTo>
                  <a:pt x="173" y="1201"/>
                </a:lnTo>
                <a:lnTo>
                  <a:pt x="176" y="1189"/>
                </a:lnTo>
                <a:lnTo>
                  <a:pt x="182" y="1184"/>
                </a:lnTo>
                <a:lnTo>
                  <a:pt x="192" y="1189"/>
                </a:lnTo>
                <a:lnTo>
                  <a:pt x="195" y="1193"/>
                </a:lnTo>
                <a:lnTo>
                  <a:pt x="198" y="1197"/>
                </a:lnTo>
                <a:lnTo>
                  <a:pt x="202" y="1200"/>
                </a:lnTo>
                <a:lnTo>
                  <a:pt x="208" y="1200"/>
                </a:lnTo>
                <a:lnTo>
                  <a:pt x="215" y="1196"/>
                </a:lnTo>
                <a:lnTo>
                  <a:pt x="219" y="1190"/>
                </a:lnTo>
                <a:lnTo>
                  <a:pt x="224" y="1181"/>
                </a:lnTo>
                <a:lnTo>
                  <a:pt x="246" y="1171"/>
                </a:lnTo>
                <a:lnTo>
                  <a:pt x="267" y="1150"/>
                </a:lnTo>
                <a:lnTo>
                  <a:pt x="312" y="1086"/>
                </a:lnTo>
                <a:lnTo>
                  <a:pt x="341" y="1011"/>
                </a:lnTo>
                <a:lnTo>
                  <a:pt x="347" y="1002"/>
                </a:lnTo>
                <a:lnTo>
                  <a:pt x="354" y="997"/>
                </a:lnTo>
                <a:lnTo>
                  <a:pt x="361" y="997"/>
                </a:lnTo>
                <a:lnTo>
                  <a:pt x="375" y="998"/>
                </a:lnTo>
                <a:lnTo>
                  <a:pt x="380" y="996"/>
                </a:lnTo>
                <a:lnTo>
                  <a:pt x="387" y="988"/>
                </a:lnTo>
                <a:lnTo>
                  <a:pt x="390" y="986"/>
                </a:lnTo>
                <a:lnTo>
                  <a:pt x="397" y="985"/>
                </a:lnTo>
                <a:lnTo>
                  <a:pt x="383" y="1007"/>
                </a:lnTo>
                <a:lnTo>
                  <a:pt x="378" y="1011"/>
                </a:lnTo>
                <a:lnTo>
                  <a:pt x="371" y="1014"/>
                </a:lnTo>
                <a:lnTo>
                  <a:pt x="363" y="1017"/>
                </a:lnTo>
                <a:lnTo>
                  <a:pt x="358" y="1020"/>
                </a:lnTo>
                <a:lnTo>
                  <a:pt x="354" y="1027"/>
                </a:lnTo>
                <a:lnTo>
                  <a:pt x="352" y="1044"/>
                </a:lnTo>
                <a:lnTo>
                  <a:pt x="339" y="1072"/>
                </a:lnTo>
                <a:lnTo>
                  <a:pt x="336" y="1087"/>
                </a:lnTo>
                <a:lnTo>
                  <a:pt x="340" y="1097"/>
                </a:lnTo>
                <a:lnTo>
                  <a:pt x="350" y="1093"/>
                </a:lnTo>
                <a:lnTo>
                  <a:pt x="363" y="1087"/>
                </a:lnTo>
                <a:lnTo>
                  <a:pt x="378" y="1085"/>
                </a:lnTo>
                <a:lnTo>
                  <a:pt x="393" y="1100"/>
                </a:lnTo>
                <a:lnTo>
                  <a:pt x="403" y="1103"/>
                </a:lnTo>
                <a:lnTo>
                  <a:pt x="405" y="1089"/>
                </a:lnTo>
                <a:lnTo>
                  <a:pt x="410" y="1097"/>
                </a:lnTo>
                <a:lnTo>
                  <a:pt x="411" y="1103"/>
                </a:lnTo>
                <a:lnTo>
                  <a:pt x="408" y="1109"/>
                </a:lnTo>
                <a:lnTo>
                  <a:pt x="401" y="1113"/>
                </a:lnTo>
                <a:lnTo>
                  <a:pt x="393" y="1112"/>
                </a:lnTo>
                <a:lnTo>
                  <a:pt x="388" y="1108"/>
                </a:lnTo>
                <a:lnTo>
                  <a:pt x="385" y="1101"/>
                </a:lnTo>
                <a:lnTo>
                  <a:pt x="380" y="1099"/>
                </a:lnTo>
                <a:lnTo>
                  <a:pt x="362" y="1101"/>
                </a:lnTo>
                <a:lnTo>
                  <a:pt x="356" y="1106"/>
                </a:lnTo>
                <a:lnTo>
                  <a:pt x="352" y="1116"/>
                </a:lnTo>
                <a:lnTo>
                  <a:pt x="346" y="1130"/>
                </a:lnTo>
                <a:lnTo>
                  <a:pt x="326" y="1144"/>
                </a:lnTo>
                <a:lnTo>
                  <a:pt x="318" y="1154"/>
                </a:lnTo>
                <a:lnTo>
                  <a:pt x="321" y="1166"/>
                </a:lnTo>
                <a:lnTo>
                  <a:pt x="330" y="1173"/>
                </a:lnTo>
                <a:lnTo>
                  <a:pt x="334" y="1174"/>
                </a:lnTo>
                <a:lnTo>
                  <a:pt x="348" y="1173"/>
                </a:lnTo>
                <a:lnTo>
                  <a:pt x="353" y="1174"/>
                </a:lnTo>
                <a:lnTo>
                  <a:pt x="358" y="1183"/>
                </a:lnTo>
                <a:lnTo>
                  <a:pt x="364" y="1187"/>
                </a:lnTo>
                <a:lnTo>
                  <a:pt x="374" y="1184"/>
                </a:lnTo>
                <a:lnTo>
                  <a:pt x="397" y="1171"/>
                </a:lnTo>
                <a:lnTo>
                  <a:pt x="408" y="1167"/>
                </a:lnTo>
                <a:lnTo>
                  <a:pt x="414" y="1164"/>
                </a:lnTo>
                <a:lnTo>
                  <a:pt x="432" y="1143"/>
                </a:lnTo>
                <a:lnTo>
                  <a:pt x="438" y="1136"/>
                </a:lnTo>
                <a:lnTo>
                  <a:pt x="444" y="1109"/>
                </a:lnTo>
                <a:lnTo>
                  <a:pt x="455" y="978"/>
                </a:lnTo>
                <a:lnTo>
                  <a:pt x="453" y="958"/>
                </a:lnTo>
                <a:lnTo>
                  <a:pt x="434" y="922"/>
                </a:lnTo>
                <a:lnTo>
                  <a:pt x="429" y="903"/>
                </a:lnTo>
                <a:lnTo>
                  <a:pt x="430" y="883"/>
                </a:lnTo>
                <a:lnTo>
                  <a:pt x="436" y="856"/>
                </a:lnTo>
                <a:lnTo>
                  <a:pt x="441" y="840"/>
                </a:lnTo>
                <a:lnTo>
                  <a:pt x="442" y="834"/>
                </a:lnTo>
                <a:lnTo>
                  <a:pt x="448" y="829"/>
                </a:lnTo>
                <a:lnTo>
                  <a:pt x="469" y="828"/>
                </a:lnTo>
                <a:lnTo>
                  <a:pt x="474" y="826"/>
                </a:lnTo>
                <a:lnTo>
                  <a:pt x="475" y="814"/>
                </a:lnTo>
                <a:lnTo>
                  <a:pt x="476" y="808"/>
                </a:lnTo>
                <a:lnTo>
                  <a:pt x="480" y="805"/>
                </a:lnTo>
                <a:lnTo>
                  <a:pt x="520" y="782"/>
                </a:lnTo>
                <a:lnTo>
                  <a:pt x="515" y="797"/>
                </a:lnTo>
                <a:lnTo>
                  <a:pt x="504" y="804"/>
                </a:lnTo>
                <a:lnTo>
                  <a:pt x="493" y="810"/>
                </a:lnTo>
                <a:lnTo>
                  <a:pt x="488" y="817"/>
                </a:lnTo>
                <a:lnTo>
                  <a:pt x="484" y="832"/>
                </a:lnTo>
                <a:lnTo>
                  <a:pt x="477" y="837"/>
                </a:lnTo>
                <a:lnTo>
                  <a:pt x="466" y="840"/>
                </a:lnTo>
                <a:lnTo>
                  <a:pt x="455" y="851"/>
                </a:lnTo>
                <a:lnTo>
                  <a:pt x="461" y="859"/>
                </a:lnTo>
                <a:lnTo>
                  <a:pt x="460" y="866"/>
                </a:lnTo>
                <a:lnTo>
                  <a:pt x="455" y="871"/>
                </a:lnTo>
                <a:lnTo>
                  <a:pt x="452" y="879"/>
                </a:lnTo>
                <a:lnTo>
                  <a:pt x="451" y="886"/>
                </a:lnTo>
                <a:lnTo>
                  <a:pt x="453" y="891"/>
                </a:lnTo>
                <a:lnTo>
                  <a:pt x="455" y="894"/>
                </a:lnTo>
                <a:lnTo>
                  <a:pt x="455" y="899"/>
                </a:lnTo>
                <a:lnTo>
                  <a:pt x="457" y="901"/>
                </a:lnTo>
                <a:lnTo>
                  <a:pt x="466" y="912"/>
                </a:lnTo>
                <a:lnTo>
                  <a:pt x="467" y="916"/>
                </a:lnTo>
                <a:lnTo>
                  <a:pt x="470" y="919"/>
                </a:lnTo>
                <a:lnTo>
                  <a:pt x="469" y="929"/>
                </a:lnTo>
                <a:lnTo>
                  <a:pt x="465" y="943"/>
                </a:lnTo>
                <a:lnTo>
                  <a:pt x="466" y="951"/>
                </a:lnTo>
                <a:lnTo>
                  <a:pt x="470" y="983"/>
                </a:lnTo>
                <a:lnTo>
                  <a:pt x="469" y="1022"/>
                </a:lnTo>
                <a:lnTo>
                  <a:pt x="470" y="1032"/>
                </a:lnTo>
                <a:lnTo>
                  <a:pt x="475" y="1039"/>
                </a:lnTo>
                <a:lnTo>
                  <a:pt x="483" y="1053"/>
                </a:lnTo>
                <a:lnTo>
                  <a:pt x="496" y="1089"/>
                </a:lnTo>
                <a:lnTo>
                  <a:pt x="504" y="1101"/>
                </a:lnTo>
                <a:lnTo>
                  <a:pt x="509" y="1104"/>
                </a:lnTo>
                <a:lnTo>
                  <a:pt x="517" y="1104"/>
                </a:lnTo>
                <a:lnTo>
                  <a:pt x="532" y="1103"/>
                </a:lnTo>
                <a:lnTo>
                  <a:pt x="534" y="1108"/>
                </a:lnTo>
                <a:lnTo>
                  <a:pt x="543" y="1130"/>
                </a:lnTo>
                <a:lnTo>
                  <a:pt x="547" y="1161"/>
                </a:lnTo>
                <a:lnTo>
                  <a:pt x="546" y="1177"/>
                </a:lnTo>
                <a:lnTo>
                  <a:pt x="541" y="1189"/>
                </a:lnTo>
                <a:lnTo>
                  <a:pt x="520" y="1209"/>
                </a:lnTo>
                <a:lnTo>
                  <a:pt x="513" y="1220"/>
                </a:lnTo>
                <a:lnTo>
                  <a:pt x="499" y="1260"/>
                </a:lnTo>
                <a:lnTo>
                  <a:pt x="496" y="1275"/>
                </a:lnTo>
                <a:lnTo>
                  <a:pt x="490" y="1290"/>
                </a:lnTo>
                <a:lnTo>
                  <a:pt x="488" y="1294"/>
                </a:lnTo>
                <a:lnTo>
                  <a:pt x="474" y="1320"/>
                </a:lnTo>
                <a:lnTo>
                  <a:pt x="453" y="1388"/>
                </a:lnTo>
                <a:lnTo>
                  <a:pt x="452" y="1400"/>
                </a:lnTo>
                <a:lnTo>
                  <a:pt x="443" y="1426"/>
                </a:lnTo>
                <a:lnTo>
                  <a:pt x="440" y="1441"/>
                </a:lnTo>
                <a:lnTo>
                  <a:pt x="447" y="1453"/>
                </a:lnTo>
                <a:lnTo>
                  <a:pt x="441" y="1466"/>
                </a:lnTo>
                <a:lnTo>
                  <a:pt x="432" y="1479"/>
                </a:lnTo>
                <a:lnTo>
                  <a:pt x="434" y="1479"/>
                </a:lnTo>
                <a:lnTo>
                  <a:pt x="438" y="1480"/>
                </a:lnTo>
                <a:lnTo>
                  <a:pt x="490" y="1482"/>
                </a:lnTo>
                <a:lnTo>
                  <a:pt x="496" y="1485"/>
                </a:lnTo>
                <a:lnTo>
                  <a:pt x="523" y="1492"/>
                </a:lnTo>
                <a:lnTo>
                  <a:pt x="525" y="1479"/>
                </a:lnTo>
                <a:lnTo>
                  <a:pt x="527" y="1474"/>
                </a:lnTo>
                <a:lnTo>
                  <a:pt x="531" y="1465"/>
                </a:lnTo>
                <a:lnTo>
                  <a:pt x="568" y="1421"/>
                </a:lnTo>
                <a:lnTo>
                  <a:pt x="568" y="1415"/>
                </a:lnTo>
                <a:lnTo>
                  <a:pt x="567" y="1396"/>
                </a:lnTo>
                <a:lnTo>
                  <a:pt x="562" y="1377"/>
                </a:lnTo>
                <a:lnTo>
                  <a:pt x="561" y="1365"/>
                </a:lnTo>
                <a:lnTo>
                  <a:pt x="565" y="1348"/>
                </a:lnTo>
                <a:lnTo>
                  <a:pt x="570" y="1332"/>
                </a:lnTo>
                <a:lnTo>
                  <a:pt x="717" y="1179"/>
                </a:lnTo>
                <a:lnTo>
                  <a:pt x="720" y="1177"/>
                </a:lnTo>
                <a:lnTo>
                  <a:pt x="724" y="1175"/>
                </a:lnTo>
                <a:lnTo>
                  <a:pt x="728" y="1171"/>
                </a:lnTo>
                <a:lnTo>
                  <a:pt x="734" y="1166"/>
                </a:lnTo>
                <a:lnTo>
                  <a:pt x="749" y="1151"/>
                </a:lnTo>
                <a:lnTo>
                  <a:pt x="752" y="1144"/>
                </a:lnTo>
                <a:lnTo>
                  <a:pt x="753" y="1137"/>
                </a:lnTo>
                <a:lnTo>
                  <a:pt x="748" y="1129"/>
                </a:lnTo>
                <a:lnTo>
                  <a:pt x="740" y="1112"/>
                </a:lnTo>
                <a:lnTo>
                  <a:pt x="721" y="1117"/>
                </a:lnTo>
                <a:lnTo>
                  <a:pt x="704" y="1126"/>
                </a:lnTo>
                <a:lnTo>
                  <a:pt x="695" y="1125"/>
                </a:lnTo>
                <a:lnTo>
                  <a:pt x="689" y="1119"/>
                </a:lnTo>
                <a:lnTo>
                  <a:pt x="688" y="1111"/>
                </a:lnTo>
                <a:lnTo>
                  <a:pt x="726" y="1076"/>
                </a:lnTo>
                <a:lnTo>
                  <a:pt x="748" y="1061"/>
                </a:lnTo>
                <a:lnTo>
                  <a:pt x="749" y="1058"/>
                </a:lnTo>
                <a:lnTo>
                  <a:pt x="747" y="1053"/>
                </a:lnTo>
                <a:lnTo>
                  <a:pt x="744" y="1048"/>
                </a:lnTo>
                <a:lnTo>
                  <a:pt x="744" y="1043"/>
                </a:lnTo>
                <a:lnTo>
                  <a:pt x="748" y="1037"/>
                </a:lnTo>
                <a:lnTo>
                  <a:pt x="748" y="1021"/>
                </a:lnTo>
                <a:lnTo>
                  <a:pt x="754" y="1012"/>
                </a:lnTo>
                <a:lnTo>
                  <a:pt x="761" y="1005"/>
                </a:lnTo>
                <a:lnTo>
                  <a:pt x="779" y="991"/>
                </a:lnTo>
                <a:lnTo>
                  <a:pt x="789" y="985"/>
                </a:lnTo>
                <a:lnTo>
                  <a:pt x="796" y="982"/>
                </a:lnTo>
                <a:lnTo>
                  <a:pt x="876" y="968"/>
                </a:lnTo>
                <a:lnTo>
                  <a:pt x="889" y="963"/>
                </a:lnTo>
                <a:lnTo>
                  <a:pt x="904" y="958"/>
                </a:lnTo>
                <a:lnTo>
                  <a:pt x="920" y="949"/>
                </a:lnTo>
                <a:lnTo>
                  <a:pt x="929" y="942"/>
                </a:lnTo>
                <a:lnTo>
                  <a:pt x="936" y="934"/>
                </a:lnTo>
                <a:lnTo>
                  <a:pt x="939" y="929"/>
                </a:lnTo>
                <a:lnTo>
                  <a:pt x="946" y="916"/>
                </a:lnTo>
                <a:lnTo>
                  <a:pt x="947" y="888"/>
                </a:lnTo>
                <a:lnTo>
                  <a:pt x="945" y="882"/>
                </a:lnTo>
                <a:close/>
              </a:path>
            </a:pathLst>
          </a:custGeom>
          <a:solidFill>
            <a:srgbClr val="3399FF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6" name="Freeform 20">
            <a:extLst>
              <a:ext uri="{FF2B5EF4-FFF2-40B4-BE49-F238E27FC236}">
                <a16:creationId xmlns:a16="http://schemas.microsoft.com/office/drawing/2014/main" id="{43A75675-51BA-5A80-2C76-4EA7E193BE05}"/>
              </a:ext>
            </a:extLst>
          </p:cNvPr>
          <p:cNvSpPr>
            <a:spLocks noEditPoints="1"/>
          </p:cNvSpPr>
          <p:nvPr/>
        </p:nvSpPr>
        <p:spPr bwMode="auto">
          <a:xfrm>
            <a:off x="2299778" y="804825"/>
            <a:ext cx="1466307" cy="1180032"/>
          </a:xfrm>
          <a:custGeom>
            <a:avLst/>
            <a:gdLst>
              <a:gd name="T0" fmla="*/ 1554 w 1618"/>
              <a:gd name="T1" fmla="*/ 898 h 1376"/>
              <a:gd name="T2" fmla="*/ 1479 w 1618"/>
              <a:gd name="T3" fmla="*/ 949 h 1376"/>
              <a:gd name="T4" fmla="*/ 1384 w 1618"/>
              <a:gd name="T5" fmla="*/ 1028 h 1376"/>
              <a:gd name="T6" fmla="*/ 1403 w 1618"/>
              <a:gd name="T7" fmla="*/ 1066 h 1376"/>
              <a:gd name="T8" fmla="*/ 1487 w 1618"/>
              <a:gd name="T9" fmla="*/ 1063 h 1376"/>
              <a:gd name="T10" fmla="*/ 1543 w 1618"/>
              <a:gd name="T11" fmla="*/ 993 h 1376"/>
              <a:gd name="T12" fmla="*/ 621 w 1618"/>
              <a:gd name="T13" fmla="*/ 46 h 1376"/>
              <a:gd name="T14" fmla="*/ 762 w 1618"/>
              <a:gd name="T15" fmla="*/ 240 h 1376"/>
              <a:gd name="T16" fmla="*/ 830 w 1618"/>
              <a:gd name="T17" fmla="*/ 249 h 1376"/>
              <a:gd name="T18" fmla="*/ 781 w 1618"/>
              <a:gd name="T19" fmla="*/ 195 h 1376"/>
              <a:gd name="T20" fmla="*/ 175 w 1618"/>
              <a:gd name="T21" fmla="*/ 745 h 1376"/>
              <a:gd name="T22" fmla="*/ 144 w 1618"/>
              <a:gd name="T23" fmla="*/ 610 h 1376"/>
              <a:gd name="T24" fmla="*/ 0 w 1618"/>
              <a:gd name="T25" fmla="*/ 636 h 1376"/>
              <a:gd name="T26" fmla="*/ 40 w 1618"/>
              <a:gd name="T27" fmla="*/ 738 h 1376"/>
              <a:gd name="T28" fmla="*/ 89 w 1618"/>
              <a:gd name="T29" fmla="*/ 754 h 1376"/>
              <a:gd name="T30" fmla="*/ 1337 w 1618"/>
              <a:gd name="T31" fmla="*/ 1336 h 1376"/>
              <a:gd name="T32" fmla="*/ 1377 w 1618"/>
              <a:gd name="T33" fmla="*/ 1355 h 1376"/>
              <a:gd name="T34" fmla="*/ 958 w 1618"/>
              <a:gd name="T35" fmla="*/ 777 h 1376"/>
              <a:gd name="T36" fmla="*/ 865 w 1618"/>
              <a:gd name="T37" fmla="*/ 775 h 1376"/>
              <a:gd name="T38" fmla="*/ 811 w 1618"/>
              <a:gd name="T39" fmla="*/ 781 h 1376"/>
              <a:gd name="T40" fmla="*/ 753 w 1618"/>
              <a:gd name="T41" fmla="*/ 885 h 1376"/>
              <a:gd name="T42" fmla="*/ 816 w 1618"/>
              <a:gd name="T43" fmla="*/ 935 h 1376"/>
              <a:gd name="T44" fmla="*/ 882 w 1618"/>
              <a:gd name="T45" fmla="*/ 959 h 1376"/>
              <a:gd name="T46" fmla="*/ 951 w 1618"/>
              <a:gd name="T47" fmla="*/ 931 h 1376"/>
              <a:gd name="T48" fmla="*/ 993 w 1618"/>
              <a:gd name="T49" fmla="*/ 874 h 1376"/>
              <a:gd name="T50" fmla="*/ 983 w 1618"/>
              <a:gd name="T51" fmla="*/ 798 h 1376"/>
              <a:gd name="T52" fmla="*/ 809 w 1618"/>
              <a:gd name="T53" fmla="*/ 1261 h 1376"/>
              <a:gd name="T54" fmla="*/ 768 w 1618"/>
              <a:gd name="T55" fmla="*/ 1312 h 1376"/>
              <a:gd name="T56" fmla="*/ 855 w 1618"/>
              <a:gd name="T57" fmla="*/ 1321 h 1376"/>
              <a:gd name="T58" fmla="*/ 870 w 1618"/>
              <a:gd name="T59" fmla="*/ 1298 h 1376"/>
              <a:gd name="T60" fmla="*/ 582 w 1618"/>
              <a:gd name="T61" fmla="*/ 930 h 1376"/>
              <a:gd name="T62" fmla="*/ 530 w 1618"/>
              <a:gd name="T63" fmla="*/ 872 h 1376"/>
              <a:gd name="T64" fmla="*/ 471 w 1618"/>
              <a:gd name="T65" fmla="*/ 815 h 1376"/>
              <a:gd name="T66" fmla="*/ 476 w 1618"/>
              <a:gd name="T67" fmla="*/ 732 h 1376"/>
              <a:gd name="T68" fmla="*/ 453 w 1618"/>
              <a:gd name="T69" fmla="*/ 701 h 1376"/>
              <a:gd name="T70" fmla="*/ 364 w 1618"/>
              <a:gd name="T71" fmla="*/ 631 h 1376"/>
              <a:gd name="T72" fmla="*/ 315 w 1618"/>
              <a:gd name="T73" fmla="*/ 473 h 1376"/>
              <a:gd name="T74" fmla="*/ 270 w 1618"/>
              <a:gd name="T75" fmla="*/ 425 h 1376"/>
              <a:gd name="T76" fmla="*/ 233 w 1618"/>
              <a:gd name="T77" fmla="*/ 344 h 1376"/>
              <a:gd name="T78" fmla="*/ 181 w 1618"/>
              <a:gd name="T79" fmla="*/ 356 h 1376"/>
              <a:gd name="T80" fmla="*/ 54 w 1618"/>
              <a:gd name="T81" fmla="*/ 431 h 1376"/>
              <a:gd name="T82" fmla="*/ 85 w 1618"/>
              <a:gd name="T83" fmla="*/ 469 h 1376"/>
              <a:gd name="T84" fmla="*/ 176 w 1618"/>
              <a:gd name="T85" fmla="*/ 496 h 1376"/>
              <a:gd name="T86" fmla="*/ 178 w 1618"/>
              <a:gd name="T87" fmla="*/ 582 h 1376"/>
              <a:gd name="T88" fmla="*/ 263 w 1618"/>
              <a:gd name="T89" fmla="*/ 679 h 1376"/>
              <a:gd name="T90" fmla="*/ 297 w 1618"/>
              <a:gd name="T91" fmla="*/ 738 h 1376"/>
              <a:gd name="T92" fmla="*/ 387 w 1618"/>
              <a:gd name="T93" fmla="*/ 818 h 1376"/>
              <a:gd name="T94" fmla="*/ 358 w 1618"/>
              <a:gd name="T95" fmla="*/ 876 h 1376"/>
              <a:gd name="T96" fmla="*/ 314 w 1618"/>
              <a:gd name="T97" fmla="*/ 888 h 1376"/>
              <a:gd name="T98" fmla="*/ 242 w 1618"/>
              <a:gd name="T99" fmla="*/ 895 h 1376"/>
              <a:gd name="T100" fmla="*/ 113 w 1618"/>
              <a:gd name="T101" fmla="*/ 1037 h 1376"/>
              <a:gd name="T102" fmla="*/ 155 w 1618"/>
              <a:gd name="T103" fmla="*/ 1098 h 1376"/>
              <a:gd name="T104" fmla="*/ 343 w 1618"/>
              <a:gd name="T105" fmla="*/ 1127 h 1376"/>
              <a:gd name="T106" fmla="*/ 505 w 1618"/>
              <a:gd name="T107" fmla="*/ 1076 h 1376"/>
              <a:gd name="T108" fmla="*/ 570 w 1618"/>
              <a:gd name="T109" fmla="*/ 953 h 1376"/>
              <a:gd name="T110" fmla="*/ 750 w 1618"/>
              <a:gd name="T111" fmla="*/ 623 h 1376"/>
              <a:gd name="T112" fmla="*/ 596 w 1618"/>
              <a:gd name="T113" fmla="*/ 540 h 1376"/>
              <a:gd name="T114" fmla="*/ 562 w 1618"/>
              <a:gd name="T115" fmla="*/ 580 h 1376"/>
              <a:gd name="T116" fmla="*/ 599 w 1618"/>
              <a:gd name="T117" fmla="*/ 663 h 1376"/>
              <a:gd name="T118" fmla="*/ 731 w 1618"/>
              <a:gd name="T119" fmla="*/ 667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18" h="1376">
                <a:moveTo>
                  <a:pt x="1617" y="894"/>
                </a:moveTo>
                <a:lnTo>
                  <a:pt x="1608" y="898"/>
                </a:lnTo>
                <a:lnTo>
                  <a:pt x="1599" y="902"/>
                </a:lnTo>
                <a:lnTo>
                  <a:pt x="1591" y="902"/>
                </a:lnTo>
                <a:lnTo>
                  <a:pt x="1582" y="896"/>
                </a:lnTo>
                <a:lnTo>
                  <a:pt x="1574" y="893"/>
                </a:lnTo>
                <a:lnTo>
                  <a:pt x="1554" y="898"/>
                </a:lnTo>
                <a:lnTo>
                  <a:pt x="1543" y="900"/>
                </a:lnTo>
                <a:lnTo>
                  <a:pt x="1536" y="906"/>
                </a:lnTo>
                <a:lnTo>
                  <a:pt x="1512" y="915"/>
                </a:lnTo>
                <a:lnTo>
                  <a:pt x="1507" y="919"/>
                </a:lnTo>
                <a:lnTo>
                  <a:pt x="1503" y="926"/>
                </a:lnTo>
                <a:lnTo>
                  <a:pt x="1486" y="942"/>
                </a:lnTo>
                <a:lnTo>
                  <a:pt x="1479" y="949"/>
                </a:lnTo>
                <a:lnTo>
                  <a:pt x="1469" y="971"/>
                </a:lnTo>
                <a:lnTo>
                  <a:pt x="1462" y="979"/>
                </a:lnTo>
                <a:lnTo>
                  <a:pt x="1434" y="985"/>
                </a:lnTo>
                <a:lnTo>
                  <a:pt x="1426" y="986"/>
                </a:lnTo>
                <a:lnTo>
                  <a:pt x="1419" y="1009"/>
                </a:lnTo>
                <a:lnTo>
                  <a:pt x="1411" y="1017"/>
                </a:lnTo>
                <a:lnTo>
                  <a:pt x="1384" y="1028"/>
                </a:lnTo>
                <a:lnTo>
                  <a:pt x="1378" y="1034"/>
                </a:lnTo>
                <a:lnTo>
                  <a:pt x="1370" y="1044"/>
                </a:lnTo>
                <a:lnTo>
                  <a:pt x="1366" y="1051"/>
                </a:lnTo>
                <a:lnTo>
                  <a:pt x="1366" y="1058"/>
                </a:lnTo>
                <a:lnTo>
                  <a:pt x="1373" y="1060"/>
                </a:lnTo>
                <a:lnTo>
                  <a:pt x="1397" y="1064"/>
                </a:lnTo>
                <a:lnTo>
                  <a:pt x="1403" y="1066"/>
                </a:lnTo>
                <a:lnTo>
                  <a:pt x="1417" y="1076"/>
                </a:lnTo>
                <a:lnTo>
                  <a:pt x="1424" y="1078"/>
                </a:lnTo>
                <a:lnTo>
                  <a:pt x="1434" y="1076"/>
                </a:lnTo>
                <a:lnTo>
                  <a:pt x="1448" y="1066"/>
                </a:lnTo>
                <a:lnTo>
                  <a:pt x="1454" y="1064"/>
                </a:lnTo>
                <a:lnTo>
                  <a:pt x="1477" y="1064"/>
                </a:lnTo>
                <a:lnTo>
                  <a:pt x="1487" y="1063"/>
                </a:lnTo>
                <a:lnTo>
                  <a:pt x="1497" y="1060"/>
                </a:lnTo>
                <a:lnTo>
                  <a:pt x="1507" y="1053"/>
                </a:lnTo>
                <a:lnTo>
                  <a:pt x="1516" y="1044"/>
                </a:lnTo>
                <a:lnTo>
                  <a:pt x="1530" y="1023"/>
                </a:lnTo>
                <a:lnTo>
                  <a:pt x="1538" y="1004"/>
                </a:lnTo>
                <a:lnTo>
                  <a:pt x="1539" y="997"/>
                </a:lnTo>
                <a:lnTo>
                  <a:pt x="1543" y="993"/>
                </a:lnTo>
                <a:lnTo>
                  <a:pt x="1567" y="986"/>
                </a:lnTo>
                <a:lnTo>
                  <a:pt x="1586" y="970"/>
                </a:lnTo>
                <a:lnTo>
                  <a:pt x="1606" y="946"/>
                </a:lnTo>
                <a:lnTo>
                  <a:pt x="1618" y="919"/>
                </a:lnTo>
                <a:lnTo>
                  <a:pt x="1617" y="894"/>
                </a:lnTo>
                <a:close/>
                <a:moveTo>
                  <a:pt x="610" y="66"/>
                </a:moveTo>
                <a:lnTo>
                  <a:pt x="621" y="46"/>
                </a:lnTo>
                <a:lnTo>
                  <a:pt x="612" y="15"/>
                </a:lnTo>
                <a:lnTo>
                  <a:pt x="585" y="0"/>
                </a:lnTo>
                <a:lnTo>
                  <a:pt x="580" y="12"/>
                </a:lnTo>
                <a:lnTo>
                  <a:pt x="585" y="40"/>
                </a:lnTo>
                <a:lnTo>
                  <a:pt x="580" y="54"/>
                </a:lnTo>
                <a:lnTo>
                  <a:pt x="610" y="66"/>
                </a:lnTo>
                <a:close/>
                <a:moveTo>
                  <a:pt x="762" y="240"/>
                </a:moveTo>
                <a:lnTo>
                  <a:pt x="768" y="245"/>
                </a:lnTo>
                <a:lnTo>
                  <a:pt x="775" y="247"/>
                </a:lnTo>
                <a:lnTo>
                  <a:pt x="783" y="249"/>
                </a:lnTo>
                <a:lnTo>
                  <a:pt x="792" y="258"/>
                </a:lnTo>
                <a:lnTo>
                  <a:pt x="801" y="261"/>
                </a:lnTo>
                <a:lnTo>
                  <a:pt x="815" y="258"/>
                </a:lnTo>
                <a:lnTo>
                  <a:pt x="830" y="249"/>
                </a:lnTo>
                <a:lnTo>
                  <a:pt x="842" y="239"/>
                </a:lnTo>
                <a:lnTo>
                  <a:pt x="846" y="229"/>
                </a:lnTo>
                <a:lnTo>
                  <a:pt x="840" y="216"/>
                </a:lnTo>
                <a:lnTo>
                  <a:pt x="827" y="205"/>
                </a:lnTo>
                <a:lnTo>
                  <a:pt x="811" y="197"/>
                </a:lnTo>
                <a:lnTo>
                  <a:pt x="795" y="193"/>
                </a:lnTo>
                <a:lnTo>
                  <a:pt x="781" y="195"/>
                </a:lnTo>
                <a:lnTo>
                  <a:pt x="766" y="203"/>
                </a:lnTo>
                <a:lnTo>
                  <a:pt x="756" y="214"/>
                </a:lnTo>
                <a:lnTo>
                  <a:pt x="754" y="229"/>
                </a:lnTo>
                <a:lnTo>
                  <a:pt x="757" y="233"/>
                </a:lnTo>
                <a:lnTo>
                  <a:pt x="762" y="240"/>
                </a:lnTo>
                <a:close/>
                <a:moveTo>
                  <a:pt x="128" y="763"/>
                </a:moveTo>
                <a:lnTo>
                  <a:pt x="175" y="745"/>
                </a:lnTo>
                <a:lnTo>
                  <a:pt x="181" y="740"/>
                </a:lnTo>
                <a:lnTo>
                  <a:pt x="181" y="683"/>
                </a:lnTo>
                <a:lnTo>
                  <a:pt x="184" y="658"/>
                </a:lnTo>
                <a:lnTo>
                  <a:pt x="182" y="644"/>
                </a:lnTo>
                <a:lnTo>
                  <a:pt x="174" y="637"/>
                </a:lnTo>
                <a:lnTo>
                  <a:pt x="168" y="634"/>
                </a:lnTo>
                <a:lnTo>
                  <a:pt x="144" y="610"/>
                </a:lnTo>
                <a:lnTo>
                  <a:pt x="137" y="605"/>
                </a:lnTo>
                <a:lnTo>
                  <a:pt x="132" y="605"/>
                </a:lnTo>
                <a:lnTo>
                  <a:pt x="117" y="610"/>
                </a:lnTo>
                <a:lnTo>
                  <a:pt x="86" y="617"/>
                </a:lnTo>
                <a:lnTo>
                  <a:pt x="61" y="630"/>
                </a:lnTo>
                <a:lnTo>
                  <a:pt x="2" y="629"/>
                </a:lnTo>
                <a:lnTo>
                  <a:pt x="0" y="636"/>
                </a:lnTo>
                <a:lnTo>
                  <a:pt x="9" y="662"/>
                </a:lnTo>
                <a:lnTo>
                  <a:pt x="13" y="693"/>
                </a:lnTo>
                <a:lnTo>
                  <a:pt x="19" y="708"/>
                </a:lnTo>
                <a:lnTo>
                  <a:pt x="27" y="722"/>
                </a:lnTo>
                <a:lnTo>
                  <a:pt x="39" y="734"/>
                </a:lnTo>
                <a:lnTo>
                  <a:pt x="40" y="736"/>
                </a:lnTo>
                <a:lnTo>
                  <a:pt x="40" y="738"/>
                </a:lnTo>
                <a:lnTo>
                  <a:pt x="40" y="740"/>
                </a:lnTo>
                <a:lnTo>
                  <a:pt x="44" y="742"/>
                </a:lnTo>
                <a:lnTo>
                  <a:pt x="47" y="744"/>
                </a:lnTo>
                <a:lnTo>
                  <a:pt x="53" y="742"/>
                </a:lnTo>
                <a:lnTo>
                  <a:pt x="57" y="742"/>
                </a:lnTo>
                <a:lnTo>
                  <a:pt x="77" y="751"/>
                </a:lnTo>
                <a:lnTo>
                  <a:pt x="89" y="754"/>
                </a:lnTo>
                <a:lnTo>
                  <a:pt x="103" y="764"/>
                </a:lnTo>
                <a:lnTo>
                  <a:pt x="110" y="766"/>
                </a:lnTo>
                <a:lnTo>
                  <a:pt x="116" y="765"/>
                </a:lnTo>
                <a:lnTo>
                  <a:pt x="128" y="763"/>
                </a:lnTo>
                <a:close/>
                <a:moveTo>
                  <a:pt x="1364" y="1341"/>
                </a:moveTo>
                <a:lnTo>
                  <a:pt x="1346" y="1335"/>
                </a:lnTo>
                <a:lnTo>
                  <a:pt x="1337" y="1336"/>
                </a:lnTo>
                <a:lnTo>
                  <a:pt x="1306" y="1337"/>
                </a:lnTo>
                <a:lnTo>
                  <a:pt x="1296" y="1335"/>
                </a:lnTo>
                <a:lnTo>
                  <a:pt x="1282" y="1348"/>
                </a:lnTo>
                <a:lnTo>
                  <a:pt x="1336" y="1373"/>
                </a:lnTo>
                <a:lnTo>
                  <a:pt x="1358" y="1376"/>
                </a:lnTo>
                <a:lnTo>
                  <a:pt x="1378" y="1370"/>
                </a:lnTo>
                <a:lnTo>
                  <a:pt x="1377" y="1355"/>
                </a:lnTo>
                <a:lnTo>
                  <a:pt x="1364" y="1341"/>
                </a:lnTo>
                <a:close/>
                <a:moveTo>
                  <a:pt x="983" y="798"/>
                </a:moveTo>
                <a:lnTo>
                  <a:pt x="970" y="794"/>
                </a:lnTo>
                <a:lnTo>
                  <a:pt x="963" y="793"/>
                </a:lnTo>
                <a:lnTo>
                  <a:pt x="958" y="791"/>
                </a:lnTo>
                <a:lnTo>
                  <a:pt x="958" y="785"/>
                </a:lnTo>
                <a:lnTo>
                  <a:pt x="958" y="777"/>
                </a:lnTo>
                <a:lnTo>
                  <a:pt x="957" y="771"/>
                </a:lnTo>
                <a:lnTo>
                  <a:pt x="954" y="767"/>
                </a:lnTo>
                <a:lnTo>
                  <a:pt x="950" y="764"/>
                </a:lnTo>
                <a:lnTo>
                  <a:pt x="946" y="762"/>
                </a:lnTo>
                <a:lnTo>
                  <a:pt x="943" y="761"/>
                </a:lnTo>
                <a:lnTo>
                  <a:pt x="928" y="768"/>
                </a:lnTo>
                <a:lnTo>
                  <a:pt x="865" y="775"/>
                </a:lnTo>
                <a:lnTo>
                  <a:pt x="860" y="777"/>
                </a:lnTo>
                <a:lnTo>
                  <a:pt x="853" y="783"/>
                </a:lnTo>
                <a:lnTo>
                  <a:pt x="846" y="784"/>
                </a:lnTo>
                <a:lnTo>
                  <a:pt x="841" y="784"/>
                </a:lnTo>
                <a:lnTo>
                  <a:pt x="826" y="779"/>
                </a:lnTo>
                <a:lnTo>
                  <a:pt x="818" y="779"/>
                </a:lnTo>
                <a:lnTo>
                  <a:pt x="811" y="781"/>
                </a:lnTo>
                <a:lnTo>
                  <a:pt x="792" y="789"/>
                </a:lnTo>
                <a:lnTo>
                  <a:pt x="786" y="793"/>
                </a:lnTo>
                <a:lnTo>
                  <a:pt x="776" y="805"/>
                </a:lnTo>
                <a:lnTo>
                  <a:pt x="766" y="819"/>
                </a:lnTo>
                <a:lnTo>
                  <a:pt x="759" y="836"/>
                </a:lnTo>
                <a:lnTo>
                  <a:pt x="754" y="853"/>
                </a:lnTo>
                <a:lnTo>
                  <a:pt x="753" y="885"/>
                </a:lnTo>
                <a:lnTo>
                  <a:pt x="754" y="894"/>
                </a:lnTo>
                <a:lnTo>
                  <a:pt x="762" y="901"/>
                </a:lnTo>
                <a:lnTo>
                  <a:pt x="774" y="906"/>
                </a:lnTo>
                <a:lnTo>
                  <a:pt x="786" y="909"/>
                </a:lnTo>
                <a:lnTo>
                  <a:pt x="795" y="908"/>
                </a:lnTo>
                <a:lnTo>
                  <a:pt x="802" y="915"/>
                </a:lnTo>
                <a:lnTo>
                  <a:pt x="816" y="935"/>
                </a:lnTo>
                <a:lnTo>
                  <a:pt x="820" y="940"/>
                </a:lnTo>
                <a:lnTo>
                  <a:pt x="825" y="942"/>
                </a:lnTo>
                <a:lnTo>
                  <a:pt x="828" y="945"/>
                </a:lnTo>
                <a:lnTo>
                  <a:pt x="832" y="948"/>
                </a:lnTo>
                <a:lnTo>
                  <a:pt x="846" y="950"/>
                </a:lnTo>
                <a:lnTo>
                  <a:pt x="869" y="959"/>
                </a:lnTo>
                <a:lnTo>
                  <a:pt x="882" y="959"/>
                </a:lnTo>
                <a:lnTo>
                  <a:pt x="893" y="958"/>
                </a:lnTo>
                <a:lnTo>
                  <a:pt x="903" y="950"/>
                </a:lnTo>
                <a:lnTo>
                  <a:pt x="906" y="937"/>
                </a:lnTo>
                <a:lnTo>
                  <a:pt x="909" y="935"/>
                </a:lnTo>
                <a:lnTo>
                  <a:pt x="942" y="936"/>
                </a:lnTo>
                <a:lnTo>
                  <a:pt x="945" y="935"/>
                </a:lnTo>
                <a:lnTo>
                  <a:pt x="951" y="931"/>
                </a:lnTo>
                <a:lnTo>
                  <a:pt x="960" y="921"/>
                </a:lnTo>
                <a:lnTo>
                  <a:pt x="967" y="908"/>
                </a:lnTo>
                <a:lnTo>
                  <a:pt x="975" y="898"/>
                </a:lnTo>
                <a:lnTo>
                  <a:pt x="986" y="894"/>
                </a:lnTo>
                <a:lnTo>
                  <a:pt x="986" y="890"/>
                </a:lnTo>
                <a:lnTo>
                  <a:pt x="991" y="876"/>
                </a:lnTo>
                <a:lnTo>
                  <a:pt x="993" y="874"/>
                </a:lnTo>
                <a:lnTo>
                  <a:pt x="993" y="866"/>
                </a:lnTo>
                <a:lnTo>
                  <a:pt x="988" y="856"/>
                </a:lnTo>
                <a:lnTo>
                  <a:pt x="988" y="849"/>
                </a:lnTo>
                <a:lnTo>
                  <a:pt x="997" y="820"/>
                </a:lnTo>
                <a:lnTo>
                  <a:pt x="998" y="804"/>
                </a:lnTo>
                <a:lnTo>
                  <a:pt x="990" y="798"/>
                </a:lnTo>
                <a:lnTo>
                  <a:pt x="983" y="798"/>
                </a:lnTo>
                <a:close/>
                <a:moveTo>
                  <a:pt x="869" y="1281"/>
                </a:moveTo>
                <a:lnTo>
                  <a:pt x="866" y="1279"/>
                </a:lnTo>
                <a:lnTo>
                  <a:pt x="865" y="1278"/>
                </a:lnTo>
                <a:lnTo>
                  <a:pt x="857" y="1269"/>
                </a:lnTo>
                <a:lnTo>
                  <a:pt x="841" y="1261"/>
                </a:lnTo>
                <a:lnTo>
                  <a:pt x="822" y="1258"/>
                </a:lnTo>
                <a:lnTo>
                  <a:pt x="809" y="1261"/>
                </a:lnTo>
                <a:lnTo>
                  <a:pt x="803" y="1252"/>
                </a:lnTo>
                <a:lnTo>
                  <a:pt x="795" y="1256"/>
                </a:lnTo>
                <a:lnTo>
                  <a:pt x="789" y="1267"/>
                </a:lnTo>
                <a:lnTo>
                  <a:pt x="785" y="1286"/>
                </a:lnTo>
                <a:lnTo>
                  <a:pt x="780" y="1296"/>
                </a:lnTo>
                <a:lnTo>
                  <a:pt x="775" y="1305"/>
                </a:lnTo>
                <a:lnTo>
                  <a:pt x="768" y="1312"/>
                </a:lnTo>
                <a:lnTo>
                  <a:pt x="782" y="1320"/>
                </a:lnTo>
                <a:lnTo>
                  <a:pt x="791" y="1329"/>
                </a:lnTo>
                <a:lnTo>
                  <a:pt x="801" y="1336"/>
                </a:lnTo>
                <a:lnTo>
                  <a:pt x="826" y="1339"/>
                </a:lnTo>
                <a:lnTo>
                  <a:pt x="830" y="1338"/>
                </a:lnTo>
                <a:lnTo>
                  <a:pt x="852" y="1325"/>
                </a:lnTo>
                <a:lnTo>
                  <a:pt x="855" y="1321"/>
                </a:lnTo>
                <a:lnTo>
                  <a:pt x="856" y="1318"/>
                </a:lnTo>
                <a:lnTo>
                  <a:pt x="855" y="1310"/>
                </a:lnTo>
                <a:lnTo>
                  <a:pt x="855" y="1307"/>
                </a:lnTo>
                <a:lnTo>
                  <a:pt x="858" y="1306"/>
                </a:lnTo>
                <a:lnTo>
                  <a:pt x="868" y="1303"/>
                </a:lnTo>
                <a:lnTo>
                  <a:pt x="869" y="1300"/>
                </a:lnTo>
                <a:lnTo>
                  <a:pt x="870" y="1298"/>
                </a:lnTo>
                <a:lnTo>
                  <a:pt x="871" y="1296"/>
                </a:lnTo>
                <a:lnTo>
                  <a:pt x="873" y="1294"/>
                </a:lnTo>
                <a:lnTo>
                  <a:pt x="873" y="1290"/>
                </a:lnTo>
                <a:lnTo>
                  <a:pt x="872" y="1284"/>
                </a:lnTo>
                <a:lnTo>
                  <a:pt x="869" y="1281"/>
                </a:lnTo>
                <a:close/>
                <a:moveTo>
                  <a:pt x="586" y="930"/>
                </a:moveTo>
                <a:lnTo>
                  <a:pt x="582" y="930"/>
                </a:lnTo>
                <a:lnTo>
                  <a:pt x="575" y="927"/>
                </a:lnTo>
                <a:lnTo>
                  <a:pt x="553" y="903"/>
                </a:lnTo>
                <a:lnTo>
                  <a:pt x="543" y="900"/>
                </a:lnTo>
                <a:lnTo>
                  <a:pt x="548" y="890"/>
                </a:lnTo>
                <a:lnTo>
                  <a:pt x="544" y="882"/>
                </a:lnTo>
                <a:lnTo>
                  <a:pt x="538" y="876"/>
                </a:lnTo>
                <a:lnTo>
                  <a:pt x="530" y="872"/>
                </a:lnTo>
                <a:lnTo>
                  <a:pt x="520" y="871"/>
                </a:lnTo>
                <a:lnTo>
                  <a:pt x="521" y="856"/>
                </a:lnTo>
                <a:lnTo>
                  <a:pt x="507" y="849"/>
                </a:lnTo>
                <a:lnTo>
                  <a:pt x="479" y="844"/>
                </a:lnTo>
                <a:lnTo>
                  <a:pt x="476" y="833"/>
                </a:lnTo>
                <a:lnTo>
                  <a:pt x="476" y="822"/>
                </a:lnTo>
                <a:lnTo>
                  <a:pt x="471" y="815"/>
                </a:lnTo>
                <a:lnTo>
                  <a:pt x="456" y="825"/>
                </a:lnTo>
                <a:lnTo>
                  <a:pt x="462" y="815"/>
                </a:lnTo>
                <a:lnTo>
                  <a:pt x="480" y="799"/>
                </a:lnTo>
                <a:lnTo>
                  <a:pt x="483" y="787"/>
                </a:lnTo>
                <a:lnTo>
                  <a:pt x="481" y="759"/>
                </a:lnTo>
                <a:lnTo>
                  <a:pt x="475" y="734"/>
                </a:lnTo>
                <a:lnTo>
                  <a:pt x="476" y="732"/>
                </a:lnTo>
                <a:lnTo>
                  <a:pt x="478" y="728"/>
                </a:lnTo>
                <a:lnTo>
                  <a:pt x="479" y="724"/>
                </a:lnTo>
                <a:lnTo>
                  <a:pt x="479" y="720"/>
                </a:lnTo>
                <a:lnTo>
                  <a:pt x="468" y="718"/>
                </a:lnTo>
                <a:lnTo>
                  <a:pt x="465" y="715"/>
                </a:lnTo>
                <a:lnTo>
                  <a:pt x="456" y="707"/>
                </a:lnTo>
                <a:lnTo>
                  <a:pt x="453" y="701"/>
                </a:lnTo>
                <a:lnTo>
                  <a:pt x="451" y="695"/>
                </a:lnTo>
                <a:lnTo>
                  <a:pt x="447" y="687"/>
                </a:lnTo>
                <a:lnTo>
                  <a:pt x="378" y="644"/>
                </a:lnTo>
                <a:lnTo>
                  <a:pt x="376" y="643"/>
                </a:lnTo>
                <a:lnTo>
                  <a:pt x="371" y="642"/>
                </a:lnTo>
                <a:lnTo>
                  <a:pt x="366" y="638"/>
                </a:lnTo>
                <a:lnTo>
                  <a:pt x="364" y="631"/>
                </a:lnTo>
                <a:lnTo>
                  <a:pt x="364" y="622"/>
                </a:lnTo>
                <a:lnTo>
                  <a:pt x="364" y="619"/>
                </a:lnTo>
                <a:lnTo>
                  <a:pt x="361" y="616"/>
                </a:lnTo>
                <a:lnTo>
                  <a:pt x="334" y="591"/>
                </a:lnTo>
                <a:lnTo>
                  <a:pt x="326" y="579"/>
                </a:lnTo>
                <a:lnTo>
                  <a:pt x="313" y="504"/>
                </a:lnTo>
                <a:lnTo>
                  <a:pt x="315" y="473"/>
                </a:lnTo>
                <a:lnTo>
                  <a:pt x="314" y="456"/>
                </a:lnTo>
                <a:lnTo>
                  <a:pt x="310" y="444"/>
                </a:lnTo>
                <a:lnTo>
                  <a:pt x="305" y="442"/>
                </a:lnTo>
                <a:lnTo>
                  <a:pt x="298" y="440"/>
                </a:lnTo>
                <a:lnTo>
                  <a:pt x="284" y="440"/>
                </a:lnTo>
                <a:lnTo>
                  <a:pt x="280" y="437"/>
                </a:lnTo>
                <a:lnTo>
                  <a:pt x="270" y="425"/>
                </a:lnTo>
                <a:lnTo>
                  <a:pt x="266" y="422"/>
                </a:lnTo>
                <a:lnTo>
                  <a:pt x="260" y="415"/>
                </a:lnTo>
                <a:lnTo>
                  <a:pt x="252" y="387"/>
                </a:lnTo>
                <a:lnTo>
                  <a:pt x="243" y="381"/>
                </a:lnTo>
                <a:lnTo>
                  <a:pt x="241" y="374"/>
                </a:lnTo>
                <a:lnTo>
                  <a:pt x="239" y="360"/>
                </a:lnTo>
                <a:lnTo>
                  <a:pt x="233" y="344"/>
                </a:lnTo>
                <a:lnTo>
                  <a:pt x="222" y="334"/>
                </a:lnTo>
                <a:lnTo>
                  <a:pt x="215" y="337"/>
                </a:lnTo>
                <a:lnTo>
                  <a:pt x="203" y="336"/>
                </a:lnTo>
                <a:lnTo>
                  <a:pt x="195" y="339"/>
                </a:lnTo>
                <a:lnTo>
                  <a:pt x="190" y="344"/>
                </a:lnTo>
                <a:lnTo>
                  <a:pt x="185" y="350"/>
                </a:lnTo>
                <a:lnTo>
                  <a:pt x="181" y="356"/>
                </a:lnTo>
                <a:lnTo>
                  <a:pt x="159" y="361"/>
                </a:lnTo>
                <a:lnTo>
                  <a:pt x="146" y="368"/>
                </a:lnTo>
                <a:lnTo>
                  <a:pt x="133" y="372"/>
                </a:lnTo>
                <a:lnTo>
                  <a:pt x="117" y="366"/>
                </a:lnTo>
                <a:lnTo>
                  <a:pt x="112" y="394"/>
                </a:lnTo>
                <a:lnTo>
                  <a:pt x="99" y="407"/>
                </a:lnTo>
                <a:lnTo>
                  <a:pt x="54" y="431"/>
                </a:lnTo>
                <a:lnTo>
                  <a:pt x="49" y="434"/>
                </a:lnTo>
                <a:lnTo>
                  <a:pt x="45" y="437"/>
                </a:lnTo>
                <a:lnTo>
                  <a:pt x="44" y="442"/>
                </a:lnTo>
                <a:lnTo>
                  <a:pt x="46" y="447"/>
                </a:lnTo>
                <a:lnTo>
                  <a:pt x="60" y="465"/>
                </a:lnTo>
                <a:lnTo>
                  <a:pt x="73" y="472"/>
                </a:lnTo>
                <a:lnTo>
                  <a:pt x="85" y="469"/>
                </a:lnTo>
                <a:lnTo>
                  <a:pt x="107" y="454"/>
                </a:lnTo>
                <a:lnTo>
                  <a:pt x="130" y="444"/>
                </a:lnTo>
                <a:lnTo>
                  <a:pt x="152" y="446"/>
                </a:lnTo>
                <a:lnTo>
                  <a:pt x="166" y="456"/>
                </a:lnTo>
                <a:lnTo>
                  <a:pt x="172" y="479"/>
                </a:lnTo>
                <a:lnTo>
                  <a:pt x="172" y="486"/>
                </a:lnTo>
                <a:lnTo>
                  <a:pt x="176" y="496"/>
                </a:lnTo>
                <a:lnTo>
                  <a:pt x="176" y="502"/>
                </a:lnTo>
                <a:lnTo>
                  <a:pt x="176" y="525"/>
                </a:lnTo>
                <a:lnTo>
                  <a:pt x="178" y="537"/>
                </a:lnTo>
                <a:lnTo>
                  <a:pt x="182" y="546"/>
                </a:lnTo>
                <a:lnTo>
                  <a:pt x="195" y="564"/>
                </a:lnTo>
                <a:lnTo>
                  <a:pt x="179" y="569"/>
                </a:lnTo>
                <a:lnTo>
                  <a:pt x="178" y="582"/>
                </a:lnTo>
                <a:lnTo>
                  <a:pt x="187" y="597"/>
                </a:lnTo>
                <a:lnTo>
                  <a:pt x="200" y="605"/>
                </a:lnTo>
                <a:lnTo>
                  <a:pt x="198" y="627"/>
                </a:lnTo>
                <a:lnTo>
                  <a:pt x="214" y="643"/>
                </a:lnTo>
                <a:lnTo>
                  <a:pt x="255" y="664"/>
                </a:lnTo>
                <a:lnTo>
                  <a:pt x="261" y="675"/>
                </a:lnTo>
                <a:lnTo>
                  <a:pt x="263" y="679"/>
                </a:lnTo>
                <a:lnTo>
                  <a:pt x="268" y="681"/>
                </a:lnTo>
                <a:lnTo>
                  <a:pt x="276" y="682"/>
                </a:lnTo>
                <a:lnTo>
                  <a:pt x="282" y="683"/>
                </a:lnTo>
                <a:lnTo>
                  <a:pt x="289" y="689"/>
                </a:lnTo>
                <a:lnTo>
                  <a:pt x="292" y="696"/>
                </a:lnTo>
                <a:lnTo>
                  <a:pt x="291" y="715"/>
                </a:lnTo>
                <a:lnTo>
                  <a:pt x="297" y="738"/>
                </a:lnTo>
                <a:lnTo>
                  <a:pt x="310" y="762"/>
                </a:lnTo>
                <a:lnTo>
                  <a:pt x="325" y="784"/>
                </a:lnTo>
                <a:lnTo>
                  <a:pt x="341" y="798"/>
                </a:lnTo>
                <a:lnTo>
                  <a:pt x="349" y="801"/>
                </a:lnTo>
                <a:lnTo>
                  <a:pt x="370" y="807"/>
                </a:lnTo>
                <a:lnTo>
                  <a:pt x="378" y="812"/>
                </a:lnTo>
                <a:lnTo>
                  <a:pt x="387" y="818"/>
                </a:lnTo>
                <a:lnTo>
                  <a:pt x="391" y="827"/>
                </a:lnTo>
                <a:lnTo>
                  <a:pt x="391" y="838"/>
                </a:lnTo>
                <a:lnTo>
                  <a:pt x="383" y="849"/>
                </a:lnTo>
                <a:lnTo>
                  <a:pt x="373" y="844"/>
                </a:lnTo>
                <a:lnTo>
                  <a:pt x="364" y="855"/>
                </a:lnTo>
                <a:lnTo>
                  <a:pt x="358" y="869"/>
                </a:lnTo>
                <a:lnTo>
                  <a:pt x="358" y="876"/>
                </a:lnTo>
                <a:lnTo>
                  <a:pt x="353" y="878"/>
                </a:lnTo>
                <a:lnTo>
                  <a:pt x="348" y="888"/>
                </a:lnTo>
                <a:lnTo>
                  <a:pt x="344" y="892"/>
                </a:lnTo>
                <a:lnTo>
                  <a:pt x="337" y="894"/>
                </a:lnTo>
                <a:lnTo>
                  <a:pt x="330" y="894"/>
                </a:lnTo>
                <a:lnTo>
                  <a:pt x="319" y="890"/>
                </a:lnTo>
                <a:lnTo>
                  <a:pt x="314" y="888"/>
                </a:lnTo>
                <a:lnTo>
                  <a:pt x="312" y="885"/>
                </a:lnTo>
                <a:lnTo>
                  <a:pt x="308" y="882"/>
                </a:lnTo>
                <a:lnTo>
                  <a:pt x="300" y="880"/>
                </a:lnTo>
                <a:lnTo>
                  <a:pt x="293" y="881"/>
                </a:lnTo>
                <a:lnTo>
                  <a:pt x="269" y="887"/>
                </a:lnTo>
                <a:lnTo>
                  <a:pt x="253" y="894"/>
                </a:lnTo>
                <a:lnTo>
                  <a:pt x="242" y="895"/>
                </a:lnTo>
                <a:lnTo>
                  <a:pt x="240" y="898"/>
                </a:lnTo>
                <a:lnTo>
                  <a:pt x="240" y="903"/>
                </a:lnTo>
                <a:lnTo>
                  <a:pt x="236" y="908"/>
                </a:lnTo>
                <a:lnTo>
                  <a:pt x="158" y="959"/>
                </a:lnTo>
                <a:lnTo>
                  <a:pt x="138" y="979"/>
                </a:lnTo>
                <a:lnTo>
                  <a:pt x="119" y="1007"/>
                </a:lnTo>
                <a:lnTo>
                  <a:pt x="113" y="1037"/>
                </a:lnTo>
                <a:lnTo>
                  <a:pt x="130" y="1064"/>
                </a:lnTo>
                <a:lnTo>
                  <a:pt x="138" y="1066"/>
                </a:lnTo>
                <a:lnTo>
                  <a:pt x="145" y="1066"/>
                </a:lnTo>
                <a:lnTo>
                  <a:pt x="151" y="1068"/>
                </a:lnTo>
                <a:lnTo>
                  <a:pt x="154" y="1075"/>
                </a:lnTo>
                <a:lnTo>
                  <a:pt x="154" y="1091"/>
                </a:lnTo>
                <a:lnTo>
                  <a:pt x="155" y="1098"/>
                </a:lnTo>
                <a:lnTo>
                  <a:pt x="158" y="1105"/>
                </a:lnTo>
                <a:lnTo>
                  <a:pt x="168" y="1115"/>
                </a:lnTo>
                <a:lnTo>
                  <a:pt x="182" y="1120"/>
                </a:lnTo>
                <a:lnTo>
                  <a:pt x="257" y="1118"/>
                </a:lnTo>
                <a:lnTo>
                  <a:pt x="318" y="1127"/>
                </a:lnTo>
                <a:lnTo>
                  <a:pt x="327" y="1124"/>
                </a:lnTo>
                <a:lnTo>
                  <a:pt x="343" y="1127"/>
                </a:lnTo>
                <a:lnTo>
                  <a:pt x="419" y="1102"/>
                </a:lnTo>
                <a:lnTo>
                  <a:pt x="441" y="1086"/>
                </a:lnTo>
                <a:lnTo>
                  <a:pt x="454" y="1083"/>
                </a:lnTo>
                <a:lnTo>
                  <a:pt x="475" y="1081"/>
                </a:lnTo>
                <a:lnTo>
                  <a:pt x="486" y="1082"/>
                </a:lnTo>
                <a:lnTo>
                  <a:pt x="497" y="1087"/>
                </a:lnTo>
                <a:lnTo>
                  <a:pt x="505" y="1076"/>
                </a:lnTo>
                <a:lnTo>
                  <a:pt x="522" y="1057"/>
                </a:lnTo>
                <a:lnTo>
                  <a:pt x="530" y="1046"/>
                </a:lnTo>
                <a:lnTo>
                  <a:pt x="544" y="1050"/>
                </a:lnTo>
                <a:lnTo>
                  <a:pt x="545" y="1038"/>
                </a:lnTo>
                <a:lnTo>
                  <a:pt x="543" y="1022"/>
                </a:lnTo>
                <a:lnTo>
                  <a:pt x="564" y="956"/>
                </a:lnTo>
                <a:lnTo>
                  <a:pt x="570" y="953"/>
                </a:lnTo>
                <a:lnTo>
                  <a:pt x="586" y="946"/>
                </a:lnTo>
                <a:lnTo>
                  <a:pt x="590" y="942"/>
                </a:lnTo>
                <a:lnTo>
                  <a:pt x="588" y="932"/>
                </a:lnTo>
                <a:lnTo>
                  <a:pt x="586" y="930"/>
                </a:lnTo>
                <a:close/>
                <a:moveTo>
                  <a:pt x="744" y="625"/>
                </a:moveTo>
                <a:lnTo>
                  <a:pt x="747" y="624"/>
                </a:lnTo>
                <a:lnTo>
                  <a:pt x="750" y="623"/>
                </a:lnTo>
                <a:lnTo>
                  <a:pt x="730" y="611"/>
                </a:lnTo>
                <a:lnTo>
                  <a:pt x="696" y="572"/>
                </a:lnTo>
                <a:lnTo>
                  <a:pt x="674" y="564"/>
                </a:lnTo>
                <a:lnTo>
                  <a:pt x="658" y="561"/>
                </a:lnTo>
                <a:lnTo>
                  <a:pt x="612" y="545"/>
                </a:lnTo>
                <a:lnTo>
                  <a:pt x="598" y="537"/>
                </a:lnTo>
                <a:lnTo>
                  <a:pt x="596" y="540"/>
                </a:lnTo>
                <a:lnTo>
                  <a:pt x="594" y="540"/>
                </a:lnTo>
                <a:lnTo>
                  <a:pt x="590" y="537"/>
                </a:lnTo>
                <a:lnTo>
                  <a:pt x="577" y="539"/>
                </a:lnTo>
                <a:lnTo>
                  <a:pt x="566" y="547"/>
                </a:lnTo>
                <a:lnTo>
                  <a:pt x="560" y="559"/>
                </a:lnTo>
                <a:lnTo>
                  <a:pt x="564" y="571"/>
                </a:lnTo>
                <a:lnTo>
                  <a:pt x="562" y="580"/>
                </a:lnTo>
                <a:lnTo>
                  <a:pt x="534" y="619"/>
                </a:lnTo>
                <a:lnTo>
                  <a:pt x="551" y="622"/>
                </a:lnTo>
                <a:lnTo>
                  <a:pt x="558" y="636"/>
                </a:lnTo>
                <a:lnTo>
                  <a:pt x="562" y="654"/>
                </a:lnTo>
                <a:lnTo>
                  <a:pt x="571" y="664"/>
                </a:lnTo>
                <a:lnTo>
                  <a:pt x="586" y="659"/>
                </a:lnTo>
                <a:lnTo>
                  <a:pt x="599" y="663"/>
                </a:lnTo>
                <a:lnTo>
                  <a:pt x="611" y="670"/>
                </a:lnTo>
                <a:lnTo>
                  <a:pt x="623" y="674"/>
                </a:lnTo>
                <a:lnTo>
                  <a:pt x="671" y="674"/>
                </a:lnTo>
                <a:lnTo>
                  <a:pt x="699" y="683"/>
                </a:lnTo>
                <a:lnTo>
                  <a:pt x="714" y="685"/>
                </a:lnTo>
                <a:lnTo>
                  <a:pt x="726" y="681"/>
                </a:lnTo>
                <a:lnTo>
                  <a:pt x="731" y="667"/>
                </a:lnTo>
                <a:lnTo>
                  <a:pt x="746" y="646"/>
                </a:lnTo>
                <a:lnTo>
                  <a:pt x="750" y="633"/>
                </a:lnTo>
                <a:lnTo>
                  <a:pt x="741" y="629"/>
                </a:lnTo>
                <a:lnTo>
                  <a:pt x="744" y="62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793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7" name="Freeform 21">
            <a:extLst>
              <a:ext uri="{FF2B5EF4-FFF2-40B4-BE49-F238E27FC236}">
                <a16:creationId xmlns:a16="http://schemas.microsoft.com/office/drawing/2014/main" id="{6402E4FF-C11F-531C-F2F5-8B3097C53B4F}"/>
              </a:ext>
            </a:extLst>
          </p:cNvPr>
          <p:cNvSpPr>
            <a:spLocks noEditPoints="1"/>
          </p:cNvSpPr>
          <p:nvPr/>
        </p:nvSpPr>
        <p:spPr bwMode="auto">
          <a:xfrm>
            <a:off x="4814060" y="251593"/>
            <a:ext cx="1752324" cy="1461063"/>
          </a:xfrm>
          <a:custGeom>
            <a:avLst/>
            <a:gdLst>
              <a:gd name="T0" fmla="*/ 812 w 1127"/>
              <a:gd name="T1" fmla="*/ 81 h 993"/>
              <a:gd name="T2" fmla="*/ 747 w 1127"/>
              <a:gd name="T3" fmla="*/ 111 h 993"/>
              <a:gd name="T4" fmla="*/ 1092 w 1127"/>
              <a:gd name="T5" fmla="*/ 500 h 993"/>
              <a:gd name="T6" fmla="*/ 1094 w 1127"/>
              <a:gd name="T7" fmla="*/ 442 h 993"/>
              <a:gd name="T8" fmla="*/ 1115 w 1127"/>
              <a:gd name="T9" fmla="*/ 377 h 993"/>
              <a:gd name="T10" fmla="*/ 1061 w 1127"/>
              <a:gd name="T11" fmla="*/ 339 h 993"/>
              <a:gd name="T12" fmla="*/ 1080 w 1127"/>
              <a:gd name="T13" fmla="*/ 203 h 993"/>
              <a:gd name="T14" fmla="*/ 1049 w 1127"/>
              <a:gd name="T15" fmla="*/ 154 h 993"/>
              <a:gd name="T16" fmla="*/ 1002 w 1127"/>
              <a:gd name="T17" fmla="*/ 113 h 993"/>
              <a:gd name="T18" fmla="*/ 929 w 1127"/>
              <a:gd name="T19" fmla="*/ 63 h 993"/>
              <a:gd name="T20" fmla="*/ 858 w 1127"/>
              <a:gd name="T21" fmla="*/ 27 h 993"/>
              <a:gd name="T22" fmla="*/ 850 w 1127"/>
              <a:gd name="T23" fmla="*/ 92 h 993"/>
              <a:gd name="T24" fmla="*/ 814 w 1127"/>
              <a:gd name="T25" fmla="*/ 122 h 993"/>
              <a:gd name="T26" fmla="*/ 782 w 1127"/>
              <a:gd name="T27" fmla="*/ 139 h 993"/>
              <a:gd name="T28" fmla="*/ 746 w 1127"/>
              <a:gd name="T29" fmla="*/ 192 h 993"/>
              <a:gd name="T30" fmla="*/ 631 w 1127"/>
              <a:gd name="T31" fmla="*/ 224 h 993"/>
              <a:gd name="T32" fmla="*/ 525 w 1127"/>
              <a:gd name="T33" fmla="*/ 234 h 993"/>
              <a:gd name="T34" fmla="*/ 359 w 1127"/>
              <a:gd name="T35" fmla="*/ 302 h 993"/>
              <a:gd name="T36" fmla="*/ 307 w 1127"/>
              <a:gd name="T37" fmla="*/ 349 h 993"/>
              <a:gd name="T38" fmla="*/ 308 w 1127"/>
              <a:gd name="T39" fmla="*/ 364 h 993"/>
              <a:gd name="T40" fmla="*/ 286 w 1127"/>
              <a:gd name="T41" fmla="*/ 301 h 993"/>
              <a:gd name="T42" fmla="*/ 186 w 1127"/>
              <a:gd name="T43" fmla="*/ 362 h 993"/>
              <a:gd name="T44" fmla="*/ 95 w 1127"/>
              <a:gd name="T45" fmla="*/ 401 h 993"/>
              <a:gd name="T46" fmla="*/ 0 w 1127"/>
              <a:gd name="T47" fmla="*/ 466 h 993"/>
              <a:gd name="T48" fmla="*/ 42 w 1127"/>
              <a:gd name="T49" fmla="*/ 534 h 993"/>
              <a:gd name="T50" fmla="*/ 48 w 1127"/>
              <a:gd name="T51" fmla="*/ 617 h 993"/>
              <a:gd name="T52" fmla="*/ 76 w 1127"/>
              <a:gd name="T53" fmla="*/ 707 h 993"/>
              <a:gd name="T54" fmla="*/ 102 w 1127"/>
              <a:gd name="T55" fmla="*/ 784 h 993"/>
              <a:gd name="T56" fmla="*/ 128 w 1127"/>
              <a:gd name="T57" fmla="*/ 779 h 993"/>
              <a:gd name="T58" fmla="*/ 144 w 1127"/>
              <a:gd name="T59" fmla="*/ 750 h 993"/>
              <a:gd name="T60" fmla="*/ 197 w 1127"/>
              <a:gd name="T61" fmla="*/ 744 h 993"/>
              <a:gd name="T62" fmla="*/ 245 w 1127"/>
              <a:gd name="T63" fmla="*/ 710 h 993"/>
              <a:gd name="T64" fmla="*/ 275 w 1127"/>
              <a:gd name="T65" fmla="*/ 725 h 993"/>
              <a:gd name="T66" fmla="*/ 266 w 1127"/>
              <a:gd name="T67" fmla="*/ 743 h 993"/>
              <a:gd name="T68" fmla="*/ 267 w 1127"/>
              <a:gd name="T69" fmla="*/ 759 h 993"/>
              <a:gd name="T70" fmla="*/ 304 w 1127"/>
              <a:gd name="T71" fmla="*/ 790 h 993"/>
              <a:gd name="T72" fmla="*/ 271 w 1127"/>
              <a:gd name="T73" fmla="*/ 831 h 993"/>
              <a:gd name="T74" fmla="*/ 291 w 1127"/>
              <a:gd name="T75" fmla="*/ 846 h 993"/>
              <a:gd name="T76" fmla="*/ 304 w 1127"/>
              <a:gd name="T77" fmla="*/ 858 h 993"/>
              <a:gd name="T78" fmla="*/ 321 w 1127"/>
              <a:gd name="T79" fmla="*/ 857 h 993"/>
              <a:gd name="T80" fmla="*/ 358 w 1127"/>
              <a:gd name="T81" fmla="*/ 881 h 993"/>
              <a:gd name="T82" fmla="*/ 341 w 1127"/>
              <a:gd name="T83" fmla="*/ 909 h 993"/>
              <a:gd name="T84" fmla="*/ 334 w 1127"/>
              <a:gd name="T85" fmla="*/ 922 h 993"/>
              <a:gd name="T86" fmla="*/ 328 w 1127"/>
              <a:gd name="T87" fmla="*/ 935 h 993"/>
              <a:gd name="T88" fmla="*/ 371 w 1127"/>
              <a:gd name="T89" fmla="*/ 973 h 993"/>
              <a:gd name="T90" fmla="*/ 453 w 1127"/>
              <a:gd name="T91" fmla="*/ 991 h 993"/>
              <a:gd name="T92" fmla="*/ 451 w 1127"/>
              <a:gd name="T93" fmla="*/ 980 h 993"/>
              <a:gd name="T94" fmla="*/ 458 w 1127"/>
              <a:gd name="T95" fmla="*/ 953 h 993"/>
              <a:gd name="T96" fmla="*/ 528 w 1127"/>
              <a:gd name="T97" fmla="*/ 860 h 993"/>
              <a:gd name="T98" fmla="*/ 508 w 1127"/>
              <a:gd name="T99" fmla="*/ 814 h 993"/>
              <a:gd name="T100" fmla="*/ 553 w 1127"/>
              <a:gd name="T101" fmla="*/ 772 h 993"/>
              <a:gd name="T102" fmla="*/ 627 w 1127"/>
              <a:gd name="T103" fmla="*/ 749 h 993"/>
              <a:gd name="T104" fmla="*/ 750 w 1127"/>
              <a:gd name="T105" fmla="*/ 781 h 993"/>
              <a:gd name="T106" fmla="*/ 801 w 1127"/>
              <a:gd name="T107" fmla="*/ 714 h 993"/>
              <a:gd name="T108" fmla="*/ 843 w 1127"/>
              <a:gd name="T109" fmla="*/ 675 h 993"/>
              <a:gd name="T110" fmla="*/ 929 w 1127"/>
              <a:gd name="T111" fmla="*/ 691 h 993"/>
              <a:gd name="T112" fmla="*/ 969 w 1127"/>
              <a:gd name="T113" fmla="*/ 709 h 993"/>
              <a:gd name="T114" fmla="*/ 1072 w 1127"/>
              <a:gd name="T115" fmla="*/ 600 h 993"/>
              <a:gd name="T116" fmla="*/ 1123 w 1127"/>
              <a:gd name="T117" fmla="*/ 59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27" h="993">
                <a:moveTo>
                  <a:pt x="757" y="122"/>
                </a:moveTo>
                <a:lnTo>
                  <a:pt x="771" y="132"/>
                </a:lnTo>
                <a:lnTo>
                  <a:pt x="777" y="127"/>
                </a:lnTo>
                <a:lnTo>
                  <a:pt x="784" y="119"/>
                </a:lnTo>
                <a:lnTo>
                  <a:pt x="800" y="127"/>
                </a:lnTo>
                <a:lnTo>
                  <a:pt x="809" y="109"/>
                </a:lnTo>
                <a:lnTo>
                  <a:pt x="812" y="81"/>
                </a:lnTo>
                <a:lnTo>
                  <a:pt x="812" y="59"/>
                </a:lnTo>
                <a:lnTo>
                  <a:pt x="809" y="51"/>
                </a:lnTo>
                <a:lnTo>
                  <a:pt x="808" y="46"/>
                </a:lnTo>
                <a:lnTo>
                  <a:pt x="808" y="40"/>
                </a:lnTo>
                <a:lnTo>
                  <a:pt x="755" y="84"/>
                </a:lnTo>
                <a:lnTo>
                  <a:pt x="745" y="98"/>
                </a:lnTo>
                <a:lnTo>
                  <a:pt x="747" y="111"/>
                </a:lnTo>
                <a:lnTo>
                  <a:pt x="757" y="122"/>
                </a:lnTo>
                <a:close/>
                <a:moveTo>
                  <a:pt x="1127" y="568"/>
                </a:moveTo>
                <a:lnTo>
                  <a:pt x="1122" y="557"/>
                </a:lnTo>
                <a:lnTo>
                  <a:pt x="1103" y="535"/>
                </a:lnTo>
                <a:lnTo>
                  <a:pt x="1100" y="529"/>
                </a:lnTo>
                <a:lnTo>
                  <a:pt x="1097" y="521"/>
                </a:lnTo>
                <a:lnTo>
                  <a:pt x="1092" y="500"/>
                </a:lnTo>
                <a:lnTo>
                  <a:pt x="1089" y="494"/>
                </a:lnTo>
                <a:lnTo>
                  <a:pt x="1069" y="458"/>
                </a:lnTo>
                <a:lnTo>
                  <a:pt x="1068" y="452"/>
                </a:lnTo>
                <a:lnTo>
                  <a:pt x="1069" y="447"/>
                </a:lnTo>
                <a:lnTo>
                  <a:pt x="1075" y="444"/>
                </a:lnTo>
                <a:lnTo>
                  <a:pt x="1082" y="442"/>
                </a:lnTo>
                <a:lnTo>
                  <a:pt x="1094" y="442"/>
                </a:lnTo>
                <a:lnTo>
                  <a:pt x="1099" y="440"/>
                </a:lnTo>
                <a:lnTo>
                  <a:pt x="1103" y="438"/>
                </a:lnTo>
                <a:lnTo>
                  <a:pt x="1110" y="432"/>
                </a:lnTo>
                <a:lnTo>
                  <a:pt x="1113" y="424"/>
                </a:lnTo>
                <a:lnTo>
                  <a:pt x="1115" y="414"/>
                </a:lnTo>
                <a:lnTo>
                  <a:pt x="1114" y="402"/>
                </a:lnTo>
                <a:lnTo>
                  <a:pt x="1115" y="377"/>
                </a:lnTo>
                <a:lnTo>
                  <a:pt x="1112" y="375"/>
                </a:lnTo>
                <a:lnTo>
                  <a:pt x="1101" y="367"/>
                </a:lnTo>
                <a:lnTo>
                  <a:pt x="1088" y="354"/>
                </a:lnTo>
                <a:lnTo>
                  <a:pt x="1079" y="349"/>
                </a:lnTo>
                <a:lnTo>
                  <a:pt x="1071" y="349"/>
                </a:lnTo>
                <a:lnTo>
                  <a:pt x="1063" y="341"/>
                </a:lnTo>
                <a:lnTo>
                  <a:pt x="1061" y="339"/>
                </a:lnTo>
                <a:lnTo>
                  <a:pt x="1055" y="327"/>
                </a:lnTo>
                <a:lnTo>
                  <a:pt x="1054" y="315"/>
                </a:lnTo>
                <a:lnTo>
                  <a:pt x="1056" y="276"/>
                </a:lnTo>
                <a:lnTo>
                  <a:pt x="1060" y="263"/>
                </a:lnTo>
                <a:lnTo>
                  <a:pt x="1076" y="238"/>
                </a:lnTo>
                <a:lnTo>
                  <a:pt x="1081" y="223"/>
                </a:lnTo>
                <a:lnTo>
                  <a:pt x="1080" y="203"/>
                </a:lnTo>
                <a:lnTo>
                  <a:pt x="1079" y="191"/>
                </a:lnTo>
                <a:lnTo>
                  <a:pt x="1079" y="181"/>
                </a:lnTo>
                <a:lnTo>
                  <a:pt x="1080" y="177"/>
                </a:lnTo>
                <a:lnTo>
                  <a:pt x="1090" y="166"/>
                </a:lnTo>
                <a:lnTo>
                  <a:pt x="1092" y="166"/>
                </a:lnTo>
                <a:lnTo>
                  <a:pt x="1086" y="161"/>
                </a:lnTo>
                <a:lnTo>
                  <a:pt x="1049" y="154"/>
                </a:lnTo>
                <a:lnTo>
                  <a:pt x="1040" y="154"/>
                </a:lnTo>
                <a:lnTo>
                  <a:pt x="1030" y="159"/>
                </a:lnTo>
                <a:lnTo>
                  <a:pt x="1025" y="149"/>
                </a:lnTo>
                <a:lnTo>
                  <a:pt x="1011" y="134"/>
                </a:lnTo>
                <a:lnTo>
                  <a:pt x="1009" y="127"/>
                </a:lnTo>
                <a:lnTo>
                  <a:pt x="1008" y="115"/>
                </a:lnTo>
                <a:lnTo>
                  <a:pt x="1002" y="113"/>
                </a:lnTo>
                <a:lnTo>
                  <a:pt x="992" y="116"/>
                </a:lnTo>
                <a:lnTo>
                  <a:pt x="982" y="117"/>
                </a:lnTo>
                <a:lnTo>
                  <a:pt x="966" y="113"/>
                </a:lnTo>
                <a:lnTo>
                  <a:pt x="953" y="102"/>
                </a:lnTo>
                <a:lnTo>
                  <a:pt x="943" y="89"/>
                </a:lnTo>
                <a:lnTo>
                  <a:pt x="937" y="74"/>
                </a:lnTo>
                <a:lnTo>
                  <a:pt x="929" y="63"/>
                </a:lnTo>
                <a:lnTo>
                  <a:pt x="910" y="46"/>
                </a:lnTo>
                <a:lnTo>
                  <a:pt x="895" y="27"/>
                </a:lnTo>
                <a:lnTo>
                  <a:pt x="856" y="0"/>
                </a:lnTo>
                <a:lnTo>
                  <a:pt x="856" y="0"/>
                </a:lnTo>
                <a:lnTo>
                  <a:pt x="855" y="7"/>
                </a:lnTo>
                <a:lnTo>
                  <a:pt x="858" y="16"/>
                </a:lnTo>
                <a:lnTo>
                  <a:pt x="858" y="27"/>
                </a:lnTo>
                <a:lnTo>
                  <a:pt x="854" y="36"/>
                </a:lnTo>
                <a:lnTo>
                  <a:pt x="829" y="61"/>
                </a:lnTo>
                <a:lnTo>
                  <a:pt x="823" y="68"/>
                </a:lnTo>
                <a:lnTo>
                  <a:pt x="821" y="77"/>
                </a:lnTo>
                <a:lnTo>
                  <a:pt x="825" y="87"/>
                </a:lnTo>
                <a:lnTo>
                  <a:pt x="836" y="91"/>
                </a:lnTo>
                <a:lnTo>
                  <a:pt x="850" y="92"/>
                </a:lnTo>
                <a:lnTo>
                  <a:pt x="862" y="95"/>
                </a:lnTo>
                <a:lnTo>
                  <a:pt x="867" y="105"/>
                </a:lnTo>
                <a:lnTo>
                  <a:pt x="839" y="95"/>
                </a:lnTo>
                <a:lnTo>
                  <a:pt x="827" y="97"/>
                </a:lnTo>
                <a:lnTo>
                  <a:pt x="816" y="109"/>
                </a:lnTo>
                <a:lnTo>
                  <a:pt x="814" y="117"/>
                </a:lnTo>
                <a:lnTo>
                  <a:pt x="814" y="122"/>
                </a:lnTo>
                <a:lnTo>
                  <a:pt x="813" y="127"/>
                </a:lnTo>
                <a:lnTo>
                  <a:pt x="808" y="132"/>
                </a:lnTo>
                <a:lnTo>
                  <a:pt x="801" y="136"/>
                </a:lnTo>
                <a:lnTo>
                  <a:pt x="796" y="136"/>
                </a:lnTo>
                <a:lnTo>
                  <a:pt x="791" y="134"/>
                </a:lnTo>
                <a:lnTo>
                  <a:pt x="789" y="128"/>
                </a:lnTo>
                <a:lnTo>
                  <a:pt x="782" y="139"/>
                </a:lnTo>
                <a:lnTo>
                  <a:pt x="776" y="144"/>
                </a:lnTo>
                <a:lnTo>
                  <a:pt x="772" y="152"/>
                </a:lnTo>
                <a:lnTo>
                  <a:pt x="770" y="182"/>
                </a:lnTo>
                <a:lnTo>
                  <a:pt x="767" y="194"/>
                </a:lnTo>
                <a:lnTo>
                  <a:pt x="760" y="204"/>
                </a:lnTo>
                <a:lnTo>
                  <a:pt x="747" y="211"/>
                </a:lnTo>
                <a:lnTo>
                  <a:pt x="746" y="192"/>
                </a:lnTo>
                <a:lnTo>
                  <a:pt x="742" y="175"/>
                </a:lnTo>
                <a:lnTo>
                  <a:pt x="733" y="161"/>
                </a:lnTo>
                <a:lnTo>
                  <a:pt x="720" y="150"/>
                </a:lnTo>
                <a:lnTo>
                  <a:pt x="704" y="145"/>
                </a:lnTo>
                <a:lnTo>
                  <a:pt x="694" y="150"/>
                </a:lnTo>
                <a:lnTo>
                  <a:pt x="643" y="218"/>
                </a:lnTo>
                <a:lnTo>
                  <a:pt x="631" y="224"/>
                </a:lnTo>
                <a:lnTo>
                  <a:pt x="614" y="227"/>
                </a:lnTo>
                <a:lnTo>
                  <a:pt x="594" y="234"/>
                </a:lnTo>
                <a:lnTo>
                  <a:pt x="576" y="237"/>
                </a:lnTo>
                <a:lnTo>
                  <a:pt x="560" y="229"/>
                </a:lnTo>
                <a:lnTo>
                  <a:pt x="552" y="233"/>
                </a:lnTo>
                <a:lnTo>
                  <a:pt x="543" y="234"/>
                </a:lnTo>
                <a:lnTo>
                  <a:pt x="525" y="234"/>
                </a:lnTo>
                <a:lnTo>
                  <a:pt x="518" y="235"/>
                </a:lnTo>
                <a:lnTo>
                  <a:pt x="503" y="240"/>
                </a:lnTo>
                <a:lnTo>
                  <a:pt x="498" y="243"/>
                </a:lnTo>
                <a:lnTo>
                  <a:pt x="450" y="238"/>
                </a:lnTo>
                <a:lnTo>
                  <a:pt x="436" y="243"/>
                </a:lnTo>
                <a:lnTo>
                  <a:pt x="391" y="284"/>
                </a:lnTo>
                <a:lnTo>
                  <a:pt x="359" y="302"/>
                </a:lnTo>
                <a:lnTo>
                  <a:pt x="330" y="294"/>
                </a:lnTo>
                <a:lnTo>
                  <a:pt x="318" y="300"/>
                </a:lnTo>
                <a:lnTo>
                  <a:pt x="313" y="310"/>
                </a:lnTo>
                <a:lnTo>
                  <a:pt x="310" y="323"/>
                </a:lnTo>
                <a:lnTo>
                  <a:pt x="312" y="339"/>
                </a:lnTo>
                <a:lnTo>
                  <a:pt x="312" y="343"/>
                </a:lnTo>
                <a:lnTo>
                  <a:pt x="307" y="349"/>
                </a:lnTo>
                <a:lnTo>
                  <a:pt x="307" y="353"/>
                </a:lnTo>
                <a:lnTo>
                  <a:pt x="310" y="357"/>
                </a:lnTo>
                <a:lnTo>
                  <a:pt x="319" y="364"/>
                </a:lnTo>
                <a:lnTo>
                  <a:pt x="330" y="394"/>
                </a:lnTo>
                <a:lnTo>
                  <a:pt x="326" y="389"/>
                </a:lnTo>
                <a:lnTo>
                  <a:pt x="316" y="372"/>
                </a:lnTo>
                <a:lnTo>
                  <a:pt x="308" y="364"/>
                </a:lnTo>
                <a:lnTo>
                  <a:pt x="302" y="360"/>
                </a:lnTo>
                <a:lnTo>
                  <a:pt x="296" y="353"/>
                </a:lnTo>
                <a:lnTo>
                  <a:pt x="293" y="343"/>
                </a:lnTo>
                <a:lnTo>
                  <a:pt x="306" y="301"/>
                </a:lnTo>
                <a:lnTo>
                  <a:pt x="306" y="296"/>
                </a:lnTo>
                <a:lnTo>
                  <a:pt x="303" y="288"/>
                </a:lnTo>
                <a:lnTo>
                  <a:pt x="286" y="301"/>
                </a:lnTo>
                <a:lnTo>
                  <a:pt x="245" y="314"/>
                </a:lnTo>
                <a:lnTo>
                  <a:pt x="229" y="321"/>
                </a:lnTo>
                <a:lnTo>
                  <a:pt x="224" y="326"/>
                </a:lnTo>
                <a:lnTo>
                  <a:pt x="216" y="338"/>
                </a:lnTo>
                <a:lnTo>
                  <a:pt x="211" y="343"/>
                </a:lnTo>
                <a:lnTo>
                  <a:pt x="190" y="360"/>
                </a:lnTo>
                <a:lnTo>
                  <a:pt x="186" y="362"/>
                </a:lnTo>
                <a:lnTo>
                  <a:pt x="177" y="364"/>
                </a:lnTo>
                <a:lnTo>
                  <a:pt x="164" y="374"/>
                </a:lnTo>
                <a:lnTo>
                  <a:pt x="144" y="377"/>
                </a:lnTo>
                <a:lnTo>
                  <a:pt x="126" y="383"/>
                </a:lnTo>
                <a:lnTo>
                  <a:pt x="117" y="386"/>
                </a:lnTo>
                <a:lnTo>
                  <a:pt x="108" y="388"/>
                </a:lnTo>
                <a:lnTo>
                  <a:pt x="95" y="401"/>
                </a:lnTo>
                <a:lnTo>
                  <a:pt x="85" y="403"/>
                </a:lnTo>
                <a:lnTo>
                  <a:pt x="62" y="405"/>
                </a:lnTo>
                <a:lnTo>
                  <a:pt x="53" y="404"/>
                </a:lnTo>
                <a:lnTo>
                  <a:pt x="42" y="399"/>
                </a:lnTo>
                <a:lnTo>
                  <a:pt x="21" y="414"/>
                </a:lnTo>
                <a:lnTo>
                  <a:pt x="7" y="438"/>
                </a:lnTo>
                <a:lnTo>
                  <a:pt x="0" y="466"/>
                </a:lnTo>
                <a:lnTo>
                  <a:pt x="0" y="495"/>
                </a:lnTo>
                <a:lnTo>
                  <a:pt x="2" y="506"/>
                </a:lnTo>
                <a:lnTo>
                  <a:pt x="6" y="516"/>
                </a:lnTo>
                <a:lnTo>
                  <a:pt x="11" y="523"/>
                </a:lnTo>
                <a:lnTo>
                  <a:pt x="20" y="528"/>
                </a:lnTo>
                <a:lnTo>
                  <a:pt x="32" y="529"/>
                </a:lnTo>
                <a:lnTo>
                  <a:pt x="42" y="534"/>
                </a:lnTo>
                <a:lnTo>
                  <a:pt x="48" y="542"/>
                </a:lnTo>
                <a:lnTo>
                  <a:pt x="53" y="561"/>
                </a:lnTo>
                <a:lnTo>
                  <a:pt x="57" y="573"/>
                </a:lnTo>
                <a:lnTo>
                  <a:pt x="61" y="586"/>
                </a:lnTo>
                <a:lnTo>
                  <a:pt x="59" y="600"/>
                </a:lnTo>
                <a:lnTo>
                  <a:pt x="54" y="611"/>
                </a:lnTo>
                <a:lnTo>
                  <a:pt x="48" y="617"/>
                </a:lnTo>
                <a:lnTo>
                  <a:pt x="43" y="625"/>
                </a:lnTo>
                <a:lnTo>
                  <a:pt x="42" y="639"/>
                </a:lnTo>
                <a:lnTo>
                  <a:pt x="43" y="653"/>
                </a:lnTo>
                <a:lnTo>
                  <a:pt x="48" y="666"/>
                </a:lnTo>
                <a:lnTo>
                  <a:pt x="63" y="692"/>
                </a:lnTo>
                <a:lnTo>
                  <a:pt x="73" y="701"/>
                </a:lnTo>
                <a:lnTo>
                  <a:pt x="76" y="707"/>
                </a:lnTo>
                <a:lnTo>
                  <a:pt x="79" y="716"/>
                </a:lnTo>
                <a:lnTo>
                  <a:pt x="76" y="722"/>
                </a:lnTo>
                <a:lnTo>
                  <a:pt x="72" y="729"/>
                </a:lnTo>
                <a:lnTo>
                  <a:pt x="72" y="729"/>
                </a:lnTo>
                <a:lnTo>
                  <a:pt x="89" y="770"/>
                </a:lnTo>
                <a:lnTo>
                  <a:pt x="98" y="782"/>
                </a:lnTo>
                <a:lnTo>
                  <a:pt x="102" y="784"/>
                </a:lnTo>
                <a:lnTo>
                  <a:pt x="108" y="785"/>
                </a:lnTo>
                <a:lnTo>
                  <a:pt x="112" y="787"/>
                </a:lnTo>
                <a:lnTo>
                  <a:pt x="117" y="787"/>
                </a:lnTo>
                <a:lnTo>
                  <a:pt x="120" y="787"/>
                </a:lnTo>
                <a:lnTo>
                  <a:pt x="122" y="785"/>
                </a:lnTo>
                <a:lnTo>
                  <a:pt x="126" y="781"/>
                </a:lnTo>
                <a:lnTo>
                  <a:pt x="128" y="779"/>
                </a:lnTo>
                <a:lnTo>
                  <a:pt x="132" y="777"/>
                </a:lnTo>
                <a:lnTo>
                  <a:pt x="134" y="775"/>
                </a:lnTo>
                <a:lnTo>
                  <a:pt x="136" y="771"/>
                </a:lnTo>
                <a:lnTo>
                  <a:pt x="138" y="766"/>
                </a:lnTo>
                <a:lnTo>
                  <a:pt x="141" y="758"/>
                </a:lnTo>
                <a:lnTo>
                  <a:pt x="144" y="751"/>
                </a:lnTo>
                <a:lnTo>
                  <a:pt x="144" y="750"/>
                </a:lnTo>
                <a:lnTo>
                  <a:pt x="145" y="748"/>
                </a:lnTo>
                <a:lnTo>
                  <a:pt x="146" y="748"/>
                </a:lnTo>
                <a:lnTo>
                  <a:pt x="148" y="746"/>
                </a:lnTo>
                <a:lnTo>
                  <a:pt x="150" y="746"/>
                </a:lnTo>
                <a:lnTo>
                  <a:pt x="173" y="748"/>
                </a:lnTo>
                <a:lnTo>
                  <a:pt x="184" y="746"/>
                </a:lnTo>
                <a:lnTo>
                  <a:pt x="197" y="744"/>
                </a:lnTo>
                <a:lnTo>
                  <a:pt x="205" y="741"/>
                </a:lnTo>
                <a:lnTo>
                  <a:pt x="209" y="739"/>
                </a:lnTo>
                <a:lnTo>
                  <a:pt x="216" y="733"/>
                </a:lnTo>
                <a:lnTo>
                  <a:pt x="230" y="718"/>
                </a:lnTo>
                <a:lnTo>
                  <a:pt x="234" y="716"/>
                </a:lnTo>
                <a:lnTo>
                  <a:pt x="238" y="713"/>
                </a:lnTo>
                <a:lnTo>
                  <a:pt x="245" y="710"/>
                </a:lnTo>
                <a:lnTo>
                  <a:pt x="251" y="710"/>
                </a:lnTo>
                <a:lnTo>
                  <a:pt x="255" y="710"/>
                </a:lnTo>
                <a:lnTo>
                  <a:pt x="258" y="711"/>
                </a:lnTo>
                <a:lnTo>
                  <a:pt x="262" y="712"/>
                </a:lnTo>
                <a:lnTo>
                  <a:pt x="268" y="717"/>
                </a:lnTo>
                <a:lnTo>
                  <a:pt x="274" y="723"/>
                </a:lnTo>
                <a:lnTo>
                  <a:pt x="275" y="725"/>
                </a:lnTo>
                <a:lnTo>
                  <a:pt x="276" y="727"/>
                </a:lnTo>
                <a:lnTo>
                  <a:pt x="276" y="728"/>
                </a:lnTo>
                <a:lnTo>
                  <a:pt x="276" y="729"/>
                </a:lnTo>
                <a:lnTo>
                  <a:pt x="276" y="730"/>
                </a:lnTo>
                <a:lnTo>
                  <a:pt x="275" y="731"/>
                </a:lnTo>
                <a:lnTo>
                  <a:pt x="268" y="739"/>
                </a:lnTo>
                <a:lnTo>
                  <a:pt x="266" y="743"/>
                </a:lnTo>
                <a:lnTo>
                  <a:pt x="264" y="745"/>
                </a:lnTo>
                <a:lnTo>
                  <a:pt x="264" y="748"/>
                </a:lnTo>
                <a:lnTo>
                  <a:pt x="263" y="750"/>
                </a:lnTo>
                <a:lnTo>
                  <a:pt x="263" y="752"/>
                </a:lnTo>
                <a:lnTo>
                  <a:pt x="264" y="755"/>
                </a:lnTo>
                <a:lnTo>
                  <a:pt x="265" y="757"/>
                </a:lnTo>
                <a:lnTo>
                  <a:pt x="267" y="759"/>
                </a:lnTo>
                <a:lnTo>
                  <a:pt x="269" y="762"/>
                </a:lnTo>
                <a:lnTo>
                  <a:pt x="301" y="781"/>
                </a:lnTo>
                <a:lnTo>
                  <a:pt x="303" y="783"/>
                </a:lnTo>
                <a:lnTo>
                  <a:pt x="305" y="785"/>
                </a:lnTo>
                <a:lnTo>
                  <a:pt x="305" y="787"/>
                </a:lnTo>
                <a:lnTo>
                  <a:pt x="305" y="789"/>
                </a:lnTo>
                <a:lnTo>
                  <a:pt x="304" y="790"/>
                </a:lnTo>
                <a:lnTo>
                  <a:pt x="303" y="792"/>
                </a:lnTo>
                <a:lnTo>
                  <a:pt x="299" y="796"/>
                </a:lnTo>
                <a:lnTo>
                  <a:pt x="294" y="800"/>
                </a:lnTo>
                <a:lnTo>
                  <a:pt x="291" y="803"/>
                </a:lnTo>
                <a:lnTo>
                  <a:pt x="287" y="808"/>
                </a:lnTo>
                <a:lnTo>
                  <a:pt x="284" y="813"/>
                </a:lnTo>
                <a:lnTo>
                  <a:pt x="271" y="831"/>
                </a:lnTo>
                <a:lnTo>
                  <a:pt x="270" y="832"/>
                </a:lnTo>
                <a:lnTo>
                  <a:pt x="271" y="835"/>
                </a:lnTo>
                <a:lnTo>
                  <a:pt x="274" y="837"/>
                </a:lnTo>
                <a:lnTo>
                  <a:pt x="281" y="844"/>
                </a:lnTo>
                <a:lnTo>
                  <a:pt x="286" y="846"/>
                </a:lnTo>
                <a:lnTo>
                  <a:pt x="289" y="847"/>
                </a:lnTo>
                <a:lnTo>
                  <a:pt x="291" y="846"/>
                </a:lnTo>
                <a:lnTo>
                  <a:pt x="292" y="845"/>
                </a:lnTo>
                <a:lnTo>
                  <a:pt x="294" y="844"/>
                </a:lnTo>
                <a:lnTo>
                  <a:pt x="296" y="843"/>
                </a:lnTo>
                <a:lnTo>
                  <a:pt x="300" y="843"/>
                </a:lnTo>
                <a:lnTo>
                  <a:pt x="302" y="844"/>
                </a:lnTo>
                <a:lnTo>
                  <a:pt x="303" y="846"/>
                </a:lnTo>
                <a:lnTo>
                  <a:pt x="304" y="858"/>
                </a:lnTo>
                <a:lnTo>
                  <a:pt x="305" y="861"/>
                </a:lnTo>
                <a:lnTo>
                  <a:pt x="306" y="862"/>
                </a:lnTo>
                <a:lnTo>
                  <a:pt x="308" y="863"/>
                </a:lnTo>
                <a:lnTo>
                  <a:pt x="310" y="863"/>
                </a:lnTo>
                <a:lnTo>
                  <a:pt x="312" y="862"/>
                </a:lnTo>
                <a:lnTo>
                  <a:pt x="317" y="858"/>
                </a:lnTo>
                <a:lnTo>
                  <a:pt x="321" y="857"/>
                </a:lnTo>
                <a:lnTo>
                  <a:pt x="325" y="857"/>
                </a:lnTo>
                <a:lnTo>
                  <a:pt x="327" y="860"/>
                </a:lnTo>
                <a:lnTo>
                  <a:pt x="331" y="865"/>
                </a:lnTo>
                <a:lnTo>
                  <a:pt x="344" y="876"/>
                </a:lnTo>
                <a:lnTo>
                  <a:pt x="349" y="880"/>
                </a:lnTo>
                <a:lnTo>
                  <a:pt x="354" y="881"/>
                </a:lnTo>
                <a:lnTo>
                  <a:pt x="358" y="881"/>
                </a:lnTo>
                <a:lnTo>
                  <a:pt x="360" y="882"/>
                </a:lnTo>
                <a:lnTo>
                  <a:pt x="361" y="882"/>
                </a:lnTo>
                <a:lnTo>
                  <a:pt x="361" y="884"/>
                </a:lnTo>
                <a:lnTo>
                  <a:pt x="361" y="885"/>
                </a:lnTo>
                <a:lnTo>
                  <a:pt x="344" y="904"/>
                </a:lnTo>
                <a:lnTo>
                  <a:pt x="342" y="907"/>
                </a:lnTo>
                <a:lnTo>
                  <a:pt x="341" y="909"/>
                </a:lnTo>
                <a:lnTo>
                  <a:pt x="341" y="913"/>
                </a:lnTo>
                <a:lnTo>
                  <a:pt x="340" y="917"/>
                </a:lnTo>
                <a:lnTo>
                  <a:pt x="340" y="919"/>
                </a:lnTo>
                <a:lnTo>
                  <a:pt x="339" y="920"/>
                </a:lnTo>
                <a:lnTo>
                  <a:pt x="338" y="920"/>
                </a:lnTo>
                <a:lnTo>
                  <a:pt x="336" y="921"/>
                </a:lnTo>
                <a:lnTo>
                  <a:pt x="334" y="922"/>
                </a:lnTo>
                <a:lnTo>
                  <a:pt x="332" y="922"/>
                </a:lnTo>
                <a:lnTo>
                  <a:pt x="331" y="924"/>
                </a:lnTo>
                <a:lnTo>
                  <a:pt x="330" y="925"/>
                </a:lnTo>
                <a:lnTo>
                  <a:pt x="329" y="927"/>
                </a:lnTo>
                <a:lnTo>
                  <a:pt x="328" y="930"/>
                </a:lnTo>
                <a:lnTo>
                  <a:pt x="328" y="932"/>
                </a:lnTo>
                <a:lnTo>
                  <a:pt x="328" y="935"/>
                </a:lnTo>
                <a:lnTo>
                  <a:pt x="330" y="940"/>
                </a:lnTo>
                <a:lnTo>
                  <a:pt x="330" y="943"/>
                </a:lnTo>
                <a:lnTo>
                  <a:pt x="330" y="948"/>
                </a:lnTo>
                <a:lnTo>
                  <a:pt x="332" y="952"/>
                </a:lnTo>
                <a:lnTo>
                  <a:pt x="343" y="970"/>
                </a:lnTo>
                <a:lnTo>
                  <a:pt x="357" y="969"/>
                </a:lnTo>
                <a:lnTo>
                  <a:pt x="371" y="973"/>
                </a:lnTo>
                <a:lnTo>
                  <a:pt x="411" y="977"/>
                </a:lnTo>
                <a:lnTo>
                  <a:pt x="431" y="983"/>
                </a:lnTo>
                <a:lnTo>
                  <a:pt x="438" y="986"/>
                </a:lnTo>
                <a:lnTo>
                  <a:pt x="444" y="989"/>
                </a:lnTo>
                <a:lnTo>
                  <a:pt x="450" y="993"/>
                </a:lnTo>
                <a:lnTo>
                  <a:pt x="451" y="993"/>
                </a:lnTo>
                <a:lnTo>
                  <a:pt x="453" y="991"/>
                </a:lnTo>
                <a:lnTo>
                  <a:pt x="456" y="989"/>
                </a:lnTo>
                <a:lnTo>
                  <a:pt x="459" y="987"/>
                </a:lnTo>
                <a:lnTo>
                  <a:pt x="460" y="983"/>
                </a:lnTo>
                <a:lnTo>
                  <a:pt x="459" y="980"/>
                </a:lnTo>
                <a:lnTo>
                  <a:pt x="456" y="979"/>
                </a:lnTo>
                <a:lnTo>
                  <a:pt x="453" y="979"/>
                </a:lnTo>
                <a:lnTo>
                  <a:pt x="451" y="980"/>
                </a:lnTo>
                <a:lnTo>
                  <a:pt x="450" y="979"/>
                </a:lnTo>
                <a:lnTo>
                  <a:pt x="448" y="978"/>
                </a:lnTo>
                <a:lnTo>
                  <a:pt x="440" y="969"/>
                </a:lnTo>
                <a:lnTo>
                  <a:pt x="439" y="964"/>
                </a:lnTo>
                <a:lnTo>
                  <a:pt x="440" y="961"/>
                </a:lnTo>
                <a:lnTo>
                  <a:pt x="452" y="957"/>
                </a:lnTo>
                <a:lnTo>
                  <a:pt x="458" y="953"/>
                </a:lnTo>
                <a:lnTo>
                  <a:pt x="476" y="949"/>
                </a:lnTo>
                <a:lnTo>
                  <a:pt x="485" y="946"/>
                </a:lnTo>
                <a:lnTo>
                  <a:pt x="495" y="936"/>
                </a:lnTo>
                <a:lnTo>
                  <a:pt x="498" y="930"/>
                </a:lnTo>
                <a:lnTo>
                  <a:pt x="511" y="896"/>
                </a:lnTo>
                <a:lnTo>
                  <a:pt x="520" y="881"/>
                </a:lnTo>
                <a:lnTo>
                  <a:pt x="528" y="860"/>
                </a:lnTo>
                <a:lnTo>
                  <a:pt x="537" y="848"/>
                </a:lnTo>
                <a:lnTo>
                  <a:pt x="538" y="844"/>
                </a:lnTo>
                <a:lnTo>
                  <a:pt x="538" y="841"/>
                </a:lnTo>
                <a:lnTo>
                  <a:pt x="536" y="836"/>
                </a:lnTo>
                <a:lnTo>
                  <a:pt x="531" y="831"/>
                </a:lnTo>
                <a:lnTo>
                  <a:pt x="525" y="826"/>
                </a:lnTo>
                <a:lnTo>
                  <a:pt x="508" y="814"/>
                </a:lnTo>
                <a:lnTo>
                  <a:pt x="507" y="810"/>
                </a:lnTo>
                <a:lnTo>
                  <a:pt x="505" y="805"/>
                </a:lnTo>
                <a:lnTo>
                  <a:pt x="510" y="801"/>
                </a:lnTo>
                <a:lnTo>
                  <a:pt x="516" y="796"/>
                </a:lnTo>
                <a:lnTo>
                  <a:pt x="529" y="790"/>
                </a:lnTo>
                <a:lnTo>
                  <a:pt x="539" y="784"/>
                </a:lnTo>
                <a:lnTo>
                  <a:pt x="553" y="772"/>
                </a:lnTo>
                <a:lnTo>
                  <a:pt x="559" y="769"/>
                </a:lnTo>
                <a:lnTo>
                  <a:pt x="567" y="765"/>
                </a:lnTo>
                <a:lnTo>
                  <a:pt x="574" y="762"/>
                </a:lnTo>
                <a:lnTo>
                  <a:pt x="593" y="749"/>
                </a:lnTo>
                <a:lnTo>
                  <a:pt x="601" y="748"/>
                </a:lnTo>
                <a:lnTo>
                  <a:pt x="611" y="746"/>
                </a:lnTo>
                <a:lnTo>
                  <a:pt x="627" y="749"/>
                </a:lnTo>
                <a:lnTo>
                  <a:pt x="644" y="748"/>
                </a:lnTo>
                <a:lnTo>
                  <a:pt x="715" y="763"/>
                </a:lnTo>
                <a:lnTo>
                  <a:pt x="720" y="766"/>
                </a:lnTo>
                <a:lnTo>
                  <a:pt x="724" y="768"/>
                </a:lnTo>
                <a:lnTo>
                  <a:pt x="734" y="781"/>
                </a:lnTo>
                <a:lnTo>
                  <a:pt x="746" y="782"/>
                </a:lnTo>
                <a:lnTo>
                  <a:pt x="750" y="781"/>
                </a:lnTo>
                <a:lnTo>
                  <a:pt x="754" y="779"/>
                </a:lnTo>
                <a:lnTo>
                  <a:pt x="757" y="775"/>
                </a:lnTo>
                <a:lnTo>
                  <a:pt x="778" y="740"/>
                </a:lnTo>
                <a:lnTo>
                  <a:pt x="793" y="725"/>
                </a:lnTo>
                <a:lnTo>
                  <a:pt x="800" y="720"/>
                </a:lnTo>
                <a:lnTo>
                  <a:pt x="801" y="718"/>
                </a:lnTo>
                <a:lnTo>
                  <a:pt x="801" y="714"/>
                </a:lnTo>
                <a:lnTo>
                  <a:pt x="801" y="711"/>
                </a:lnTo>
                <a:lnTo>
                  <a:pt x="803" y="706"/>
                </a:lnTo>
                <a:lnTo>
                  <a:pt x="807" y="702"/>
                </a:lnTo>
                <a:lnTo>
                  <a:pt x="815" y="692"/>
                </a:lnTo>
                <a:lnTo>
                  <a:pt x="823" y="686"/>
                </a:lnTo>
                <a:lnTo>
                  <a:pt x="836" y="677"/>
                </a:lnTo>
                <a:lnTo>
                  <a:pt x="843" y="675"/>
                </a:lnTo>
                <a:lnTo>
                  <a:pt x="851" y="675"/>
                </a:lnTo>
                <a:lnTo>
                  <a:pt x="872" y="681"/>
                </a:lnTo>
                <a:lnTo>
                  <a:pt x="894" y="684"/>
                </a:lnTo>
                <a:lnTo>
                  <a:pt x="903" y="687"/>
                </a:lnTo>
                <a:lnTo>
                  <a:pt x="916" y="690"/>
                </a:lnTo>
                <a:lnTo>
                  <a:pt x="924" y="690"/>
                </a:lnTo>
                <a:lnTo>
                  <a:pt x="929" y="691"/>
                </a:lnTo>
                <a:lnTo>
                  <a:pt x="936" y="693"/>
                </a:lnTo>
                <a:lnTo>
                  <a:pt x="940" y="697"/>
                </a:lnTo>
                <a:lnTo>
                  <a:pt x="950" y="706"/>
                </a:lnTo>
                <a:lnTo>
                  <a:pt x="955" y="710"/>
                </a:lnTo>
                <a:lnTo>
                  <a:pt x="959" y="712"/>
                </a:lnTo>
                <a:lnTo>
                  <a:pt x="965" y="711"/>
                </a:lnTo>
                <a:lnTo>
                  <a:pt x="969" y="709"/>
                </a:lnTo>
                <a:lnTo>
                  <a:pt x="980" y="700"/>
                </a:lnTo>
                <a:lnTo>
                  <a:pt x="991" y="688"/>
                </a:lnTo>
                <a:lnTo>
                  <a:pt x="1014" y="659"/>
                </a:lnTo>
                <a:lnTo>
                  <a:pt x="1035" y="635"/>
                </a:lnTo>
                <a:lnTo>
                  <a:pt x="1045" y="621"/>
                </a:lnTo>
                <a:lnTo>
                  <a:pt x="1050" y="615"/>
                </a:lnTo>
                <a:lnTo>
                  <a:pt x="1072" y="600"/>
                </a:lnTo>
                <a:lnTo>
                  <a:pt x="1079" y="598"/>
                </a:lnTo>
                <a:lnTo>
                  <a:pt x="1084" y="597"/>
                </a:lnTo>
                <a:lnTo>
                  <a:pt x="1095" y="599"/>
                </a:lnTo>
                <a:lnTo>
                  <a:pt x="1101" y="599"/>
                </a:lnTo>
                <a:lnTo>
                  <a:pt x="1111" y="598"/>
                </a:lnTo>
                <a:lnTo>
                  <a:pt x="1118" y="595"/>
                </a:lnTo>
                <a:lnTo>
                  <a:pt x="1123" y="591"/>
                </a:lnTo>
                <a:lnTo>
                  <a:pt x="1126" y="586"/>
                </a:lnTo>
                <a:lnTo>
                  <a:pt x="1127" y="577"/>
                </a:lnTo>
                <a:lnTo>
                  <a:pt x="1127" y="56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8" name="Freeform 22">
            <a:extLst>
              <a:ext uri="{FF2B5EF4-FFF2-40B4-BE49-F238E27FC236}">
                <a16:creationId xmlns:a16="http://schemas.microsoft.com/office/drawing/2014/main" id="{1AF58F41-EC94-DE54-BD5D-F14201138081}"/>
              </a:ext>
            </a:extLst>
          </p:cNvPr>
          <p:cNvSpPr>
            <a:spLocks/>
          </p:cNvSpPr>
          <p:nvPr/>
        </p:nvSpPr>
        <p:spPr bwMode="auto">
          <a:xfrm>
            <a:off x="4565282" y="4664209"/>
            <a:ext cx="1019986" cy="823963"/>
          </a:xfrm>
          <a:custGeom>
            <a:avLst/>
            <a:gdLst>
              <a:gd name="T0" fmla="*/ 499 w 656"/>
              <a:gd name="T1" fmla="*/ 78 h 560"/>
              <a:gd name="T2" fmla="*/ 503 w 656"/>
              <a:gd name="T3" fmla="*/ 107 h 560"/>
              <a:gd name="T4" fmla="*/ 481 w 656"/>
              <a:gd name="T5" fmla="*/ 158 h 560"/>
              <a:gd name="T6" fmla="*/ 458 w 656"/>
              <a:gd name="T7" fmla="*/ 176 h 560"/>
              <a:gd name="T8" fmla="*/ 458 w 656"/>
              <a:gd name="T9" fmla="*/ 188 h 560"/>
              <a:gd name="T10" fmla="*/ 527 w 656"/>
              <a:gd name="T11" fmla="*/ 182 h 560"/>
              <a:gd name="T12" fmla="*/ 572 w 656"/>
              <a:gd name="T13" fmla="*/ 182 h 560"/>
              <a:gd name="T14" fmla="*/ 592 w 656"/>
              <a:gd name="T15" fmla="*/ 237 h 560"/>
              <a:gd name="T16" fmla="*/ 602 w 656"/>
              <a:gd name="T17" fmla="*/ 258 h 560"/>
              <a:gd name="T18" fmla="*/ 615 w 656"/>
              <a:gd name="T19" fmla="*/ 263 h 560"/>
              <a:gd name="T20" fmla="*/ 617 w 656"/>
              <a:gd name="T21" fmla="*/ 275 h 560"/>
              <a:gd name="T22" fmla="*/ 588 w 656"/>
              <a:gd name="T23" fmla="*/ 313 h 560"/>
              <a:gd name="T24" fmla="*/ 585 w 656"/>
              <a:gd name="T25" fmla="*/ 346 h 560"/>
              <a:gd name="T26" fmla="*/ 576 w 656"/>
              <a:gd name="T27" fmla="*/ 391 h 560"/>
              <a:gd name="T28" fmla="*/ 588 w 656"/>
              <a:gd name="T29" fmla="*/ 390 h 560"/>
              <a:gd name="T30" fmla="*/ 608 w 656"/>
              <a:gd name="T31" fmla="*/ 367 h 560"/>
              <a:gd name="T32" fmla="*/ 627 w 656"/>
              <a:gd name="T33" fmla="*/ 371 h 560"/>
              <a:gd name="T34" fmla="*/ 646 w 656"/>
              <a:gd name="T35" fmla="*/ 386 h 560"/>
              <a:gd name="T36" fmla="*/ 656 w 656"/>
              <a:gd name="T37" fmla="*/ 409 h 560"/>
              <a:gd name="T38" fmla="*/ 648 w 656"/>
              <a:gd name="T39" fmla="*/ 436 h 560"/>
              <a:gd name="T40" fmla="*/ 631 w 656"/>
              <a:gd name="T41" fmla="*/ 454 h 560"/>
              <a:gd name="T42" fmla="*/ 635 w 656"/>
              <a:gd name="T43" fmla="*/ 483 h 560"/>
              <a:gd name="T44" fmla="*/ 622 w 656"/>
              <a:gd name="T45" fmla="*/ 502 h 560"/>
              <a:gd name="T46" fmla="*/ 590 w 656"/>
              <a:gd name="T47" fmla="*/ 509 h 560"/>
              <a:gd name="T48" fmla="*/ 560 w 656"/>
              <a:gd name="T49" fmla="*/ 501 h 560"/>
              <a:gd name="T50" fmla="*/ 518 w 656"/>
              <a:gd name="T51" fmla="*/ 500 h 560"/>
              <a:gd name="T52" fmla="*/ 499 w 656"/>
              <a:gd name="T53" fmla="*/ 476 h 560"/>
              <a:gd name="T54" fmla="*/ 482 w 656"/>
              <a:gd name="T55" fmla="*/ 479 h 560"/>
              <a:gd name="T56" fmla="*/ 446 w 656"/>
              <a:gd name="T57" fmla="*/ 501 h 560"/>
              <a:gd name="T58" fmla="*/ 404 w 656"/>
              <a:gd name="T59" fmla="*/ 529 h 560"/>
              <a:gd name="T60" fmla="*/ 336 w 656"/>
              <a:gd name="T61" fmla="*/ 525 h 560"/>
              <a:gd name="T62" fmla="*/ 274 w 656"/>
              <a:gd name="T63" fmla="*/ 527 h 560"/>
              <a:gd name="T64" fmla="*/ 180 w 656"/>
              <a:gd name="T65" fmla="*/ 557 h 560"/>
              <a:gd name="T66" fmla="*/ 121 w 656"/>
              <a:gd name="T67" fmla="*/ 560 h 560"/>
              <a:gd name="T68" fmla="*/ 104 w 656"/>
              <a:gd name="T69" fmla="*/ 545 h 560"/>
              <a:gd name="T70" fmla="*/ 102 w 656"/>
              <a:gd name="T71" fmla="*/ 521 h 560"/>
              <a:gd name="T72" fmla="*/ 79 w 656"/>
              <a:gd name="T73" fmla="*/ 473 h 560"/>
              <a:gd name="T74" fmla="*/ 86 w 656"/>
              <a:gd name="T75" fmla="*/ 457 h 560"/>
              <a:gd name="T76" fmla="*/ 80 w 656"/>
              <a:gd name="T77" fmla="*/ 434 h 560"/>
              <a:gd name="T78" fmla="*/ 86 w 656"/>
              <a:gd name="T79" fmla="*/ 408 h 560"/>
              <a:gd name="T80" fmla="*/ 83 w 656"/>
              <a:gd name="T81" fmla="*/ 380 h 560"/>
              <a:gd name="T82" fmla="*/ 75 w 656"/>
              <a:gd name="T83" fmla="*/ 364 h 560"/>
              <a:gd name="T84" fmla="*/ 64 w 656"/>
              <a:gd name="T85" fmla="*/ 352 h 560"/>
              <a:gd name="T86" fmla="*/ 71 w 656"/>
              <a:gd name="T87" fmla="*/ 314 h 560"/>
              <a:gd name="T88" fmla="*/ 53 w 656"/>
              <a:gd name="T89" fmla="*/ 299 h 560"/>
              <a:gd name="T90" fmla="*/ 52 w 656"/>
              <a:gd name="T91" fmla="*/ 268 h 560"/>
              <a:gd name="T92" fmla="*/ 19 w 656"/>
              <a:gd name="T93" fmla="*/ 242 h 560"/>
              <a:gd name="T94" fmla="*/ 4 w 656"/>
              <a:gd name="T95" fmla="*/ 234 h 560"/>
              <a:gd name="T96" fmla="*/ 2 w 656"/>
              <a:gd name="T97" fmla="*/ 217 h 560"/>
              <a:gd name="T98" fmla="*/ 20 w 656"/>
              <a:gd name="T99" fmla="*/ 194 h 560"/>
              <a:gd name="T100" fmla="*/ 17 w 656"/>
              <a:gd name="T101" fmla="*/ 208 h 560"/>
              <a:gd name="T102" fmla="*/ 33 w 656"/>
              <a:gd name="T103" fmla="*/ 195 h 560"/>
              <a:gd name="T104" fmla="*/ 66 w 656"/>
              <a:gd name="T105" fmla="*/ 200 h 560"/>
              <a:gd name="T106" fmla="*/ 129 w 656"/>
              <a:gd name="T107" fmla="*/ 192 h 560"/>
              <a:gd name="T108" fmla="*/ 155 w 656"/>
              <a:gd name="T109" fmla="*/ 171 h 560"/>
              <a:gd name="T110" fmla="*/ 191 w 656"/>
              <a:gd name="T111" fmla="*/ 106 h 560"/>
              <a:gd name="T112" fmla="*/ 204 w 656"/>
              <a:gd name="T113" fmla="*/ 157 h 560"/>
              <a:gd name="T114" fmla="*/ 220 w 656"/>
              <a:gd name="T115" fmla="*/ 140 h 560"/>
              <a:gd name="T116" fmla="*/ 253 w 656"/>
              <a:gd name="T117" fmla="*/ 114 h 560"/>
              <a:gd name="T118" fmla="*/ 272 w 656"/>
              <a:gd name="T119" fmla="*/ 73 h 560"/>
              <a:gd name="T120" fmla="*/ 300 w 656"/>
              <a:gd name="T121" fmla="*/ 0 h 560"/>
              <a:gd name="T122" fmla="*/ 358 w 656"/>
              <a:gd name="T123" fmla="*/ 3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6" h="560">
                <a:moveTo>
                  <a:pt x="391" y="13"/>
                </a:moveTo>
                <a:lnTo>
                  <a:pt x="474" y="57"/>
                </a:lnTo>
                <a:lnTo>
                  <a:pt x="499" y="78"/>
                </a:lnTo>
                <a:lnTo>
                  <a:pt x="502" y="87"/>
                </a:lnTo>
                <a:lnTo>
                  <a:pt x="504" y="98"/>
                </a:lnTo>
                <a:lnTo>
                  <a:pt x="503" y="107"/>
                </a:lnTo>
                <a:lnTo>
                  <a:pt x="500" y="116"/>
                </a:lnTo>
                <a:lnTo>
                  <a:pt x="485" y="144"/>
                </a:lnTo>
                <a:lnTo>
                  <a:pt x="481" y="158"/>
                </a:lnTo>
                <a:lnTo>
                  <a:pt x="477" y="165"/>
                </a:lnTo>
                <a:lnTo>
                  <a:pt x="471" y="169"/>
                </a:lnTo>
                <a:lnTo>
                  <a:pt x="458" y="176"/>
                </a:lnTo>
                <a:lnTo>
                  <a:pt x="455" y="179"/>
                </a:lnTo>
                <a:lnTo>
                  <a:pt x="453" y="184"/>
                </a:lnTo>
                <a:lnTo>
                  <a:pt x="458" y="188"/>
                </a:lnTo>
                <a:lnTo>
                  <a:pt x="465" y="191"/>
                </a:lnTo>
                <a:lnTo>
                  <a:pt x="489" y="191"/>
                </a:lnTo>
                <a:lnTo>
                  <a:pt x="527" y="182"/>
                </a:lnTo>
                <a:lnTo>
                  <a:pt x="552" y="180"/>
                </a:lnTo>
                <a:lnTo>
                  <a:pt x="560" y="180"/>
                </a:lnTo>
                <a:lnTo>
                  <a:pt x="572" y="182"/>
                </a:lnTo>
                <a:lnTo>
                  <a:pt x="594" y="190"/>
                </a:lnTo>
                <a:lnTo>
                  <a:pt x="591" y="226"/>
                </a:lnTo>
                <a:lnTo>
                  <a:pt x="592" y="237"/>
                </a:lnTo>
                <a:lnTo>
                  <a:pt x="595" y="248"/>
                </a:lnTo>
                <a:lnTo>
                  <a:pt x="598" y="255"/>
                </a:lnTo>
                <a:lnTo>
                  <a:pt x="602" y="258"/>
                </a:lnTo>
                <a:lnTo>
                  <a:pt x="607" y="259"/>
                </a:lnTo>
                <a:lnTo>
                  <a:pt x="611" y="260"/>
                </a:lnTo>
                <a:lnTo>
                  <a:pt x="615" y="263"/>
                </a:lnTo>
                <a:lnTo>
                  <a:pt x="618" y="268"/>
                </a:lnTo>
                <a:lnTo>
                  <a:pt x="618" y="271"/>
                </a:lnTo>
                <a:lnTo>
                  <a:pt x="617" y="275"/>
                </a:lnTo>
                <a:lnTo>
                  <a:pt x="615" y="280"/>
                </a:lnTo>
                <a:lnTo>
                  <a:pt x="592" y="306"/>
                </a:lnTo>
                <a:lnTo>
                  <a:pt x="588" y="313"/>
                </a:lnTo>
                <a:lnTo>
                  <a:pt x="585" y="321"/>
                </a:lnTo>
                <a:lnTo>
                  <a:pt x="584" y="337"/>
                </a:lnTo>
                <a:lnTo>
                  <a:pt x="585" y="346"/>
                </a:lnTo>
                <a:lnTo>
                  <a:pt x="576" y="376"/>
                </a:lnTo>
                <a:lnTo>
                  <a:pt x="575" y="385"/>
                </a:lnTo>
                <a:lnTo>
                  <a:pt x="576" y="391"/>
                </a:lnTo>
                <a:lnTo>
                  <a:pt x="579" y="396"/>
                </a:lnTo>
                <a:lnTo>
                  <a:pt x="583" y="395"/>
                </a:lnTo>
                <a:lnTo>
                  <a:pt x="588" y="390"/>
                </a:lnTo>
                <a:lnTo>
                  <a:pt x="596" y="382"/>
                </a:lnTo>
                <a:lnTo>
                  <a:pt x="604" y="372"/>
                </a:lnTo>
                <a:lnTo>
                  <a:pt x="608" y="367"/>
                </a:lnTo>
                <a:lnTo>
                  <a:pt x="615" y="365"/>
                </a:lnTo>
                <a:lnTo>
                  <a:pt x="621" y="367"/>
                </a:lnTo>
                <a:lnTo>
                  <a:pt x="627" y="371"/>
                </a:lnTo>
                <a:lnTo>
                  <a:pt x="634" y="377"/>
                </a:lnTo>
                <a:lnTo>
                  <a:pt x="642" y="383"/>
                </a:lnTo>
                <a:lnTo>
                  <a:pt x="646" y="386"/>
                </a:lnTo>
                <a:lnTo>
                  <a:pt x="651" y="391"/>
                </a:lnTo>
                <a:lnTo>
                  <a:pt x="654" y="399"/>
                </a:lnTo>
                <a:lnTo>
                  <a:pt x="656" y="409"/>
                </a:lnTo>
                <a:lnTo>
                  <a:pt x="654" y="418"/>
                </a:lnTo>
                <a:lnTo>
                  <a:pt x="651" y="429"/>
                </a:lnTo>
                <a:lnTo>
                  <a:pt x="648" y="436"/>
                </a:lnTo>
                <a:lnTo>
                  <a:pt x="645" y="440"/>
                </a:lnTo>
                <a:lnTo>
                  <a:pt x="634" y="450"/>
                </a:lnTo>
                <a:lnTo>
                  <a:pt x="631" y="454"/>
                </a:lnTo>
                <a:lnTo>
                  <a:pt x="631" y="459"/>
                </a:lnTo>
                <a:lnTo>
                  <a:pt x="635" y="477"/>
                </a:lnTo>
                <a:lnTo>
                  <a:pt x="635" y="483"/>
                </a:lnTo>
                <a:lnTo>
                  <a:pt x="633" y="490"/>
                </a:lnTo>
                <a:lnTo>
                  <a:pt x="628" y="496"/>
                </a:lnTo>
                <a:lnTo>
                  <a:pt x="622" y="502"/>
                </a:lnTo>
                <a:lnTo>
                  <a:pt x="614" y="507"/>
                </a:lnTo>
                <a:lnTo>
                  <a:pt x="602" y="511"/>
                </a:lnTo>
                <a:lnTo>
                  <a:pt x="590" y="509"/>
                </a:lnTo>
                <a:lnTo>
                  <a:pt x="581" y="507"/>
                </a:lnTo>
                <a:lnTo>
                  <a:pt x="569" y="503"/>
                </a:lnTo>
                <a:lnTo>
                  <a:pt x="560" y="501"/>
                </a:lnTo>
                <a:lnTo>
                  <a:pt x="537" y="504"/>
                </a:lnTo>
                <a:lnTo>
                  <a:pt x="526" y="503"/>
                </a:lnTo>
                <a:lnTo>
                  <a:pt x="518" y="500"/>
                </a:lnTo>
                <a:lnTo>
                  <a:pt x="507" y="490"/>
                </a:lnTo>
                <a:lnTo>
                  <a:pt x="503" y="485"/>
                </a:lnTo>
                <a:lnTo>
                  <a:pt x="499" y="476"/>
                </a:lnTo>
                <a:lnTo>
                  <a:pt x="494" y="475"/>
                </a:lnTo>
                <a:lnTo>
                  <a:pt x="489" y="475"/>
                </a:lnTo>
                <a:lnTo>
                  <a:pt x="482" y="479"/>
                </a:lnTo>
                <a:lnTo>
                  <a:pt x="473" y="483"/>
                </a:lnTo>
                <a:lnTo>
                  <a:pt x="452" y="494"/>
                </a:lnTo>
                <a:lnTo>
                  <a:pt x="446" y="501"/>
                </a:lnTo>
                <a:lnTo>
                  <a:pt x="428" y="520"/>
                </a:lnTo>
                <a:lnTo>
                  <a:pt x="419" y="526"/>
                </a:lnTo>
                <a:lnTo>
                  <a:pt x="404" y="529"/>
                </a:lnTo>
                <a:lnTo>
                  <a:pt x="361" y="531"/>
                </a:lnTo>
                <a:lnTo>
                  <a:pt x="349" y="530"/>
                </a:lnTo>
                <a:lnTo>
                  <a:pt x="336" y="525"/>
                </a:lnTo>
                <a:lnTo>
                  <a:pt x="325" y="522"/>
                </a:lnTo>
                <a:lnTo>
                  <a:pt x="313" y="522"/>
                </a:lnTo>
                <a:lnTo>
                  <a:pt x="274" y="527"/>
                </a:lnTo>
                <a:lnTo>
                  <a:pt x="261" y="529"/>
                </a:lnTo>
                <a:lnTo>
                  <a:pt x="222" y="548"/>
                </a:lnTo>
                <a:lnTo>
                  <a:pt x="180" y="557"/>
                </a:lnTo>
                <a:lnTo>
                  <a:pt x="130" y="560"/>
                </a:lnTo>
                <a:lnTo>
                  <a:pt x="121" y="560"/>
                </a:lnTo>
                <a:lnTo>
                  <a:pt x="121" y="560"/>
                </a:lnTo>
                <a:lnTo>
                  <a:pt x="116" y="556"/>
                </a:lnTo>
                <a:lnTo>
                  <a:pt x="111" y="552"/>
                </a:lnTo>
                <a:lnTo>
                  <a:pt x="104" y="545"/>
                </a:lnTo>
                <a:lnTo>
                  <a:pt x="103" y="540"/>
                </a:lnTo>
                <a:lnTo>
                  <a:pt x="103" y="527"/>
                </a:lnTo>
                <a:lnTo>
                  <a:pt x="102" y="521"/>
                </a:lnTo>
                <a:lnTo>
                  <a:pt x="97" y="507"/>
                </a:lnTo>
                <a:lnTo>
                  <a:pt x="83" y="486"/>
                </a:lnTo>
                <a:lnTo>
                  <a:pt x="79" y="473"/>
                </a:lnTo>
                <a:lnTo>
                  <a:pt x="80" y="467"/>
                </a:lnTo>
                <a:lnTo>
                  <a:pt x="84" y="463"/>
                </a:lnTo>
                <a:lnTo>
                  <a:pt x="86" y="457"/>
                </a:lnTo>
                <a:lnTo>
                  <a:pt x="86" y="451"/>
                </a:lnTo>
                <a:lnTo>
                  <a:pt x="82" y="438"/>
                </a:lnTo>
                <a:lnTo>
                  <a:pt x="80" y="434"/>
                </a:lnTo>
                <a:lnTo>
                  <a:pt x="80" y="426"/>
                </a:lnTo>
                <a:lnTo>
                  <a:pt x="82" y="421"/>
                </a:lnTo>
                <a:lnTo>
                  <a:pt x="86" y="408"/>
                </a:lnTo>
                <a:lnTo>
                  <a:pt x="87" y="401"/>
                </a:lnTo>
                <a:lnTo>
                  <a:pt x="86" y="393"/>
                </a:lnTo>
                <a:lnTo>
                  <a:pt x="83" y="380"/>
                </a:lnTo>
                <a:lnTo>
                  <a:pt x="83" y="373"/>
                </a:lnTo>
                <a:lnTo>
                  <a:pt x="80" y="367"/>
                </a:lnTo>
                <a:lnTo>
                  <a:pt x="75" y="364"/>
                </a:lnTo>
                <a:lnTo>
                  <a:pt x="69" y="362"/>
                </a:lnTo>
                <a:lnTo>
                  <a:pt x="64" y="358"/>
                </a:lnTo>
                <a:lnTo>
                  <a:pt x="64" y="352"/>
                </a:lnTo>
                <a:lnTo>
                  <a:pt x="70" y="334"/>
                </a:lnTo>
                <a:lnTo>
                  <a:pt x="71" y="321"/>
                </a:lnTo>
                <a:lnTo>
                  <a:pt x="71" y="314"/>
                </a:lnTo>
                <a:lnTo>
                  <a:pt x="69" y="309"/>
                </a:lnTo>
                <a:lnTo>
                  <a:pt x="64" y="304"/>
                </a:lnTo>
                <a:lnTo>
                  <a:pt x="53" y="299"/>
                </a:lnTo>
                <a:lnTo>
                  <a:pt x="49" y="296"/>
                </a:lnTo>
                <a:lnTo>
                  <a:pt x="48" y="282"/>
                </a:lnTo>
                <a:lnTo>
                  <a:pt x="52" y="268"/>
                </a:lnTo>
                <a:lnTo>
                  <a:pt x="53" y="256"/>
                </a:lnTo>
                <a:lnTo>
                  <a:pt x="44" y="248"/>
                </a:lnTo>
                <a:lnTo>
                  <a:pt x="19" y="242"/>
                </a:lnTo>
                <a:lnTo>
                  <a:pt x="8" y="236"/>
                </a:lnTo>
                <a:lnTo>
                  <a:pt x="4" y="234"/>
                </a:lnTo>
                <a:lnTo>
                  <a:pt x="4" y="234"/>
                </a:lnTo>
                <a:lnTo>
                  <a:pt x="1" y="229"/>
                </a:lnTo>
                <a:lnTo>
                  <a:pt x="0" y="224"/>
                </a:lnTo>
                <a:lnTo>
                  <a:pt x="2" y="217"/>
                </a:lnTo>
                <a:lnTo>
                  <a:pt x="12" y="211"/>
                </a:lnTo>
                <a:lnTo>
                  <a:pt x="17" y="204"/>
                </a:lnTo>
                <a:lnTo>
                  <a:pt x="20" y="194"/>
                </a:lnTo>
                <a:lnTo>
                  <a:pt x="25" y="185"/>
                </a:lnTo>
                <a:lnTo>
                  <a:pt x="19" y="204"/>
                </a:lnTo>
                <a:lnTo>
                  <a:pt x="17" y="208"/>
                </a:lnTo>
                <a:lnTo>
                  <a:pt x="21" y="222"/>
                </a:lnTo>
                <a:lnTo>
                  <a:pt x="28" y="216"/>
                </a:lnTo>
                <a:lnTo>
                  <a:pt x="33" y="195"/>
                </a:lnTo>
                <a:lnTo>
                  <a:pt x="39" y="185"/>
                </a:lnTo>
                <a:lnTo>
                  <a:pt x="58" y="204"/>
                </a:lnTo>
                <a:lnTo>
                  <a:pt x="66" y="200"/>
                </a:lnTo>
                <a:lnTo>
                  <a:pt x="115" y="190"/>
                </a:lnTo>
                <a:lnTo>
                  <a:pt x="124" y="191"/>
                </a:lnTo>
                <a:lnTo>
                  <a:pt x="129" y="192"/>
                </a:lnTo>
                <a:lnTo>
                  <a:pt x="134" y="192"/>
                </a:lnTo>
                <a:lnTo>
                  <a:pt x="140" y="190"/>
                </a:lnTo>
                <a:lnTo>
                  <a:pt x="155" y="171"/>
                </a:lnTo>
                <a:lnTo>
                  <a:pt x="159" y="169"/>
                </a:lnTo>
                <a:lnTo>
                  <a:pt x="185" y="116"/>
                </a:lnTo>
                <a:lnTo>
                  <a:pt x="191" y="106"/>
                </a:lnTo>
                <a:lnTo>
                  <a:pt x="206" y="110"/>
                </a:lnTo>
                <a:lnTo>
                  <a:pt x="209" y="126"/>
                </a:lnTo>
                <a:lnTo>
                  <a:pt x="204" y="157"/>
                </a:lnTo>
                <a:lnTo>
                  <a:pt x="212" y="153"/>
                </a:lnTo>
                <a:lnTo>
                  <a:pt x="216" y="146"/>
                </a:lnTo>
                <a:lnTo>
                  <a:pt x="220" y="140"/>
                </a:lnTo>
                <a:lnTo>
                  <a:pt x="226" y="132"/>
                </a:lnTo>
                <a:lnTo>
                  <a:pt x="231" y="127"/>
                </a:lnTo>
                <a:lnTo>
                  <a:pt x="253" y="114"/>
                </a:lnTo>
                <a:lnTo>
                  <a:pt x="263" y="102"/>
                </a:lnTo>
                <a:lnTo>
                  <a:pt x="269" y="88"/>
                </a:lnTo>
                <a:lnTo>
                  <a:pt x="272" y="73"/>
                </a:lnTo>
                <a:lnTo>
                  <a:pt x="276" y="48"/>
                </a:lnTo>
                <a:lnTo>
                  <a:pt x="286" y="23"/>
                </a:lnTo>
                <a:lnTo>
                  <a:pt x="300" y="0"/>
                </a:lnTo>
                <a:lnTo>
                  <a:pt x="302" y="0"/>
                </a:lnTo>
                <a:lnTo>
                  <a:pt x="306" y="1"/>
                </a:lnTo>
                <a:lnTo>
                  <a:pt x="358" y="3"/>
                </a:lnTo>
                <a:lnTo>
                  <a:pt x="364" y="6"/>
                </a:lnTo>
                <a:lnTo>
                  <a:pt x="391" y="1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9" name="Freeform 23">
            <a:extLst>
              <a:ext uri="{FF2B5EF4-FFF2-40B4-BE49-F238E27FC236}">
                <a16:creationId xmlns:a16="http://schemas.microsoft.com/office/drawing/2014/main" id="{05E3130B-EA9C-6776-C54C-A4968209D927}"/>
              </a:ext>
            </a:extLst>
          </p:cNvPr>
          <p:cNvSpPr>
            <a:spLocks/>
          </p:cNvSpPr>
          <p:nvPr/>
        </p:nvSpPr>
        <p:spPr bwMode="auto">
          <a:xfrm>
            <a:off x="5628803" y="2003985"/>
            <a:ext cx="973340" cy="850448"/>
          </a:xfrm>
          <a:custGeom>
            <a:avLst/>
            <a:gdLst>
              <a:gd name="T0" fmla="*/ 437 w 626"/>
              <a:gd name="T1" fmla="*/ 194 h 578"/>
              <a:gd name="T2" fmla="*/ 453 w 626"/>
              <a:gd name="T3" fmla="*/ 187 h 578"/>
              <a:gd name="T4" fmla="*/ 472 w 626"/>
              <a:gd name="T5" fmla="*/ 174 h 578"/>
              <a:gd name="T6" fmla="*/ 487 w 626"/>
              <a:gd name="T7" fmla="*/ 183 h 578"/>
              <a:gd name="T8" fmla="*/ 517 w 626"/>
              <a:gd name="T9" fmla="*/ 172 h 578"/>
              <a:gd name="T10" fmla="*/ 549 w 626"/>
              <a:gd name="T11" fmla="*/ 174 h 578"/>
              <a:gd name="T12" fmla="*/ 621 w 626"/>
              <a:gd name="T13" fmla="*/ 226 h 578"/>
              <a:gd name="T14" fmla="*/ 622 w 626"/>
              <a:gd name="T15" fmla="*/ 275 h 578"/>
              <a:gd name="T16" fmla="*/ 624 w 626"/>
              <a:gd name="T17" fmla="*/ 326 h 578"/>
              <a:gd name="T18" fmla="*/ 607 w 626"/>
              <a:gd name="T19" fmla="*/ 359 h 578"/>
              <a:gd name="T20" fmla="*/ 603 w 626"/>
              <a:gd name="T21" fmla="*/ 381 h 578"/>
              <a:gd name="T22" fmla="*/ 593 w 626"/>
              <a:gd name="T23" fmla="*/ 392 h 578"/>
              <a:gd name="T24" fmla="*/ 598 w 626"/>
              <a:gd name="T25" fmla="*/ 405 h 578"/>
              <a:gd name="T26" fmla="*/ 604 w 626"/>
              <a:gd name="T27" fmla="*/ 430 h 578"/>
              <a:gd name="T28" fmla="*/ 596 w 626"/>
              <a:gd name="T29" fmla="*/ 449 h 578"/>
              <a:gd name="T30" fmla="*/ 587 w 626"/>
              <a:gd name="T31" fmla="*/ 481 h 578"/>
              <a:gd name="T32" fmla="*/ 557 w 626"/>
              <a:gd name="T33" fmla="*/ 493 h 578"/>
              <a:gd name="T34" fmla="*/ 539 w 626"/>
              <a:gd name="T35" fmla="*/ 482 h 578"/>
              <a:gd name="T36" fmla="*/ 522 w 626"/>
              <a:gd name="T37" fmla="*/ 478 h 578"/>
              <a:gd name="T38" fmla="*/ 508 w 626"/>
              <a:gd name="T39" fmla="*/ 488 h 578"/>
              <a:gd name="T40" fmla="*/ 502 w 626"/>
              <a:gd name="T41" fmla="*/ 507 h 578"/>
              <a:gd name="T42" fmla="*/ 470 w 626"/>
              <a:gd name="T43" fmla="*/ 512 h 578"/>
              <a:gd name="T44" fmla="*/ 432 w 626"/>
              <a:gd name="T45" fmla="*/ 534 h 578"/>
              <a:gd name="T46" fmla="*/ 373 w 626"/>
              <a:gd name="T47" fmla="*/ 526 h 578"/>
              <a:gd name="T48" fmla="*/ 325 w 626"/>
              <a:gd name="T49" fmla="*/ 550 h 578"/>
              <a:gd name="T50" fmla="*/ 279 w 626"/>
              <a:gd name="T51" fmla="*/ 553 h 578"/>
              <a:gd name="T52" fmla="*/ 238 w 626"/>
              <a:gd name="T53" fmla="*/ 577 h 578"/>
              <a:gd name="T54" fmla="*/ 194 w 626"/>
              <a:gd name="T55" fmla="*/ 568 h 578"/>
              <a:gd name="T56" fmla="*/ 166 w 626"/>
              <a:gd name="T57" fmla="*/ 545 h 578"/>
              <a:gd name="T58" fmla="*/ 143 w 626"/>
              <a:gd name="T59" fmla="*/ 540 h 578"/>
              <a:gd name="T60" fmla="*/ 60 w 626"/>
              <a:gd name="T61" fmla="*/ 572 h 578"/>
              <a:gd name="T62" fmla="*/ 6 w 626"/>
              <a:gd name="T63" fmla="*/ 530 h 578"/>
              <a:gd name="T64" fmla="*/ 2 w 626"/>
              <a:gd name="T65" fmla="*/ 486 h 578"/>
              <a:gd name="T66" fmla="*/ 12 w 626"/>
              <a:gd name="T67" fmla="*/ 416 h 578"/>
              <a:gd name="T68" fmla="*/ 28 w 626"/>
              <a:gd name="T69" fmla="*/ 370 h 578"/>
              <a:gd name="T70" fmla="*/ 51 w 626"/>
              <a:gd name="T71" fmla="*/ 351 h 578"/>
              <a:gd name="T72" fmla="*/ 80 w 626"/>
              <a:gd name="T73" fmla="*/ 306 h 578"/>
              <a:gd name="T74" fmla="*/ 95 w 626"/>
              <a:gd name="T75" fmla="*/ 294 h 578"/>
              <a:gd name="T76" fmla="*/ 158 w 626"/>
              <a:gd name="T77" fmla="*/ 138 h 578"/>
              <a:gd name="T78" fmla="*/ 175 w 626"/>
              <a:gd name="T79" fmla="*/ 158 h 578"/>
              <a:gd name="T80" fmla="*/ 192 w 626"/>
              <a:gd name="T81" fmla="*/ 157 h 578"/>
              <a:gd name="T82" fmla="*/ 200 w 626"/>
              <a:gd name="T83" fmla="*/ 137 h 578"/>
              <a:gd name="T84" fmla="*/ 216 w 626"/>
              <a:gd name="T85" fmla="*/ 129 h 578"/>
              <a:gd name="T86" fmla="*/ 223 w 626"/>
              <a:gd name="T87" fmla="*/ 121 h 578"/>
              <a:gd name="T88" fmla="*/ 216 w 626"/>
              <a:gd name="T89" fmla="*/ 105 h 578"/>
              <a:gd name="T90" fmla="*/ 196 w 626"/>
              <a:gd name="T91" fmla="*/ 93 h 578"/>
              <a:gd name="T92" fmla="*/ 198 w 626"/>
              <a:gd name="T93" fmla="*/ 83 h 578"/>
              <a:gd name="T94" fmla="*/ 214 w 626"/>
              <a:gd name="T95" fmla="*/ 49 h 578"/>
              <a:gd name="T96" fmla="*/ 232 w 626"/>
              <a:gd name="T97" fmla="*/ 39 h 578"/>
              <a:gd name="T98" fmla="*/ 238 w 626"/>
              <a:gd name="T99" fmla="*/ 29 h 578"/>
              <a:gd name="T100" fmla="*/ 245 w 626"/>
              <a:gd name="T101" fmla="*/ 14 h 578"/>
              <a:gd name="T102" fmla="*/ 259 w 626"/>
              <a:gd name="T103" fmla="*/ 8 h 578"/>
              <a:gd name="T104" fmla="*/ 265 w 626"/>
              <a:gd name="T105" fmla="*/ 1 h 578"/>
              <a:gd name="T106" fmla="*/ 277 w 626"/>
              <a:gd name="T107" fmla="*/ 8 h 578"/>
              <a:gd name="T108" fmla="*/ 304 w 626"/>
              <a:gd name="T109" fmla="*/ 53 h 578"/>
              <a:gd name="T110" fmla="*/ 324 w 626"/>
              <a:gd name="T111" fmla="*/ 90 h 578"/>
              <a:gd name="T112" fmla="*/ 340 w 626"/>
              <a:gd name="T113" fmla="*/ 121 h 578"/>
              <a:gd name="T114" fmla="*/ 400 w 626"/>
              <a:gd name="T115" fmla="*/ 182 h 578"/>
              <a:gd name="T116" fmla="*/ 408 w 626"/>
              <a:gd name="T117" fmla="*/ 206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26" h="578">
                <a:moveTo>
                  <a:pt x="413" y="208"/>
                </a:moveTo>
                <a:lnTo>
                  <a:pt x="419" y="206"/>
                </a:lnTo>
                <a:lnTo>
                  <a:pt x="437" y="194"/>
                </a:lnTo>
                <a:lnTo>
                  <a:pt x="443" y="190"/>
                </a:lnTo>
                <a:lnTo>
                  <a:pt x="447" y="189"/>
                </a:lnTo>
                <a:lnTo>
                  <a:pt x="453" y="187"/>
                </a:lnTo>
                <a:lnTo>
                  <a:pt x="457" y="184"/>
                </a:lnTo>
                <a:lnTo>
                  <a:pt x="465" y="179"/>
                </a:lnTo>
                <a:lnTo>
                  <a:pt x="472" y="174"/>
                </a:lnTo>
                <a:lnTo>
                  <a:pt x="479" y="174"/>
                </a:lnTo>
                <a:lnTo>
                  <a:pt x="484" y="179"/>
                </a:lnTo>
                <a:lnTo>
                  <a:pt x="487" y="183"/>
                </a:lnTo>
                <a:lnTo>
                  <a:pt x="491" y="185"/>
                </a:lnTo>
                <a:lnTo>
                  <a:pt x="499" y="182"/>
                </a:lnTo>
                <a:lnTo>
                  <a:pt x="517" y="172"/>
                </a:lnTo>
                <a:lnTo>
                  <a:pt x="523" y="171"/>
                </a:lnTo>
                <a:lnTo>
                  <a:pt x="533" y="172"/>
                </a:lnTo>
                <a:lnTo>
                  <a:pt x="549" y="174"/>
                </a:lnTo>
                <a:lnTo>
                  <a:pt x="558" y="173"/>
                </a:lnTo>
                <a:lnTo>
                  <a:pt x="576" y="181"/>
                </a:lnTo>
                <a:lnTo>
                  <a:pt x="621" y="226"/>
                </a:lnTo>
                <a:lnTo>
                  <a:pt x="615" y="244"/>
                </a:lnTo>
                <a:lnTo>
                  <a:pt x="615" y="251"/>
                </a:lnTo>
                <a:lnTo>
                  <a:pt x="622" y="275"/>
                </a:lnTo>
                <a:lnTo>
                  <a:pt x="626" y="299"/>
                </a:lnTo>
                <a:lnTo>
                  <a:pt x="626" y="313"/>
                </a:lnTo>
                <a:lnTo>
                  <a:pt x="624" y="326"/>
                </a:lnTo>
                <a:lnTo>
                  <a:pt x="616" y="340"/>
                </a:lnTo>
                <a:lnTo>
                  <a:pt x="610" y="351"/>
                </a:lnTo>
                <a:lnTo>
                  <a:pt x="607" y="359"/>
                </a:lnTo>
                <a:lnTo>
                  <a:pt x="606" y="366"/>
                </a:lnTo>
                <a:lnTo>
                  <a:pt x="606" y="376"/>
                </a:lnTo>
                <a:lnTo>
                  <a:pt x="603" y="381"/>
                </a:lnTo>
                <a:lnTo>
                  <a:pt x="600" y="387"/>
                </a:lnTo>
                <a:lnTo>
                  <a:pt x="596" y="390"/>
                </a:lnTo>
                <a:lnTo>
                  <a:pt x="593" y="392"/>
                </a:lnTo>
                <a:lnTo>
                  <a:pt x="590" y="396"/>
                </a:lnTo>
                <a:lnTo>
                  <a:pt x="593" y="401"/>
                </a:lnTo>
                <a:lnTo>
                  <a:pt x="598" y="405"/>
                </a:lnTo>
                <a:lnTo>
                  <a:pt x="613" y="407"/>
                </a:lnTo>
                <a:lnTo>
                  <a:pt x="624" y="414"/>
                </a:lnTo>
                <a:lnTo>
                  <a:pt x="604" y="430"/>
                </a:lnTo>
                <a:lnTo>
                  <a:pt x="602" y="435"/>
                </a:lnTo>
                <a:lnTo>
                  <a:pt x="598" y="442"/>
                </a:lnTo>
                <a:lnTo>
                  <a:pt x="596" y="449"/>
                </a:lnTo>
                <a:lnTo>
                  <a:pt x="596" y="456"/>
                </a:lnTo>
                <a:lnTo>
                  <a:pt x="596" y="468"/>
                </a:lnTo>
                <a:lnTo>
                  <a:pt x="587" y="481"/>
                </a:lnTo>
                <a:lnTo>
                  <a:pt x="582" y="488"/>
                </a:lnTo>
                <a:lnTo>
                  <a:pt x="573" y="492"/>
                </a:lnTo>
                <a:lnTo>
                  <a:pt x="557" y="493"/>
                </a:lnTo>
                <a:lnTo>
                  <a:pt x="548" y="491"/>
                </a:lnTo>
                <a:lnTo>
                  <a:pt x="543" y="486"/>
                </a:lnTo>
                <a:lnTo>
                  <a:pt x="539" y="482"/>
                </a:lnTo>
                <a:lnTo>
                  <a:pt x="534" y="480"/>
                </a:lnTo>
                <a:lnTo>
                  <a:pt x="530" y="478"/>
                </a:lnTo>
                <a:lnTo>
                  <a:pt x="522" y="478"/>
                </a:lnTo>
                <a:lnTo>
                  <a:pt x="516" y="479"/>
                </a:lnTo>
                <a:lnTo>
                  <a:pt x="509" y="485"/>
                </a:lnTo>
                <a:lnTo>
                  <a:pt x="508" y="488"/>
                </a:lnTo>
                <a:lnTo>
                  <a:pt x="508" y="498"/>
                </a:lnTo>
                <a:lnTo>
                  <a:pt x="506" y="503"/>
                </a:lnTo>
                <a:lnTo>
                  <a:pt x="502" y="507"/>
                </a:lnTo>
                <a:lnTo>
                  <a:pt x="495" y="509"/>
                </a:lnTo>
                <a:lnTo>
                  <a:pt x="478" y="510"/>
                </a:lnTo>
                <a:lnTo>
                  <a:pt x="470" y="512"/>
                </a:lnTo>
                <a:lnTo>
                  <a:pt x="455" y="525"/>
                </a:lnTo>
                <a:lnTo>
                  <a:pt x="443" y="531"/>
                </a:lnTo>
                <a:lnTo>
                  <a:pt x="432" y="534"/>
                </a:lnTo>
                <a:lnTo>
                  <a:pt x="416" y="533"/>
                </a:lnTo>
                <a:lnTo>
                  <a:pt x="385" y="526"/>
                </a:lnTo>
                <a:lnTo>
                  <a:pt x="373" y="526"/>
                </a:lnTo>
                <a:lnTo>
                  <a:pt x="360" y="529"/>
                </a:lnTo>
                <a:lnTo>
                  <a:pt x="343" y="534"/>
                </a:lnTo>
                <a:lnTo>
                  <a:pt x="325" y="550"/>
                </a:lnTo>
                <a:lnTo>
                  <a:pt x="307" y="558"/>
                </a:lnTo>
                <a:lnTo>
                  <a:pt x="287" y="552"/>
                </a:lnTo>
                <a:lnTo>
                  <a:pt x="279" y="553"/>
                </a:lnTo>
                <a:lnTo>
                  <a:pt x="268" y="559"/>
                </a:lnTo>
                <a:lnTo>
                  <a:pt x="249" y="574"/>
                </a:lnTo>
                <a:lnTo>
                  <a:pt x="238" y="577"/>
                </a:lnTo>
                <a:lnTo>
                  <a:pt x="223" y="578"/>
                </a:lnTo>
                <a:lnTo>
                  <a:pt x="207" y="574"/>
                </a:lnTo>
                <a:lnTo>
                  <a:pt x="194" y="568"/>
                </a:lnTo>
                <a:lnTo>
                  <a:pt x="173" y="555"/>
                </a:lnTo>
                <a:lnTo>
                  <a:pt x="169" y="550"/>
                </a:lnTo>
                <a:lnTo>
                  <a:pt x="166" y="545"/>
                </a:lnTo>
                <a:lnTo>
                  <a:pt x="161" y="542"/>
                </a:lnTo>
                <a:lnTo>
                  <a:pt x="153" y="540"/>
                </a:lnTo>
                <a:lnTo>
                  <a:pt x="143" y="540"/>
                </a:lnTo>
                <a:lnTo>
                  <a:pt x="125" y="543"/>
                </a:lnTo>
                <a:lnTo>
                  <a:pt x="108" y="547"/>
                </a:lnTo>
                <a:lnTo>
                  <a:pt x="60" y="572"/>
                </a:lnTo>
                <a:lnTo>
                  <a:pt x="29" y="574"/>
                </a:lnTo>
                <a:lnTo>
                  <a:pt x="24" y="552"/>
                </a:lnTo>
                <a:lnTo>
                  <a:pt x="6" y="530"/>
                </a:lnTo>
                <a:lnTo>
                  <a:pt x="0" y="519"/>
                </a:lnTo>
                <a:lnTo>
                  <a:pt x="1" y="504"/>
                </a:lnTo>
                <a:lnTo>
                  <a:pt x="2" y="486"/>
                </a:lnTo>
                <a:lnTo>
                  <a:pt x="13" y="440"/>
                </a:lnTo>
                <a:lnTo>
                  <a:pt x="11" y="428"/>
                </a:lnTo>
                <a:lnTo>
                  <a:pt x="12" y="416"/>
                </a:lnTo>
                <a:lnTo>
                  <a:pt x="13" y="404"/>
                </a:lnTo>
                <a:lnTo>
                  <a:pt x="22" y="380"/>
                </a:lnTo>
                <a:lnTo>
                  <a:pt x="28" y="370"/>
                </a:lnTo>
                <a:lnTo>
                  <a:pt x="35" y="364"/>
                </a:lnTo>
                <a:lnTo>
                  <a:pt x="43" y="357"/>
                </a:lnTo>
                <a:lnTo>
                  <a:pt x="51" y="351"/>
                </a:lnTo>
                <a:lnTo>
                  <a:pt x="68" y="317"/>
                </a:lnTo>
                <a:lnTo>
                  <a:pt x="74" y="312"/>
                </a:lnTo>
                <a:lnTo>
                  <a:pt x="80" y="306"/>
                </a:lnTo>
                <a:lnTo>
                  <a:pt x="86" y="303"/>
                </a:lnTo>
                <a:lnTo>
                  <a:pt x="91" y="300"/>
                </a:lnTo>
                <a:lnTo>
                  <a:pt x="95" y="294"/>
                </a:lnTo>
                <a:lnTo>
                  <a:pt x="105" y="276"/>
                </a:lnTo>
                <a:lnTo>
                  <a:pt x="152" y="168"/>
                </a:lnTo>
                <a:lnTo>
                  <a:pt x="158" y="138"/>
                </a:lnTo>
                <a:lnTo>
                  <a:pt x="169" y="154"/>
                </a:lnTo>
                <a:lnTo>
                  <a:pt x="171" y="156"/>
                </a:lnTo>
                <a:lnTo>
                  <a:pt x="175" y="158"/>
                </a:lnTo>
                <a:lnTo>
                  <a:pt x="180" y="160"/>
                </a:lnTo>
                <a:lnTo>
                  <a:pt x="185" y="160"/>
                </a:lnTo>
                <a:lnTo>
                  <a:pt x="192" y="157"/>
                </a:lnTo>
                <a:lnTo>
                  <a:pt x="196" y="153"/>
                </a:lnTo>
                <a:lnTo>
                  <a:pt x="198" y="147"/>
                </a:lnTo>
                <a:lnTo>
                  <a:pt x="200" y="137"/>
                </a:lnTo>
                <a:lnTo>
                  <a:pt x="204" y="134"/>
                </a:lnTo>
                <a:lnTo>
                  <a:pt x="208" y="132"/>
                </a:lnTo>
                <a:lnTo>
                  <a:pt x="216" y="129"/>
                </a:lnTo>
                <a:lnTo>
                  <a:pt x="220" y="127"/>
                </a:lnTo>
                <a:lnTo>
                  <a:pt x="223" y="124"/>
                </a:lnTo>
                <a:lnTo>
                  <a:pt x="223" y="121"/>
                </a:lnTo>
                <a:lnTo>
                  <a:pt x="221" y="116"/>
                </a:lnTo>
                <a:lnTo>
                  <a:pt x="219" y="110"/>
                </a:lnTo>
                <a:lnTo>
                  <a:pt x="216" y="105"/>
                </a:lnTo>
                <a:lnTo>
                  <a:pt x="211" y="101"/>
                </a:lnTo>
                <a:lnTo>
                  <a:pt x="199" y="96"/>
                </a:lnTo>
                <a:lnTo>
                  <a:pt x="196" y="93"/>
                </a:lnTo>
                <a:lnTo>
                  <a:pt x="194" y="90"/>
                </a:lnTo>
                <a:lnTo>
                  <a:pt x="195" y="86"/>
                </a:lnTo>
                <a:lnTo>
                  <a:pt x="198" y="83"/>
                </a:lnTo>
                <a:lnTo>
                  <a:pt x="204" y="72"/>
                </a:lnTo>
                <a:lnTo>
                  <a:pt x="212" y="53"/>
                </a:lnTo>
                <a:lnTo>
                  <a:pt x="214" y="49"/>
                </a:lnTo>
                <a:lnTo>
                  <a:pt x="218" y="45"/>
                </a:lnTo>
                <a:lnTo>
                  <a:pt x="221" y="44"/>
                </a:lnTo>
                <a:lnTo>
                  <a:pt x="232" y="39"/>
                </a:lnTo>
                <a:lnTo>
                  <a:pt x="235" y="37"/>
                </a:lnTo>
                <a:lnTo>
                  <a:pt x="237" y="33"/>
                </a:lnTo>
                <a:lnTo>
                  <a:pt x="238" y="29"/>
                </a:lnTo>
                <a:lnTo>
                  <a:pt x="239" y="24"/>
                </a:lnTo>
                <a:lnTo>
                  <a:pt x="242" y="18"/>
                </a:lnTo>
                <a:lnTo>
                  <a:pt x="245" y="14"/>
                </a:lnTo>
                <a:lnTo>
                  <a:pt x="248" y="11"/>
                </a:lnTo>
                <a:lnTo>
                  <a:pt x="251" y="10"/>
                </a:lnTo>
                <a:lnTo>
                  <a:pt x="259" y="8"/>
                </a:lnTo>
                <a:lnTo>
                  <a:pt x="261" y="5"/>
                </a:lnTo>
                <a:lnTo>
                  <a:pt x="263" y="3"/>
                </a:lnTo>
                <a:lnTo>
                  <a:pt x="265" y="1"/>
                </a:lnTo>
                <a:lnTo>
                  <a:pt x="270" y="0"/>
                </a:lnTo>
                <a:lnTo>
                  <a:pt x="275" y="4"/>
                </a:lnTo>
                <a:lnTo>
                  <a:pt x="277" y="8"/>
                </a:lnTo>
                <a:lnTo>
                  <a:pt x="277" y="16"/>
                </a:lnTo>
                <a:lnTo>
                  <a:pt x="279" y="20"/>
                </a:lnTo>
                <a:lnTo>
                  <a:pt x="304" y="53"/>
                </a:lnTo>
                <a:lnTo>
                  <a:pt x="314" y="72"/>
                </a:lnTo>
                <a:lnTo>
                  <a:pt x="322" y="84"/>
                </a:lnTo>
                <a:lnTo>
                  <a:pt x="324" y="90"/>
                </a:lnTo>
                <a:lnTo>
                  <a:pt x="328" y="106"/>
                </a:lnTo>
                <a:lnTo>
                  <a:pt x="330" y="114"/>
                </a:lnTo>
                <a:lnTo>
                  <a:pt x="340" y="121"/>
                </a:lnTo>
                <a:lnTo>
                  <a:pt x="382" y="151"/>
                </a:lnTo>
                <a:lnTo>
                  <a:pt x="394" y="168"/>
                </a:lnTo>
                <a:lnTo>
                  <a:pt x="400" y="182"/>
                </a:lnTo>
                <a:lnTo>
                  <a:pt x="401" y="193"/>
                </a:lnTo>
                <a:lnTo>
                  <a:pt x="404" y="199"/>
                </a:lnTo>
                <a:lnTo>
                  <a:pt x="408" y="206"/>
                </a:lnTo>
                <a:lnTo>
                  <a:pt x="413" y="20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0" name="Freeform 24">
            <a:extLst>
              <a:ext uri="{FF2B5EF4-FFF2-40B4-BE49-F238E27FC236}">
                <a16:creationId xmlns:a16="http://schemas.microsoft.com/office/drawing/2014/main" id="{05DAAD5A-8331-3282-A5FA-B8BCD883739F}"/>
              </a:ext>
            </a:extLst>
          </p:cNvPr>
          <p:cNvSpPr>
            <a:spLocks/>
          </p:cNvSpPr>
          <p:nvPr/>
        </p:nvSpPr>
        <p:spPr bwMode="auto">
          <a:xfrm>
            <a:off x="5830935" y="3066310"/>
            <a:ext cx="808526" cy="962272"/>
          </a:xfrm>
          <a:custGeom>
            <a:avLst/>
            <a:gdLst>
              <a:gd name="T0" fmla="*/ 369 w 520"/>
              <a:gd name="T1" fmla="*/ 37 h 654"/>
              <a:gd name="T2" fmla="*/ 403 w 520"/>
              <a:gd name="T3" fmla="*/ 39 h 654"/>
              <a:gd name="T4" fmla="*/ 421 w 520"/>
              <a:gd name="T5" fmla="*/ 19 h 654"/>
              <a:gd name="T6" fmla="*/ 443 w 520"/>
              <a:gd name="T7" fmla="*/ 16 h 654"/>
              <a:gd name="T8" fmla="*/ 481 w 520"/>
              <a:gd name="T9" fmla="*/ 33 h 654"/>
              <a:gd name="T10" fmla="*/ 505 w 520"/>
              <a:gd name="T11" fmla="*/ 44 h 654"/>
              <a:gd name="T12" fmla="*/ 515 w 520"/>
              <a:gd name="T13" fmla="*/ 61 h 654"/>
              <a:gd name="T14" fmla="*/ 511 w 520"/>
              <a:gd name="T15" fmla="*/ 84 h 654"/>
              <a:gd name="T16" fmla="*/ 519 w 520"/>
              <a:gd name="T17" fmla="*/ 119 h 654"/>
              <a:gd name="T18" fmla="*/ 510 w 520"/>
              <a:gd name="T19" fmla="*/ 138 h 654"/>
              <a:gd name="T20" fmla="*/ 482 w 520"/>
              <a:gd name="T21" fmla="*/ 158 h 654"/>
              <a:gd name="T22" fmla="*/ 468 w 520"/>
              <a:gd name="T23" fmla="*/ 175 h 654"/>
              <a:gd name="T24" fmla="*/ 456 w 520"/>
              <a:gd name="T25" fmla="*/ 189 h 654"/>
              <a:gd name="T26" fmla="*/ 456 w 520"/>
              <a:gd name="T27" fmla="*/ 223 h 654"/>
              <a:gd name="T28" fmla="*/ 465 w 520"/>
              <a:gd name="T29" fmla="*/ 243 h 654"/>
              <a:gd name="T30" fmla="*/ 473 w 520"/>
              <a:gd name="T31" fmla="*/ 268 h 654"/>
              <a:gd name="T32" fmla="*/ 450 w 520"/>
              <a:gd name="T33" fmla="*/ 327 h 654"/>
              <a:gd name="T34" fmla="*/ 429 w 520"/>
              <a:gd name="T35" fmla="*/ 370 h 654"/>
              <a:gd name="T36" fmla="*/ 441 w 520"/>
              <a:gd name="T37" fmla="*/ 384 h 654"/>
              <a:gd name="T38" fmla="*/ 448 w 520"/>
              <a:gd name="T39" fmla="*/ 415 h 654"/>
              <a:gd name="T40" fmla="*/ 456 w 520"/>
              <a:gd name="T41" fmla="*/ 441 h 654"/>
              <a:gd name="T42" fmla="*/ 428 w 520"/>
              <a:gd name="T43" fmla="*/ 460 h 654"/>
              <a:gd name="T44" fmla="*/ 419 w 520"/>
              <a:gd name="T45" fmla="*/ 516 h 654"/>
              <a:gd name="T46" fmla="*/ 422 w 520"/>
              <a:gd name="T47" fmla="*/ 527 h 654"/>
              <a:gd name="T48" fmla="*/ 401 w 520"/>
              <a:gd name="T49" fmla="*/ 547 h 654"/>
              <a:gd name="T50" fmla="*/ 395 w 520"/>
              <a:gd name="T51" fmla="*/ 572 h 654"/>
              <a:gd name="T52" fmla="*/ 355 w 520"/>
              <a:gd name="T53" fmla="*/ 589 h 654"/>
              <a:gd name="T54" fmla="*/ 229 w 520"/>
              <a:gd name="T55" fmla="*/ 611 h 654"/>
              <a:gd name="T56" fmla="*/ 179 w 520"/>
              <a:gd name="T57" fmla="*/ 647 h 654"/>
              <a:gd name="T58" fmla="*/ 123 w 520"/>
              <a:gd name="T59" fmla="*/ 652 h 654"/>
              <a:gd name="T60" fmla="*/ 88 w 520"/>
              <a:gd name="T61" fmla="*/ 633 h 654"/>
              <a:gd name="T62" fmla="*/ 47 w 520"/>
              <a:gd name="T63" fmla="*/ 587 h 654"/>
              <a:gd name="T64" fmla="*/ 29 w 520"/>
              <a:gd name="T65" fmla="*/ 575 h 654"/>
              <a:gd name="T66" fmla="*/ 19 w 520"/>
              <a:gd name="T67" fmla="*/ 557 h 654"/>
              <a:gd name="T68" fmla="*/ 9 w 520"/>
              <a:gd name="T69" fmla="*/ 550 h 654"/>
              <a:gd name="T70" fmla="*/ 0 w 520"/>
              <a:gd name="T71" fmla="*/ 523 h 654"/>
              <a:gd name="T72" fmla="*/ 73 w 520"/>
              <a:gd name="T73" fmla="*/ 460 h 654"/>
              <a:gd name="T74" fmla="*/ 76 w 520"/>
              <a:gd name="T75" fmla="*/ 438 h 654"/>
              <a:gd name="T76" fmla="*/ 69 w 520"/>
              <a:gd name="T77" fmla="*/ 418 h 654"/>
              <a:gd name="T78" fmla="*/ 82 w 520"/>
              <a:gd name="T79" fmla="*/ 309 h 654"/>
              <a:gd name="T80" fmla="*/ 83 w 520"/>
              <a:gd name="T81" fmla="*/ 246 h 654"/>
              <a:gd name="T82" fmla="*/ 95 w 520"/>
              <a:gd name="T83" fmla="*/ 229 h 654"/>
              <a:gd name="T84" fmla="*/ 136 w 520"/>
              <a:gd name="T85" fmla="*/ 219 h 654"/>
              <a:gd name="T86" fmla="*/ 181 w 520"/>
              <a:gd name="T87" fmla="*/ 161 h 654"/>
              <a:gd name="T88" fmla="*/ 183 w 520"/>
              <a:gd name="T89" fmla="*/ 104 h 654"/>
              <a:gd name="T90" fmla="*/ 182 w 520"/>
              <a:gd name="T91" fmla="*/ 70 h 654"/>
              <a:gd name="T92" fmla="*/ 167 w 520"/>
              <a:gd name="T93" fmla="*/ 37 h 654"/>
              <a:gd name="T94" fmla="*/ 203 w 520"/>
              <a:gd name="T95" fmla="*/ 5 h 654"/>
              <a:gd name="T96" fmla="*/ 230 w 520"/>
              <a:gd name="T97" fmla="*/ 3 h 654"/>
              <a:gd name="T98" fmla="*/ 272 w 520"/>
              <a:gd name="T99" fmla="*/ 30 h 654"/>
              <a:gd name="T100" fmla="*/ 341 w 520"/>
              <a:gd name="T101" fmla="*/ 44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20" h="654">
                <a:moveTo>
                  <a:pt x="341" y="44"/>
                </a:moveTo>
                <a:lnTo>
                  <a:pt x="357" y="42"/>
                </a:lnTo>
                <a:lnTo>
                  <a:pt x="369" y="37"/>
                </a:lnTo>
                <a:lnTo>
                  <a:pt x="381" y="36"/>
                </a:lnTo>
                <a:lnTo>
                  <a:pt x="392" y="37"/>
                </a:lnTo>
                <a:lnTo>
                  <a:pt x="403" y="39"/>
                </a:lnTo>
                <a:lnTo>
                  <a:pt x="412" y="37"/>
                </a:lnTo>
                <a:lnTo>
                  <a:pt x="417" y="30"/>
                </a:lnTo>
                <a:lnTo>
                  <a:pt x="421" y="19"/>
                </a:lnTo>
                <a:lnTo>
                  <a:pt x="428" y="12"/>
                </a:lnTo>
                <a:lnTo>
                  <a:pt x="434" y="11"/>
                </a:lnTo>
                <a:lnTo>
                  <a:pt x="443" y="16"/>
                </a:lnTo>
                <a:lnTo>
                  <a:pt x="459" y="25"/>
                </a:lnTo>
                <a:lnTo>
                  <a:pt x="468" y="30"/>
                </a:lnTo>
                <a:lnTo>
                  <a:pt x="481" y="33"/>
                </a:lnTo>
                <a:lnTo>
                  <a:pt x="489" y="36"/>
                </a:lnTo>
                <a:lnTo>
                  <a:pt x="496" y="41"/>
                </a:lnTo>
                <a:lnTo>
                  <a:pt x="505" y="44"/>
                </a:lnTo>
                <a:lnTo>
                  <a:pt x="509" y="46"/>
                </a:lnTo>
                <a:lnTo>
                  <a:pt x="512" y="49"/>
                </a:lnTo>
                <a:lnTo>
                  <a:pt x="515" y="61"/>
                </a:lnTo>
                <a:lnTo>
                  <a:pt x="520" y="69"/>
                </a:lnTo>
                <a:lnTo>
                  <a:pt x="513" y="78"/>
                </a:lnTo>
                <a:lnTo>
                  <a:pt x="511" y="84"/>
                </a:lnTo>
                <a:lnTo>
                  <a:pt x="511" y="94"/>
                </a:lnTo>
                <a:lnTo>
                  <a:pt x="518" y="112"/>
                </a:lnTo>
                <a:lnTo>
                  <a:pt x="519" y="119"/>
                </a:lnTo>
                <a:lnTo>
                  <a:pt x="518" y="126"/>
                </a:lnTo>
                <a:lnTo>
                  <a:pt x="516" y="133"/>
                </a:lnTo>
                <a:lnTo>
                  <a:pt x="510" y="138"/>
                </a:lnTo>
                <a:lnTo>
                  <a:pt x="504" y="144"/>
                </a:lnTo>
                <a:lnTo>
                  <a:pt x="489" y="152"/>
                </a:lnTo>
                <a:lnTo>
                  <a:pt x="482" y="158"/>
                </a:lnTo>
                <a:lnTo>
                  <a:pt x="478" y="163"/>
                </a:lnTo>
                <a:lnTo>
                  <a:pt x="472" y="171"/>
                </a:lnTo>
                <a:lnTo>
                  <a:pt x="468" y="175"/>
                </a:lnTo>
                <a:lnTo>
                  <a:pt x="464" y="179"/>
                </a:lnTo>
                <a:lnTo>
                  <a:pt x="459" y="183"/>
                </a:lnTo>
                <a:lnTo>
                  <a:pt x="456" y="189"/>
                </a:lnTo>
                <a:lnTo>
                  <a:pt x="455" y="197"/>
                </a:lnTo>
                <a:lnTo>
                  <a:pt x="455" y="211"/>
                </a:lnTo>
                <a:lnTo>
                  <a:pt x="456" y="223"/>
                </a:lnTo>
                <a:lnTo>
                  <a:pt x="458" y="233"/>
                </a:lnTo>
                <a:lnTo>
                  <a:pt x="461" y="239"/>
                </a:lnTo>
                <a:lnTo>
                  <a:pt x="465" y="243"/>
                </a:lnTo>
                <a:lnTo>
                  <a:pt x="469" y="246"/>
                </a:lnTo>
                <a:lnTo>
                  <a:pt x="471" y="252"/>
                </a:lnTo>
                <a:lnTo>
                  <a:pt x="473" y="268"/>
                </a:lnTo>
                <a:lnTo>
                  <a:pt x="478" y="289"/>
                </a:lnTo>
                <a:lnTo>
                  <a:pt x="477" y="297"/>
                </a:lnTo>
                <a:lnTo>
                  <a:pt x="450" y="327"/>
                </a:lnTo>
                <a:lnTo>
                  <a:pt x="431" y="355"/>
                </a:lnTo>
                <a:lnTo>
                  <a:pt x="428" y="362"/>
                </a:lnTo>
                <a:lnTo>
                  <a:pt x="429" y="370"/>
                </a:lnTo>
                <a:lnTo>
                  <a:pt x="431" y="375"/>
                </a:lnTo>
                <a:lnTo>
                  <a:pt x="437" y="381"/>
                </a:lnTo>
                <a:lnTo>
                  <a:pt x="441" y="384"/>
                </a:lnTo>
                <a:lnTo>
                  <a:pt x="446" y="391"/>
                </a:lnTo>
                <a:lnTo>
                  <a:pt x="448" y="399"/>
                </a:lnTo>
                <a:lnTo>
                  <a:pt x="448" y="415"/>
                </a:lnTo>
                <a:lnTo>
                  <a:pt x="451" y="423"/>
                </a:lnTo>
                <a:lnTo>
                  <a:pt x="458" y="436"/>
                </a:lnTo>
                <a:lnTo>
                  <a:pt x="456" y="441"/>
                </a:lnTo>
                <a:lnTo>
                  <a:pt x="447" y="448"/>
                </a:lnTo>
                <a:lnTo>
                  <a:pt x="438" y="452"/>
                </a:lnTo>
                <a:lnTo>
                  <a:pt x="428" y="460"/>
                </a:lnTo>
                <a:lnTo>
                  <a:pt x="421" y="471"/>
                </a:lnTo>
                <a:lnTo>
                  <a:pt x="417" y="490"/>
                </a:lnTo>
                <a:lnTo>
                  <a:pt x="419" y="516"/>
                </a:lnTo>
                <a:lnTo>
                  <a:pt x="420" y="519"/>
                </a:lnTo>
                <a:lnTo>
                  <a:pt x="422" y="523"/>
                </a:lnTo>
                <a:lnTo>
                  <a:pt x="422" y="527"/>
                </a:lnTo>
                <a:lnTo>
                  <a:pt x="419" y="532"/>
                </a:lnTo>
                <a:lnTo>
                  <a:pt x="407" y="540"/>
                </a:lnTo>
                <a:lnTo>
                  <a:pt x="401" y="547"/>
                </a:lnTo>
                <a:lnTo>
                  <a:pt x="399" y="556"/>
                </a:lnTo>
                <a:lnTo>
                  <a:pt x="399" y="563"/>
                </a:lnTo>
                <a:lnTo>
                  <a:pt x="395" y="572"/>
                </a:lnTo>
                <a:lnTo>
                  <a:pt x="391" y="578"/>
                </a:lnTo>
                <a:lnTo>
                  <a:pt x="368" y="594"/>
                </a:lnTo>
                <a:lnTo>
                  <a:pt x="355" y="589"/>
                </a:lnTo>
                <a:lnTo>
                  <a:pt x="271" y="599"/>
                </a:lnTo>
                <a:lnTo>
                  <a:pt x="246" y="604"/>
                </a:lnTo>
                <a:lnTo>
                  <a:pt x="229" y="611"/>
                </a:lnTo>
                <a:lnTo>
                  <a:pt x="213" y="626"/>
                </a:lnTo>
                <a:lnTo>
                  <a:pt x="203" y="635"/>
                </a:lnTo>
                <a:lnTo>
                  <a:pt x="179" y="647"/>
                </a:lnTo>
                <a:lnTo>
                  <a:pt x="158" y="652"/>
                </a:lnTo>
                <a:lnTo>
                  <a:pt x="139" y="654"/>
                </a:lnTo>
                <a:lnTo>
                  <a:pt x="123" y="652"/>
                </a:lnTo>
                <a:lnTo>
                  <a:pt x="115" y="648"/>
                </a:lnTo>
                <a:lnTo>
                  <a:pt x="102" y="639"/>
                </a:lnTo>
                <a:lnTo>
                  <a:pt x="88" y="633"/>
                </a:lnTo>
                <a:lnTo>
                  <a:pt x="78" y="627"/>
                </a:lnTo>
                <a:lnTo>
                  <a:pt x="68" y="617"/>
                </a:lnTo>
                <a:lnTo>
                  <a:pt x="47" y="587"/>
                </a:lnTo>
                <a:lnTo>
                  <a:pt x="40" y="582"/>
                </a:lnTo>
                <a:lnTo>
                  <a:pt x="34" y="578"/>
                </a:lnTo>
                <a:lnTo>
                  <a:pt x="29" y="575"/>
                </a:lnTo>
                <a:lnTo>
                  <a:pt x="26" y="569"/>
                </a:lnTo>
                <a:lnTo>
                  <a:pt x="23" y="560"/>
                </a:lnTo>
                <a:lnTo>
                  <a:pt x="19" y="557"/>
                </a:lnTo>
                <a:lnTo>
                  <a:pt x="16" y="555"/>
                </a:lnTo>
                <a:lnTo>
                  <a:pt x="12" y="553"/>
                </a:lnTo>
                <a:lnTo>
                  <a:pt x="9" y="550"/>
                </a:lnTo>
                <a:lnTo>
                  <a:pt x="4" y="543"/>
                </a:lnTo>
                <a:lnTo>
                  <a:pt x="2" y="540"/>
                </a:lnTo>
                <a:lnTo>
                  <a:pt x="0" y="523"/>
                </a:lnTo>
                <a:lnTo>
                  <a:pt x="36" y="503"/>
                </a:lnTo>
                <a:lnTo>
                  <a:pt x="60" y="479"/>
                </a:lnTo>
                <a:lnTo>
                  <a:pt x="73" y="460"/>
                </a:lnTo>
                <a:lnTo>
                  <a:pt x="76" y="452"/>
                </a:lnTo>
                <a:lnTo>
                  <a:pt x="77" y="445"/>
                </a:lnTo>
                <a:lnTo>
                  <a:pt x="76" y="438"/>
                </a:lnTo>
                <a:lnTo>
                  <a:pt x="73" y="432"/>
                </a:lnTo>
                <a:lnTo>
                  <a:pt x="70" y="425"/>
                </a:lnTo>
                <a:lnTo>
                  <a:pt x="69" y="418"/>
                </a:lnTo>
                <a:lnTo>
                  <a:pt x="87" y="331"/>
                </a:lnTo>
                <a:lnTo>
                  <a:pt x="87" y="323"/>
                </a:lnTo>
                <a:lnTo>
                  <a:pt x="82" y="309"/>
                </a:lnTo>
                <a:lnTo>
                  <a:pt x="81" y="288"/>
                </a:lnTo>
                <a:lnTo>
                  <a:pt x="83" y="258"/>
                </a:lnTo>
                <a:lnTo>
                  <a:pt x="83" y="246"/>
                </a:lnTo>
                <a:lnTo>
                  <a:pt x="86" y="240"/>
                </a:lnTo>
                <a:lnTo>
                  <a:pt x="89" y="235"/>
                </a:lnTo>
                <a:lnTo>
                  <a:pt x="95" y="229"/>
                </a:lnTo>
                <a:lnTo>
                  <a:pt x="103" y="226"/>
                </a:lnTo>
                <a:lnTo>
                  <a:pt x="127" y="223"/>
                </a:lnTo>
                <a:lnTo>
                  <a:pt x="136" y="219"/>
                </a:lnTo>
                <a:lnTo>
                  <a:pt x="160" y="199"/>
                </a:lnTo>
                <a:lnTo>
                  <a:pt x="173" y="178"/>
                </a:lnTo>
                <a:lnTo>
                  <a:pt x="181" y="161"/>
                </a:lnTo>
                <a:lnTo>
                  <a:pt x="183" y="142"/>
                </a:lnTo>
                <a:lnTo>
                  <a:pt x="182" y="121"/>
                </a:lnTo>
                <a:lnTo>
                  <a:pt x="183" y="104"/>
                </a:lnTo>
                <a:lnTo>
                  <a:pt x="185" y="89"/>
                </a:lnTo>
                <a:lnTo>
                  <a:pt x="185" y="78"/>
                </a:lnTo>
                <a:lnTo>
                  <a:pt x="182" y="70"/>
                </a:lnTo>
                <a:lnTo>
                  <a:pt x="171" y="52"/>
                </a:lnTo>
                <a:lnTo>
                  <a:pt x="168" y="44"/>
                </a:lnTo>
                <a:lnTo>
                  <a:pt x="167" y="37"/>
                </a:lnTo>
                <a:lnTo>
                  <a:pt x="167" y="23"/>
                </a:lnTo>
                <a:lnTo>
                  <a:pt x="181" y="19"/>
                </a:lnTo>
                <a:lnTo>
                  <a:pt x="203" y="5"/>
                </a:lnTo>
                <a:lnTo>
                  <a:pt x="211" y="0"/>
                </a:lnTo>
                <a:lnTo>
                  <a:pt x="221" y="0"/>
                </a:lnTo>
                <a:lnTo>
                  <a:pt x="230" y="3"/>
                </a:lnTo>
                <a:lnTo>
                  <a:pt x="238" y="7"/>
                </a:lnTo>
                <a:lnTo>
                  <a:pt x="259" y="22"/>
                </a:lnTo>
                <a:lnTo>
                  <a:pt x="272" y="30"/>
                </a:lnTo>
                <a:lnTo>
                  <a:pt x="288" y="36"/>
                </a:lnTo>
                <a:lnTo>
                  <a:pt x="324" y="44"/>
                </a:lnTo>
                <a:lnTo>
                  <a:pt x="341" y="44"/>
                </a:lnTo>
                <a:close/>
              </a:path>
            </a:pathLst>
          </a:custGeom>
          <a:solidFill>
            <a:srgbClr val="004B8E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1" name="Freeform 25">
            <a:extLst>
              <a:ext uri="{FF2B5EF4-FFF2-40B4-BE49-F238E27FC236}">
                <a16:creationId xmlns:a16="http://schemas.microsoft.com/office/drawing/2014/main" id="{A3F95BE5-8C19-8687-5D22-CAACD4646837}"/>
              </a:ext>
            </a:extLst>
          </p:cNvPr>
          <p:cNvSpPr>
            <a:spLocks/>
          </p:cNvSpPr>
          <p:nvPr/>
        </p:nvSpPr>
        <p:spPr bwMode="auto">
          <a:xfrm>
            <a:off x="6451323" y="494367"/>
            <a:ext cx="1060413" cy="828377"/>
          </a:xfrm>
          <a:custGeom>
            <a:avLst/>
            <a:gdLst>
              <a:gd name="T0" fmla="*/ 409 w 682"/>
              <a:gd name="T1" fmla="*/ 209 h 563"/>
              <a:gd name="T2" fmla="*/ 419 w 682"/>
              <a:gd name="T3" fmla="*/ 215 h 563"/>
              <a:gd name="T4" fmla="*/ 421 w 682"/>
              <a:gd name="T5" fmla="*/ 230 h 563"/>
              <a:gd name="T6" fmla="*/ 429 w 682"/>
              <a:gd name="T7" fmla="*/ 243 h 563"/>
              <a:gd name="T8" fmla="*/ 459 w 682"/>
              <a:gd name="T9" fmla="*/ 252 h 563"/>
              <a:gd name="T10" fmla="*/ 486 w 682"/>
              <a:gd name="T11" fmla="*/ 250 h 563"/>
              <a:gd name="T12" fmla="*/ 555 w 682"/>
              <a:gd name="T13" fmla="*/ 229 h 563"/>
              <a:gd name="T14" fmla="*/ 580 w 682"/>
              <a:gd name="T15" fmla="*/ 293 h 563"/>
              <a:gd name="T16" fmla="*/ 639 w 682"/>
              <a:gd name="T17" fmla="*/ 345 h 563"/>
              <a:gd name="T18" fmla="*/ 682 w 682"/>
              <a:gd name="T19" fmla="*/ 352 h 563"/>
              <a:gd name="T20" fmla="*/ 656 w 682"/>
              <a:gd name="T21" fmla="*/ 373 h 563"/>
              <a:gd name="T22" fmla="*/ 631 w 682"/>
              <a:gd name="T23" fmla="*/ 370 h 563"/>
              <a:gd name="T24" fmla="*/ 610 w 682"/>
              <a:gd name="T25" fmla="*/ 370 h 563"/>
              <a:gd name="T26" fmla="*/ 593 w 682"/>
              <a:gd name="T27" fmla="*/ 366 h 563"/>
              <a:gd name="T28" fmla="*/ 584 w 682"/>
              <a:gd name="T29" fmla="*/ 365 h 563"/>
              <a:gd name="T30" fmla="*/ 578 w 682"/>
              <a:gd name="T31" fmla="*/ 367 h 563"/>
              <a:gd name="T32" fmla="*/ 575 w 682"/>
              <a:gd name="T33" fmla="*/ 377 h 563"/>
              <a:gd name="T34" fmla="*/ 578 w 682"/>
              <a:gd name="T35" fmla="*/ 384 h 563"/>
              <a:gd name="T36" fmla="*/ 588 w 682"/>
              <a:gd name="T37" fmla="*/ 394 h 563"/>
              <a:gd name="T38" fmla="*/ 591 w 682"/>
              <a:gd name="T39" fmla="*/ 401 h 563"/>
              <a:gd name="T40" fmla="*/ 589 w 682"/>
              <a:gd name="T41" fmla="*/ 407 h 563"/>
              <a:gd name="T42" fmla="*/ 559 w 682"/>
              <a:gd name="T43" fmla="*/ 430 h 563"/>
              <a:gd name="T44" fmla="*/ 508 w 682"/>
              <a:gd name="T45" fmla="*/ 494 h 563"/>
              <a:gd name="T46" fmla="*/ 498 w 682"/>
              <a:gd name="T47" fmla="*/ 511 h 563"/>
              <a:gd name="T48" fmla="*/ 498 w 682"/>
              <a:gd name="T49" fmla="*/ 530 h 563"/>
              <a:gd name="T50" fmla="*/ 497 w 682"/>
              <a:gd name="T51" fmla="*/ 546 h 563"/>
              <a:gd name="T52" fmla="*/ 465 w 682"/>
              <a:gd name="T53" fmla="*/ 554 h 563"/>
              <a:gd name="T54" fmla="*/ 446 w 682"/>
              <a:gd name="T55" fmla="*/ 534 h 563"/>
              <a:gd name="T56" fmla="*/ 387 w 682"/>
              <a:gd name="T57" fmla="*/ 498 h 563"/>
              <a:gd name="T58" fmla="*/ 333 w 682"/>
              <a:gd name="T59" fmla="*/ 475 h 563"/>
              <a:gd name="T60" fmla="*/ 308 w 682"/>
              <a:gd name="T61" fmla="*/ 471 h 563"/>
              <a:gd name="T62" fmla="*/ 295 w 682"/>
              <a:gd name="T63" fmla="*/ 460 h 563"/>
              <a:gd name="T64" fmla="*/ 262 w 682"/>
              <a:gd name="T65" fmla="*/ 446 h 563"/>
              <a:gd name="T66" fmla="*/ 257 w 682"/>
              <a:gd name="T67" fmla="*/ 422 h 563"/>
              <a:gd name="T68" fmla="*/ 259 w 682"/>
              <a:gd name="T69" fmla="*/ 397 h 563"/>
              <a:gd name="T70" fmla="*/ 217 w 682"/>
              <a:gd name="T71" fmla="*/ 325 h 563"/>
              <a:gd name="T72" fmla="*/ 184 w 682"/>
              <a:gd name="T73" fmla="*/ 275 h 563"/>
              <a:gd name="T74" fmla="*/ 133 w 682"/>
              <a:gd name="T75" fmla="*/ 238 h 563"/>
              <a:gd name="T76" fmla="*/ 116 w 682"/>
              <a:gd name="T77" fmla="*/ 223 h 563"/>
              <a:gd name="T78" fmla="*/ 83 w 682"/>
              <a:gd name="T79" fmla="*/ 220 h 563"/>
              <a:gd name="T80" fmla="*/ 61 w 682"/>
              <a:gd name="T81" fmla="*/ 211 h 563"/>
              <a:gd name="T82" fmla="*/ 47 w 682"/>
              <a:gd name="T83" fmla="*/ 201 h 563"/>
              <a:gd name="T84" fmla="*/ 25 w 682"/>
              <a:gd name="T85" fmla="*/ 183 h 563"/>
              <a:gd name="T86" fmla="*/ 9 w 682"/>
              <a:gd name="T87" fmla="*/ 175 h 563"/>
              <a:gd name="T88" fmla="*/ 1 w 682"/>
              <a:gd name="T89" fmla="*/ 161 h 563"/>
              <a:gd name="T90" fmla="*/ 2 w 682"/>
              <a:gd name="T91" fmla="*/ 110 h 563"/>
              <a:gd name="T92" fmla="*/ 22 w 682"/>
              <a:gd name="T93" fmla="*/ 72 h 563"/>
              <a:gd name="T94" fmla="*/ 26 w 682"/>
              <a:gd name="T95" fmla="*/ 37 h 563"/>
              <a:gd name="T96" fmla="*/ 25 w 682"/>
              <a:gd name="T97" fmla="*/ 15 h 563"/>
              <a:gd name="T98" fmla="*/ 36 w 682"/>
              <a:gd name="T99" fmla="*/ 0 h 563"/>
              <a:gd name="T100" fmla="*/ 44 w 682"/>
              <a:gd name="T101" fmla="*/ 5 h 563"/>
              <a:gd name="T102" fmla="*/ 123 w 682"/>
              <a:gd name="T103" fmla="*/ 87 h 563"/>
              <a:gd name="T104" fmla="*/ 176 w 682"/>
              <a:gd name="T105" fmla="*/ 105 h 563"/>
              <a:gd name="T106" fmla="*/ 277 w 682"/>
              <a:gd name="T107" fmla="*/ 177 h 563"/>
              <a:gd name="T108" fmla="*/ 353 w 682"/>
              <a:gd name="T109" fmla="*/ 193 h 563"/>
              <a:gd name="T110" fmla="*/ 405 w 682"/>
              <a:gd name="T111" fmla="*/ 210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2" h="563">
                <a:moveTo>
                  <a:pt x="405" y="210"/>
                </a:moveTo>
                <a:lnTo>
                  <a:pt x="409" y="209"/>
                </a:lnTo>
                <a:lnTo>
                  <a:pt x="412" y="209"/>
                </a:lnTo>
                <a:lnTo>
                  <a:pt x="419" y="215"/>
                </a:lnTo>
                <a:lnTo>
                  <a:pt x="421" y="223"/>
                </a:lnTo>
                <a:lnTo>
                  <a:pt x="421" y="230"/>
                </a:lnTo>
                <a:lnTo>
                  <a:pt x="422" y="237"/>
                </a:lnTo>
                <a:lnTo>
                  <a:pt x="429" y="243"/>
                </a:lnTo>
                <a:lnTo>
                  <a:pt x="445" y="249"/>
                </a:lnTo>
                <a:lnTo>
                  <a:pt x="459" y="252"/>
                </a:lnTo>
                <a:lnTo>
                  <a:pt x="472" y="253"/>
                </a:lnTo>
                <a:lnTo>
                  <a:pt x="486" y="250"/>
                </a:lnTo>
                <a:lnTo>
                  <a:pt x="539" y="229"/>
                </a:lnTo>
                <a:lnTo>
                  <a:pt x="555" y="229"/>
                </a:lnTo>
                <a:lnTo>
                  <a:pt x="576" y="246"/>
                </a:lnTo>
                <a:lnTo>
                  <a:pt x="580" y="293"/>
                </a:lnTo>
                <a:lnTo>
                  <a:pt x="594" y="315"/>
                </a:lnTo>
                <a:lnTo>
                  <a:pt x="639" y="345"/>
                </a:lnTo>
                <a:lnTo>
                  <a:pt x="663" y="355"/>
                </a:lnTo>
                <a:lnTo>
                  <a:pt x="682" y="352"/>
                </a:lnTo>
                <a:lnTo>
                  <a:pt x="680" y="355"/>
                </a:lnTo>
                <a:lnTo>
                  <a:pt x="656" y="373"/>
                </a:lnTo>
                <a:lnTo>
                  <a:pt x="645" y="376"/>
                </a:lnTo>
                <a:lnTo>
                  <a:pt x="631" y="370"/>
                </a:lnTo>
                <a:lnTo>
                  <a:pt x="628" y="370"/>
                </a:lnTo>
                <a:lnTo>
                  <a:pt x="610" y="370"/>
                </a:lnTo>
                <a:lnTo>
                  <a:pt x="604" y="369"/>
                </a:lnTo>
                <a:lnTo>
                  <a:pt x="593" y="366"/>
                </a:lnTo>
                <a:lnTo>
                  <a:pt x="588" y="365"/>
                </a:lnTo>
                <a:lnTo>
                  <a:pt x="584" y="365"/>
                </a:lnTo>
                <a:lnTo>
                  <a:pt x="580" y="365"/>
                </a:lnTo>
                <a:lnTo>
                  <a:pt x="578" y="367"/>
                </a:lnTo>
                <a:lnTo>
                  <a:pt x="576" y="370"/>
                </a:lnTo>
                <a:lnTo>
                  <a:pt x="575" y="377"/>
                </a:lnTo>
                <a:lnTo>
                  <a:pt x="576" y="381"/>
                </a:lnTo>
                <a:lnTo>
                  <a:pt x="578" y="384"/>
                </a:lnTo>
                <a:lnTo>
                  <a:pt x="586" y="391"/>
                </a:lnTo>
                <a:lnTo>
                  <a:pt x="588" y="394"/>
                </a:lnTo>
                <a:lnTo>
                  <a:pt x="590" y="397"/>
                </a:lnTo>
                <a:lnTo>
                  <a:pt x="591" y="401"/>
                </a:lnTo>
                <a:lnTo>
                  <a:pt x="591" y="403"/>
                </a:lnTo>
                <a:lnTo>
                  <a:pt x="589" y="407"/>
                </a:lnTo>
                <a:lnTo>
                  <a:pt x="585" y="411"/>
                </a:lnTo>
                <a:lnTo>
                  <a:pt x="559" y="430"/>
                </a:lnTo>
                <a:lnTo>
                  <a:pt x="554" y="435"/>
                </a:lnTo>
                <a:lnTo>
                  <a:pt x="508" y="494"/>
                </a:lnTo>
                <a:lnTo>
                  <a:pt x="502" y="504"/>
                </a:lnTo>
                <a:lnTo>
                  <a:pt x="498" y="511"/>
                </a:lnTo>
                <a:lnTo>
                  <a:pt x="497" y="523"/>
                </a:lnTo>
                <a:lnTo>
                  <a:pt x="498" y="530"/>
                </a:lnTo>
                <a:lnTo>
                  <a:pt x="499" y="538"/>
                </a:lnTo>
                <a:lnTo>
                  <a:pt x="497" y="546"/>
                </a:lnTo>
                <a:lnTo>
                  <a:pt x="482" y="563"/>
                </a:lnTo>
                <a:lnTo>
                  <a:pt x="465" y="554"/>
                </a:lnTo>
                <a:lnTo>
                  <a:pt x="454" y="540"/>
                </a:lnTo>
                <a:lnTo>
                  <a:pt x="446" y="534"/>
                </a:lnTo>
                <a:lnTo>
                  <a:pt x="415" y="517"/>
                </a:lnTo>
                <a:lnTo>
                  <a:pt x="387" y="498"/>
                </a:lnTo>
                <a:lnTo>
                  <a:pt x="357" y="481"/>
                </a:lnTo>
                <a:lnTo>
                  <a:pt x="333" y="475"/>
                </a:lnTo>
                <a:lnTo>
                  <a:pt x="321" y="474"/>
                </a:lnTo>
                <a:lnTo>
                  <a:pt x="308" y="471"/>
                </a:lnTo>
                <a:lnTo>
                  <a:pt x="300" y="466"/>
                </a:lnTo>
                <a:lnTo>
                  <a:pt x="295" y="460"/>
                </a:lnTo>
                <a:lnTo>
                  <a:pt x="269" y="456"/>
                </a:lnTo>
                <a:lnTo>
                  <a:pt x="262" y="446"/>
                </a:lnTo>
                <a:lnTo>
                  <a:pt x="259" y="434"/>
                </a:lnTo>
                <a:lnTo>
                  <a:pt x="257" y="422"/>
                </a:lnTo>
                <a:lnTo>
                  <a:pt x="259" y="403"/>
                </a:lnTo>
                <a:lnTo>
                  <a:pt x="259" y="397"/>
                </a:lnTo>
                <a:lnTo>
                  <a:pt x="244" y="358"/>
                </a:lnTo>
                <a:lnTo>
                  <a:pt x="217" y="325"/>
                </a:lnTo>
                <a:lnTo>
                  <a:pt x="200" y="294"/>
                </a:lnTo>
                <a:lnTo>
                  <a:pt x="184" y="275"/>
                </a:lnTo>
                <a:lnTo>
                  <a:pt x="163" y="258"/>
                </a:lnTo>
                <a:lnTo>
                  <a:pt x="133" y="238"/>
                </a:lnTo>
                <a:lnTo>
                  <a:pt x="122" y="227"/>
                </a:lnTo>
                <a:lnTo>
                  <a:pt x="116" y="223"/>
                </a:lnTo>
                <a:lnTo>
                  <a:pt x="108" y="222"/>
                </a:lnTo>
                <a:lnTo>
                  <a:pt x="83" y="220"/>
                </a:lnTo>
                <a:lnTo>
                  <a:pt x="70" y="215"/>
                </a:lnTo>
                <a:lnTo>
                  <a:pt x="61" y="211"/>
                </a:lnTo>
                <a:lnTo>
                  <a:pt x="58" y="209"/>
                </a:lnTo>
                <a:lnTo>
                  <a:pt x="47" y="201"/>
                </a:lnTo>
                <a:lnTo>
                  <a:pt x="34" y="188"/>
                </a:lnTo>
                <a:lnTo>
                  <a:pt x="25" y="183"/>
                </a:lnTo>
                <a:lnTo>
                  <a:pt x="17" y="183"/>
                </a:lnTo>
                <a:lnTo>
                  <a:pt x="9" y="175"/>
                </a:lnTo>
                <a:lnTo>
                  <a:pt x="7" y="173"/>
                </a:lnTo>
                <a:lnTo>
                  <a:pt x="1" y="161"/>
                </a:lnTo>
                <a:lnTo>
                  <a:pt x="0" y="149"/>
                </a:lnTo>
                <a:lnTo>
                  <a:pt x="2" y="110"/>
                </a:lnTo>
                <a:lnTo>
                  <a:pt x="6" y="97"/>
                </a:lnTo>
                <a:lnTo>
                  <a:pt x="22" y="72"/>
                </a:lnTo>
                <a:lnTo>
                  <a:pt x="27" y="57"/>
                </a:lnTo>
                <a:lnTo>
                  <a:pt x="26" y="37"/>
                </a:lnTo>
                <a:lnTo>
                  <a:pt x="25" y="25"/>
                </a:lnTo>
                <a:lnTo>
                  <a:pt x="25" y="15"/>
                </a:lnTo>
                <a:lnTo>
                  <a:pt x="26" y="11"/>
                </a:lnTo>
                <a:lnTo>
                  <a:pt x="36" y="0"/>
                </a:lnTo>
                <a:lnTo>
                  <a:pt x="38" y="0"/>
                </a:lnTo>
                <a:lnTo>
                  <a:pt x="44" y="5"/>
                </a:lnTo>
                <a:lnTo>
                  <a:pt x="108" y="76"/>
                </a:lnTo>
                <a:lnTo>
                  <a:pt x="123" y="87"/>
                </a:lnTo>
                <a:lnTo>
                  <a:pt x="136" y="94"/>
                </a:lnTo>
                <a:lnTo>
                  <a:pt x="176" y="105"/>
                </a:lnTo>
                <a:lnTo>
                  <a:pt x="189" y="111"/>
                </a:lnTo>
                <a:lnTo>
                  <a:pt x="277" y="177"/>
                </a:lnTo>
                <a:lnTo>
                  <a:pt x="305" y="191"/>
                </a:lnTo>
                <a:lnTo>
                  <a:pt x="353" y="193"/>
                </a:lnTo>
                <a:lnTo>
                  <a:pt x="398" y="210"/>
                </a:lnTo>
                <a:lnTo>
                  <a:pt x="405" y="21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2" name="Freeform 26">
            <a:extLst>
              <a:ext uri="{FF2B5EF4-FFF2-40B4-BE49-F238E27FC236}">
                <a16:creationId xmlns:a16="http://schemas.microsoft.com/office/drawing/2014/main" id="{1A8DB738-0C1B-AB20-ACF3-01BF2D825061}"/>
              </a:ext>
            </a:extLst>
          </p:cNvPr>
          <p:cNvSpPr>
            <a:spLocks/>
          </p:cNvSpPr>
          <p:nvPr/>
        </p:nvSpPr>
        <p:spPr bwMode="auto">
          <a:xfrm>
            <a:off x="5429782" y="3835831"/>
            <a:ext cx="1075962" cy="613558"/>
          </a:xfrm>
          <a:custGeom>
            <a:avLst/>
            <a:gdLst>
              <a:gd name="T0" fmla="*/ 437 w 692"/>
              <a:gd name="T1" fmla="*/ 124 h 417"/>
              <a:gd name="T2" fmla="*/ 487 w 692"/>
              <a:gd name="T3" fmla="*/ 88 h 417"/>
              <a:gd name="T4" fmla="*/ 613 w 692"/>
              <a:gd name="T5" fmla="*/ 66 h 417"/>
              <a:gd name="T6" fmla="*/ 636 w 692"/>
              <a:gd name="T7" fmla="*/ 84 h 417"/>
              <a:gd name="T8" fmla="*/ 692 w 692"/>
              <a:gd name="T9" fmla="*/ 118 h 417"/>
              <a:gd name="T10" fmla="*/ 690 w 692"/>
              <a:gd name="T11" fmla="*/ 170 h 417"/>
              <a:gd name="T12" fmla="*/ 687 w 692"/>
              <a:gd name="T13" fmla="*/ 196 h 417"/>
              <a:gd name="T14" fmla="*/ 667 w 692"/>
              <a:gd name="T15" fmla="*/ 232 h 417"/>
              <a:gd name="T16" fmla="*/ 656 w 692"/>
              <a:gd name="T17" fmla="*/ 242 h 417"/>
              <a:gd name="T18" fmla="*/ 647 w 692"/>
              <a:gd name="T19" fmla="*/ 240 h 417"/>
              <a:gd name="T20" fmla="*/ 606 w 692"/>
              <a:gd name="T21" fmla="*/ 263 h 417"/>
              <a:gd name="T22" fmla="*/ 597 w 692"/>
              <a:gd name="T23" fmla="*/ 287 h 417"/>
              <a:gd name="T24" fmla="*/ 563 w 692"/>
              <a:gd name="T25" fmla="*/ 301 h 417"/>
              <a:gd name="T26" fmla="*/ 535 w 692"/>
              <a:gd name="T27" fmla="*/ 323 h 417"/>
              <a:gd name="T28" fmla="*/ 510 w 692"/>
              <a:gd name="T29" fmla="*/ 324 h 417"/>
              <a:gd name="T30" fmla="*/ 489 w 692"/>
              <a:gd name="T31" fmla="*/ 331 h 417"/>
              <a:gd name="T32" fmla="*/ 484 w 692"/>
              <a:gd name="T33" fmla="*/ 352 h 417"/>
              <a:gd name="T34" fmla="*/ 485 w 692"/>
              <a:gd name="T35" fmla="*/ 368 h 417"/>
              <a:gd name="T36" fmla="*/ 468 w 692"/>
              <a:gd name="T37" fmla="*/ 393 h 417"/>
              <a:gd name="T38" fmla="*/ 468 w 692"/>
              <a:gd name="T39" fmla="*/ 414 h 417"/>
              <a:gd name="T40" fmla="*/ 455 w 692"/>
              <a:gd name="T41" fmla="*/ 413 h 417"/>
              <a:gd name="T42" fmla="*/ 437 w 692"/>
              <a:gd name="T43" fmla="*/ 416 h 417"/>
              <a:gd name="T44" fmla="*/ 391 w 692"/>
              <a:gd name="T45" fmla="*/ 410 h 417"/>
              <a:gd name="T46" fmla="*/ 381 w 692"/>
              <a:gd name="T47" fmla="*/ 380 h 417"/>
              <a:gd name="T48" fmla="*/ 351 w 692"/>
              <a:gd name="T49" fmla="*/ 350 h 417"/>
              <a:gd name="T50" fmla="*/ 313 w 692"/>
              <a:gd name="T51" fmla="*/ 306 h 417"/>
              <a:gd name="T52" fmla="*/ 292 w 692"/>
              <a:gd name="T53" fmla="*/ 299 h 417"/>
              <a:gd name="T54" fmla="*/ 285 w 692"/>
              <a:gd name="T55" fmla="*/ 312 h 417"/>
              <a:gd name="T56" fmla="*/ 262 w 692"/>
              <a:gd name="T57" fmla="*/ 326 h 417"/>
              <a:gd name="T58" fmla="*/ 253 w 692"/>
              <a:gd name="T59" fmla="*/ 340 h 417"/>
              <a:gd name="T60" fmla="*/ 243 w 692"/>
              <a:gd name="T61" fmla="*/ 355 h 417"/>
              <a:gd name="T62" fmla="*/ 166 w 692"/>
              <a:gd name="T63" fmla="*/ 286 h 417"/>
              <a:gd name="T64" fmla="*/ 154 w 692"/>
              <a:gd name="T65" fmla="*/ 264 h 417"/>
              <a:gd name="T66" fmla="*/ 119 w 692"/>
              <a:gd name="T67" fmla="*/ 248 h 417"/>
              <a:gd name="T68" fmla="*/ 92 w 692"/>
              <a:gd name="T69" fmla="*/ 212 h 417"/>
              <a:gd name="T70" fmla="*/ 52 w 692"/>
              <a:gd name="T71" fmla="*/ 196 h 417"/>
              <a:gd name="T72" fmla="*/ 7 w 692"/>
              <a:gd name="T73" fmla="*/ 209 h 417"/>
              <a:gd name="T74" fmla="*/ 38 w 692"/>
              <a:gd name="T75" fmla="*/ 160 h 417"/>
              <a:gd name="T76" fmla="*/ 59 w 692"/>
              <a:gd name="T77" fmla="*/ 137 h 417"/>
              <a:gd name="T78" fmla="*/ 60 w 692"/>
              <a:gd name="T79" fmla="*/ 121 h 417"/>
              <a:gd name="T80" fmla="*/ 73 w 692"/>
              <a:gd name="T81" fmla="*/ 89 h 417"/>
              <a:gd name="T82" fmla="*/ 108 w 692"/>
              <a:gd name="T83" fmla="*/ 66 h 417"/>
              <a:gd name="T84" fmla="*/ 216 w 692"/>
              <a:gd name="T85" fmla="*/ 42 h 417"/>
              <a:gd name="T86" fmla="*/ 248 w 692"/>
              <a:gd name="T87" fmla="*/ 18 h 417"/>
              <a:gd name="T88" fmla="*/ 260 w 692"/>
              <a:gd name="T89" fmla="*/ 17 h 417"/>
              <a:gd name="T90" fmla="*/ 270 w 692"/>
              <a:gd name="T91" fmla="*/ 30 h 417"/>
              <a:gd name="T92" fmla="*/ 281 w 692"/>
              <a:gd name="T93" fmla="*/ 37 h 417"/>
              <a:gd name="T94" fmla="*/ 292 w 692"/>
              <a:gd name="T95" fmla="*/ 55 h 417"/>
              <a:gd name="T96" fmla="*/ 326 w 692"/>
              <a:gd name="T97" fmla="*/ 94 h 417"/>
              <a:gd name="T98" fmla="*/ 360 w 692"/>
              <a:gd name="T99" fmla="*/ 116 h 417"/>
              <a:gd name="T100" fmla="*/ 397 w 692"/>
              <a:gd name="T101" fmla="*/ 131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92" h="417">
                <a:moveTo>
                  <a:pt x="397" y="131"/>
                </a:moveTo>
                <a:lnTo>
                  <a:pt x="416" y="129"/>
                </a:lnTo>
                <a:lnTo>
                  <a:pt x="437" y="124"/>
                </a:lnTo>
                <a:lnTo>
                  <a:pt x="461" y="112"/>
                </a:lnTo>
                <a:lnTo>
                  <a:pt x="471" y="103"/>
                </a:lnTo>
                <a:lnTo>
                  <a:pt x="487" y="88"/>
                </a:lnTo>
                <a:lnTo>
                  <a:pt x="504" y="81"/>
                </a:lnTo>
                <a:lnTo>
                  <a:pt x="529" y="76"/>
                </a:lnTo>
                <a:lnTo>
                  <a:pt x="613" y="66"/>
                </a:lnTo>
                <a:lnTo>
                  <a:pt x="626" y="71"/>
                </a:lnTo>
                <a:lnTo>
                  <a:pt x="627" y="79"/>
                </a:lnTo>
                <a:lnTo>
                  <a:pt x="636" y="84"/>
                </a:lnTo>
                <a:lnTo>
                  <a:pt x="677" y="103"/>
                </a:lnTo>
                <a:lnTo>
                  <a:pt x="688" y="110"/>
                </a:lnTo>
                <a:lnTo>
                  <a:pt x="692" y="118"/>
                </a:lnTo>
                <a:lnTo>
                  <a:pt x="690" y="124"/>
                </a:lnTo>
                <a:lnTo>
                  <a:pt x="689" y="132"/>
                </a:lnTo>
                <a:lnTo>
                  <a:pt x="690" y="170"/>
                </a:lnTo>
                <a:lnTo>
                  <a:pt x="688" y="182"/>
                </a:lnTo>
                <a:lnTo>
                  <a:pt x="687" y="188"/>
                </a:lnTo>
                <a:lnTo>
                  <a:pt x="687" y="196"/>
                </a:lnTo>
                <a:lnTo>
                  <a:pt x="686" y="201"/>
                </a:lnTo>
                <a:lnTo>
                  <a:pt x="684" y="207"/>
                </a:lnTo>
                <a:lnTo>
                  <a:pt x="667" y="232"/>
                </a:lnTo>
                <a:lnTo>
                  <a:pt x="661" y="239"/>
                </a:lnTo>
                <a:lnTo>
                  <a:pt x="658" y="241"/>
                </a:lnTo>
                <a:lnTo>
                  <a:pt x="656" y="242"/>
                </a:lnTo>
                <a:lnTo>
                  <a:pt x="653" y="242"/>
                </a:lnTo>
                <a:lnTo>
                  <a:pt x="651" y="242"/>
                </a:lnTo>
                <a:lnTo>
                  <a:pt x="647" y="240"/>
                </a:lnTo>
                <a:lnTo>
                  <a:pt x="636" y="239"/>
                </a:lnTo>
                <a:lnTo>
                  <a:pt x="612" y="255"/>
                </a:lnTo>
                <a:lnTo>
                  <a:pt x="606" y="263"/>
                </a:lnTo>
                <a:lnTo>
                  <a:pt x="602" y="271"/>
                </a:lnTo>
                <a:lnTo>
                  <a:pt x="601" y="278"/>
                </a:lnTo>
                <a:lnTo>
                  <a:pt x="597" y="287"/>
                </a:lnTo>
                <a:lnTo>
                  <a:pt x="587" y="294"/>
                </a:lnTo>
                <a:lnTo>
                  <a:pt x="579" y="297"/>
                </a:lnTo>
                <a:lnTo>
                  <a:pt x="563" y="301"/>
                </a:lnTo>
                <a:lnTo>
                  <a:pt x="557" y="305"/>
                </a:lnTo>
                <a:lnTo>
                  <a:pt x="544" y="316"/>
                </a:lnTo>
                <a:lnTo>
                  <a:pt x="535" y="323"/>
                </a:lnTo>
                <a:lnTo>
                  <a:pt x="529" y="326"/>
                </a:lnTo>
                <a:lnTo>
                  <a:pt x="523" y="327"/>
                </a:lnTo>
                <a:lnTo>
                  <a:pt x="510" y="324"/>
                </a:lnTo>
                <a:lnTo>
                  <a:pt x="502" y="324"/>
                </a:lnTo>
                <a:lnTo>
                  <a:pt x="495" y="327"/>
                </a:lnTo>
                <a:lnTo>
                  <a:pt x="489" y="331"/>
                </a:lnTo>
                <a:lnTo>
                  <a:pt x="484" y="338"/>
                </a:lnTo>
                <a:lnTo>
                  <a:pt x="483" y="344"/>
                </a:lnTo>
                <a:lnTo>
                  <a:pt x="484" y="352"/>
                </a:lnTo>
                <a:lnTo>
                  <a:pt x="487" y="358"/>
                </a:lnTo>
                <a:lnTo>
                  <a:pt x="488" y="364"/>
                </a:lnTo>
                <a:lnTo>
                  <a:pt x="485" y="368"/>
                </a:lnTo>
                <a:lnTo>
                  <a:pt x="483" y="372"/>
                </a:lnTo>
                <a:lnTo>
                  <a:pt x="470" y="388"/>
                </a:lnTo>
                <a:lnTo>
                  <a:pt x="468" y="393"/>
                </a:lnTo>
                <a:lnTo>
                  <a:pt x="467" y="398"/>
                </a:lnTo>
                <a:lnTo>
                  <a:pt x="468" y="409"/>
                </a:lnTo>
                <a:lnTo>
                  <a:pt x="468" y="414"/>
                </a:lnTo>
                <a:lnTo>
                  <a:pt x="465" y="415"/>
                </a:lnTo>
                <a:lnTo>
                  <a:pt x="461" y="414"/>
                </a:lnTo>
                <a:lnTo>
                  <a:pt x="455" y="413"/>
                </a:lnTo>
                <a:lnTo>
                  <a:pt x="450" y="414"/>
                </a:lnTo>
                <a:lnTo>
                  <a:pt x="443" y="415"/>
                </a:lnTo>
                <a:lnTo>
                  <a:pt x="437" y="416"/>
                </a:lnTo>
                <a:lnTo>
                  <a:pt x="426" y="417"/>
                </a:lnTo>
                <a:lnTo>
                  <a:pt x="401" y="414"/>
                </a:lnTo>
                <a:lnTo>
                  <a:pt x="391" y="410"/>
                </a:lnTo>
                <a:lnTo>
                  <a:pt x="388" y="403"/>
                </a:lnTo>
                <a:lnTo>
                  <a:pt x="385" y="387"/>
                </a:lnTo>
                <a:lnTo>
                  <a:pt x="381" y="380"/>
                </a:lnTo>
                <a:lnTo>
                  <a:pt x="377" y="374"/>
                </a:lnTo>
                <a:lnTo>
                  <a:pt x="363" y="358"/>
                </a:lnTo>
                <a:lnTo>
                  <a:pt x="351" y="350"/>
                </a:lnTo>
                <a:lnTo>
                  <a:pt x="332" y="325"/>
                </a:lnTo>
                <a:lnTo>
                  <a:pt x="323" y="315"/>
                </a:lnTo>
                <a:lnTo>
                  <a:pt x="313" y="306"/>
                </a:lnTo>
                <a:lnTo>
                  <a:pt x="305" y="301"/>
                </a:lnTo>
                <a:lnTo>
                  <a:pt x="297" y="299"/>
                </a:lnTo>
                <a:lnTo>
                  <a:pt x="292" y="299"/>
                </a:lnTo>
                <a:lnTo>
                  <a:pt x="288" y="302"/>
                </a:lnTo>
                <a:lnTo>
                  <a:pt x="286" y="306"/>
                </a:lnTo>
                <a:lnTo>
                  <a:pt x="285" y="312"/>
                </a:lnTo>
                <a:lnTo>
                  <a:pt x="281" y="316"/>
                </a:lnTo>
                <a:lnTo>
                  <a:pt x="275" y="320"/>
                </a:lnTo>
                <a:lnTo>
                  <a:pt x="262" y="326"/>
                </a:lnTo>
                <a:lnTo>
                  <a:pt x="256" y="330"/>
                </a:lnTo>
                <a:lnTo>
                  <a:pt x="253" y="335"/>
                </a:lnTo>
                <a:lnTo>
                  <a:pt x="253" y="340"/>
                </a:lnTo>
                <a:lnTo>
                  <a:pt x="251" y="346"/>
                </a:lnTo>
                <a:lnTo>
                  <a:pt x="249" y="351"/>
                </a:lnTo>
                <a:lnTo>
                  <a:pt x="243" y="355"/>
                </a:lnTo>
                <a:lnTo>
                  <a:pt x="235" y="353"/>
                </a:lnTo>
                <a:lnTo>
                  <a:pt x="225" y="348"/>
                </a:lnTo>
                <a:lnTo>
                  <a:pt x="166" y="286"/>
                </a:lnTo>
                <a:lnTo>
                  <a:pt x="160" y="277"/>
                </a:lnTo>
                <a:lnTo>
                  <a:pt x="156" y="271"/>
                </a:lnTo>
                <a:lnTo>
                  <a:pt x="154" y="264"/>
                </a:lnTo>
                <a:lnTo>
                  <a:pt x="147" y="257"/>
                </a:lnTo>
                <a:lnTo>
                  <a:pt x="137" y="250"/>
                </a:lnTo>
                <a:lnTo>
                  <a:pt x="119" y="248"/>
                </a:lnTo>
                <a:lnTo>
                  <a:pt x="111" y="245"/>
                </a:lnTo>
                <a:lnTo>
                  <a:pt x="104" y="238"/>
                </a:lnTo>
                <a:lnTo>
                  <a:pt x="92" y="212"/>
                </a:lnTo>
                <a:lnTo>
                  <a:pt x="85" y="203"/>
                </a:lnTo>
                <a:lnTo>
                  <a:pt x="75" y="197"/>
                </a:lnTo>
                <a:lnTo>
                  <a:pt x="52" y="196"/>
                </a:lnTo>
                <a:lnTo>
                  <a:pt x="33" y="201"/>
                </a:lnTo>
                <a:lnTo>
                  <a:pt x="16" y="210"/>
                </a:lnTo>
                <a:lnTo>
                  <a:pt x="7" y="209"/>
                </a:lnTo>
                <a:lnTo>
                  <a:pt x="1" y="203"/>
                </a:lnTo>
                <a:lnTo>
                  <a:pt x="0" y="195"/>
                </a:lnTo>
                <a:lnTo>
                  <a:pt x="38" y="160"/>
                </a:lnTo>
                <a:lnTo>
                  <a:pt x="60" y="145"/>
                </a:lnTo>
                <a:lnTo>
                  <a:pt x="61" y="142"/>
                </a:lnTo>
                <a:lnTo>
                  <a:pt x="59" y="137"/>
                </a:lnTo>
                <a:lnTo>
                  <a:pt x="56" y="132"/>
                </a:lnTo>
                <a:lnTo>
                  <a:pt x="56" y="127"/>
                </a:lnTo>
                <a:lnTo>
                  <a:pt x="60" y="121"/>
                </a:lnTo>
                <a:lnTo>
                  <a:pt x="60" y="105"/>
                </a:lnTo>
                <a:lnTo>
                  <a:pt x="66" y="96"/>
                </a:lnTo>
                <a:lnTo>
                  <a:pt x="73" y="89"/>
                </a:lnTo>
                <a:lnTo>
                  <a:pt x="91" y="75"/>
                </a:lnTo>
                <a:lnTo>
                  <a:pt x="101" y="69"/>
                </a:lnTo>
                <a:lnTo>
                  <a:pt x="108" y="66"/>
                </a:lnTo>
                <a:lnTo>
                  <a:pt x="188" y="52"/>
                </a:lnTo>
                <a:lnTo>
                  <a:pt x="201" y="47"/>
                </a:lnTo>
                <a:lnTo>
                  <a:pt x="216" y="42"/>
                </a:lnTo>
                <a:lnTo>
                  <a:pt x="232" y="33"/>
                </a:lnTo>
                <a:lnTo>
                  <a:pt x="241" y="26"/>
                </a:lnTo>
                <a:lnTo>
                  <a:pt x="248" y="18"/>
                </a:lnTo>
                <a:lnTo>
                  <a:pt x="251" y="13"/>
                </a:lnTo>
                <a:lnTo>
                  <a:pt x="258" y="0"/>
                </a:lnTo>
                <a:lnTo>
                  <a:pt x="260" y="17"/>
                </a:lnTo>
                <a:lnTo>
                  <a:pt x="262" y="20"/>
                </a:lnTo>
                <a:lnTo>
                  <a:pt x="267" y="27"/>
                </a:lnTo>
                <a:lnTo>
                  <a:pt x="270" y="30"/>
                </a:lnTo>
                <a:lnTo>
                  <a:pt x="274" y="32"/>
                </a:lnTo>
                <a:lnTo>
                  <a:pt x="277" y="34"/>
                </a:lnTo>
                <a:lnTo>
                  <a:pt x="281" y="37"/>
                </a:lnTo>
                <a:lnTo>
                  <a:pt x="284" y="46"/>
                </a:lnTo>
                <a:lnTo>
                  <a:pt x="287" y="52"/>
                </a:lnTo>
                <a:lnTo>
                  <a:pt x="292" y="55"/>
                </a:lnTo>
                <a:lnTo>
                  <a:pt x="298" y="59"/>
                </a:lnTo>
                <a:lnTo>
                  <a:pt x="305" y="64"/>
                </a:lnTo>
                <a:lnTo>
                  <a:pt x="326" y="94"/>
                </a:lnTo>
                <a:lnTo>
                  <a:pt x="336" y="104"/>
                </a:lnTo>
                <a:lnTo>
                  <a:pt x="346" y="110"/>
                </a:lnTo>
                <a:lnTo>
                  <a:pt x="360" y="116"/>
                </a:lnTo>
                <a:lnTo>
                  <a:pt x="373" y="125"/>
                </a:lnTo>
                <a:lnTo>
                  <a:pt x="381" y="129"/>
                </a:lnTo>
                <a:lnTo>
                  <a:pt x="397" y="13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3" name="Freeform 27">
            <a:extLst>
              <a:ext uri="{FF2B5EF4-FFF2-40B4-BE49-F238E27FC236}">
                <a16:creationId xmlns:a16="http://schemas.microsoft.com/office/drawing/2014/main" id="{9AD1A5AC-87AC-B3BF-DE29-7756885F6B3C}"/>
              </a:ext>
            </a:extLst>
          </p:cNvPr>
          <p:cNvSpPr>
            <a:spLocks/>
          </p:cNvSpPr>
          <p:nvPr/>
        </p:nvSpPr>
        <p:spPr bwMode="auto">
          <a:xfrm>
            <a:off x="5561945" y="2798522"/>
            <a:ext cx="556640" cy="1037311"/>
          </a:xfrm>
          <a:custGeom>
            <a:avLst/>
            <a:gdLst>
              <a:gd name="T0" fmla="*/ 292 w 358"/>
              <a:gd name="T1" fmla="*/ 34 h 705"/>
              <a:gd name="T2" fmla="*/ 330 w 358"/>
              <a:gd name="T3" fmla="*/ 12 h 705"/>
              <a:gd name="T4" fmla="*/ 333 w 358"/>
              <a:gd name="T5" fmla="*/ 52 h 705"/>
              <a:gd name="T6" fmla="*/ 320 w 358"/>
              <a:gd name="T7" fmla="*/ 109 h 705"/>
              <a:gd name="T8" fmla="*/ 311 w 358"/>
              <a:gd name="T9" fmla="*/ 164 h 705"/>
              <a:gd name="T10" fmla="*/ 340 w 358"/>
              <a:gd name="T11" fmla="*/ 205 h 705"/>
              <a:gd name="T12" fmla="*/ 344 w 358"/>
              <a:gd name="T13" fmla="*/ 234 h 705"/>
              <a:gd name="T14" fmla="*/ 358 w 358"/>
              <a:gd name="T15" fmla="*/ 271 h 705"/>
              <a:gd name="T16" fmla="*/ 356 w 358"/>
              <a:gd name="T17" fmla="*/ 324 h 705"/>
              <a:gd name="T18" fmla="*/ 333 w 358"/>
              <a:gd name="T19" fmla="*/ 381 h 705"/>
              <a:gd name="T20" fmla="*/ 276 w 358"/>
              <a:gd name="T21" fmla="*/ 408 h 705"/>
              <a:gd name="T22" fmla="*/ 259 w 358"/>
              <a:gd name="T23" fmla="*/ 422 h 705"/>
              <a:gd name="T24" fmla="*/ 254 w 358"/>
              <a:gd name="T25" fmla="*/ 470 h 705"/>
              <a:gd name="T26" fmla="*/ 260 w 358"/>
              <a:gd name="T27" fmla="*/ 513 h 705"/>
              <a:gd name="T28" fmla="*/ 246 w 358"/>
              <a:gd name="T29" fmla="*/ 614 h 705"/>
              <a:gd name="T30" fmla="*/ 249 w 358"/>
              <a:gd name="T31" fmla="*/ 634 h 705"/>
              <a:gd name="T32" fmla="*/ 209 w 358"/>
              <a:gd name="T33" fmla="*/ 685 h 705"/>
              <a:gd name="T34" fmla="*/ 172 w 358"/>
              <a:gd name="T35" fmla="*/ 671 h 705"/>
              <a:gd name="T36" fmla="*/ 153 w 358"/>
              <a:gd name="T37" fmla="*/ 670 h 705"/>
              <a:gd name="T38" fmla="*/ 137 w 358"/>
              <a:gd name="T39" fmla="*/ 677 h 705"/>
              <a:gd name="T40" fmla="*/ 112 w 358"/>
              <a:gd name="T41" fmla="*/ 651 h 705"/>
              <a:gd name="T42" fmla="*/ 122 w 358"/>
              <a:gd name="T43" fmla="*/ 612 h 705"/>
              <a:gd name="T44" fmla="*/ 73 w 358"/>
              <a:gd name="T45" fmla="*/ 537 h 705"/>
              <a:gd name="T46" fmla="*/ 84 w 358"/>
              <a:gd name="T47" fmla="*/ 519 h 705"/>
              <a:gd name="T48" fmla="*/ 105 w 358"/>
              <a:gd name="T49" fmla="*/ 459 h 705"/>
              <a:gd name="T50" fmla="*/ 98 w 358"/>
              <a:gd name="T51" fmla="*/ 435 h 705"/>
              <a:gd name="T52" fmla="*/ 90 w 358"/>
              <a:gd name="T53" fmla="*/ 410 h 705"/>
              <a:gd name="T54" fmla="*/ 72 w 358"/>
              <a:gd name="T55" fmla="*/ 361 h 705"/>
              <a:gd name="T56" fmla="*/ 55 w 358"/>
              <a:gd name="T57" fmla="*/ 337 h 705"/>
              <a:gd name="T58" fmla="*/ 44 w 358"/>
              <a:gd name="T59" fmla="*/ 333 h 705"/>
              <a:gd name="T60" fmla="*/ 32 w 358"/>
              <a:gd name="T61" fmla="*/ 329 h 705"/>
              <a:gd name="T62" fmla="*/ 35 w 358"/>
              <a:gd name="T63" fmla="*/ 319 h 705"/>
              <a:gd name="T64" fmla="*/ 64 w 358"/>
              <a:gd name="T65" fmla="*/ 290 h 705"/>
              <a:gd name="T66" fmla="*/ 75 w 358"/>
              <a:gd name="T67" fmla="*/ 293 h 705"/>
              <a:gd name="T68" fmla="*/ 85 w 358"/>
              <a:gd name="T69" fmla="*/ 284 h 705"/>
              <a:gd name="T70" fmla="*/ 93 w 358"/>
              <a:gd name="T71" fmla="*/ 260 h 705"/>
              <a:gd name="T72" fmla="*/ 61 w 358"/>
              <a:gd name="T73" fmla="*/ 232 h 705"/>
              <a:gd name="T74" fmla="*/ 44 w 358"/>
              <a:gd name="T75" fmla="*/ 198 h 705"/>
              <a:gd name="T76" fmla="*/ 49 w 358"/>
              <a:gd name="T77" fmla="*/ 135 h 705"/>
              <a:gd name="T78" fmla="*/ 59 w 358"/>
              <a:gd name="T79" fmla="*/ 132 h 705"/>
              <a:gd name="T80" fmla="*/ 65 w 358"/>
              <a:gd name="T81" fmla="*/ 122 h 705"/>
              <a:gd name="T82" fmla="*/ 34 w 358"/>
              <a:gd name="T83" fmla="*/ 93 h 705"/>
              <a:gd name="T84" fmla="*/ 17 w 358"/>
              <a:gd name="T85" fmla="*/ 110 h 705"/>
              <a:gd name="T86" fmla="*/ 2 w 358"/>
              <a:gd name="T87" fmla="*/ 115 h 705"/>
              <a:gd name="T88" fmla="*/ 12 w 358"/>
              <a:gd name="T89" fmla="*/ 91 h 705"/>
              <a:gd name="T90" fmla="*/ 72 w 358"/>
              <a:gd name="T91" fmla="*/ 34 h 705"/>
              <a:gd name="T92" fmla="*/ 168 w 358"/>
              <a:gd name="T93" fmla="*/ 3 h 705"/>
              <a:gd name="T94" fmla="*/ 204 w 358"/>
              <a:gd name="T95" fmla="*/ 2 h 705"/>
              <a:gd name="T96" fmla="*/ 216 w 358"/>
              <a:gd name="T97" fmla="*/ 15 h 705"/>
              <a:gd name="T98" fmla="*/ 266 w 358"/>
              <a:gd name="T99" fmla="*/ 38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58" h="705">
                <a:moveTo>
                  <a:pt x="266" y="38"/>
                </a:moveTo>
                <a:lnTo>
                  <a:pt x="281" y="37"/>
                </a:lnTo>
                <a:lnTo>
                  <a:pt x="292" y="34"/>
                </a:lnTo>
                <a:lnTo>
                  <a:pt x="311" y="19"/>
                </a:lnTo>
                <a:lnTo>
                  <a:pt x="322" y="13"/>
                </a:lnTo>
                <a:lnTo>
                  <a:pt x="330" y="12"/>
                </a:lnTo>
                <a:lnTo>
                  <a:pt x="350" y="18"/>
                </a:lnTo>
                <a:lnTo>
                  <a:pt x="334" y="44"/>
                </a:lnTo>
                <a:lnTo>
                  <a:pt x="333" y="52"/>
                </a:lnTo>
                <a:lnTo>
                  <a:pt x="332" y="78"/>
                </a:lnTo>
                <a:lnTo>
                  <a:pt x="329" y="89"/>
                </a:lnTo>
                <a:lnTo>
                  <a:pt x="320" y="109"/>
                </a:lnTo>
                <a:lnTo>
                  <a:pt x="316" y="121"/>
                </a:lnTo>
                <a:lnTo>
                  <a:pt x="308" y="154"/>
                </a:lnTo>
                <a:lnTo>
                  <a:pt x="311" y="164"/>
                </a:lnTo>
                <a:lnTo>
                  <a:pt x="327" y="188"/>
                </a:lnTo>
                <a:lnTo>
                  <a:pt x="334" y="197"/>
                </a:lnTo>
                <a:lnTo>
                  <a:pt x="340" y="205"/>
                </a:lnTo>
                <a:lnTo>
                  <a:pt x="340" y="219"/>
                </a:lnTo>
                <a:lnTo>
                  <a:pt x="341" y="226"/>
                </a:lnTo>
                <a:lnTo>
                  <a:pt x="344" y="234"/>
                </a:lnTo>
                <a:lnTo>
                  <a:pt x="355" y="252"/>
                </a:lnTo>
                <a:lnTo>
                  <a:pt x="358" y="260"/>
                </a:lnTo>
                <a:lnTo>
                  <a:pt x="358" y="271"/>
                </a:lnTo>
                <a:lnTo>
                  <a:pt x="356" y="286"/>
                </a:lnTo>
                <a:lnTo>
                  <a:pt x="355" y="303"/>
                </a:lnTo>
                <a:lnTo>
                  <a:pt x="356" y="324"/>
                </a:lnTo>
                <a:lnTo>
                  <a:pt x="354" y="343"/>
                </a:lnTo>
                <a:lnTo>
                  <a:pt x="346" y="360"/>
                </a:lnTo>
                <a:lnTo>
                  <a:pt x="333" y="381"/>
                </a:lnTo>
                <a:lnTo>
                  <a:pt x="309" y="401"/>
                </a:lnTo>
                <a:lnTo>
                  <a:pt x="300" y="405"/>
                </a:lnTo>
                <a:lnTo>
                  <a:pt x="276" y="408"/>
                </a:lnTo>
                <a:lnTo>
                  <a:pt x="268" y="411"/>
                </a:lnTo>
                <a:lnTo>
                  <a:pt x="262" y="417"/>
                </a:lnTo>
                <a:lnTo>
                  <a:pt x="259" y="422"/>
                </a:lnTo>
                <a:lnTo>
                  <a:pt x="256" y="428"/>
                </a:lnTo>
                <a:lnTo>
                  <a:pt x="256" y="440"/>
                </a:lnTo>
                <a:lnTo>
                  <a:pt x="254" y="470"/>
                </a:lnTo>
                <a:lnTo>
                  <a:pt x="255" y="491"/>
                </a:lnTo>
                <a:lnTo>
                  <a:pt x="260" y="505"/>
                </a:lnTo>
                <a:lnTo>
                  <a:pt x="260" y="513"/>
                </a:lnTo>
                <a:lnTo>
                  <a:pt x="242" y="600"/>
                </a:lnTo>
                <a:lnTo>
                  <a:pt x="243" y="607"/>
                </a:lnTo>
                <a:lnTo>
                  <a:pt x="246" y="614"/>
                </a:lnTo>
                <a:lnTo>
                  <a:pt x="249" y="620"/>
                </a:lnTo>
                <a:lnTo>
                  <a:pt x="250" y="627"/>
                </a:lnTo>
                <a:lnTo>
                  <a:pt x="249" y="634"/>
                </a:lnTo>
                <a:lnTo>
                  <a:pt x="246" y="642"/>
                </a:lnTo>
                <a:lnTo>
                  <a:pt x="233" y="661"/>
                </a:lnTo>
                <a:lnTo>
                  <a:pt x="209" y="685"/>
                </a:lnTo>
                <a:lnTo>
                  <a:pt x="173" y="705"/>
                </a:lnTo>
                <a:lnTo>
                  <a:pt x="174" y="677"/>
                </a:lnTo>
                <a:lnTo>
                  <a:pt x="172" y="671"/>
                </a:lnTo>
                <a:lnTo>
                  <a:pt x="166" y="666"/>
                </a:lnTo>
                <a:lnTo>
                  <a:pt x="160" y="666"/>
                </a:lnTo>
                <a:lnTo>
                  <a:pt x="153" y="670"/>
                </a:lnTo>
                <a:lnTo>
                  <a:pt x="149" y="673"/>
                </a:lnTo>
                <a:lnTo>
                  <a:pt x="145" y="677"/>
                </a:lnTo>
                <a:lnTo>
                  <a:pt x="137" y="677"/>
                </a:lnTo>
                <a:lnTo>
                  <a:pt x="130" y="677"/>
                </a:lnTo>
                <a:lnTo>
                  <a:pt x="103" y="671"/>
                </a:lnTo>
                <a:lnTo>
                  <a:pt x="112" y="651"/>
                </a:lnTo>
                <a:lnTo>
                  <a:pt x="118" y="628"/>
                </a:lnTo>
                <a:lnTo>
                  <a:pt x="122" y="617"/>
                </a:lnTo>
                <a:lnTo>
                  <a:pt x="122" y="612"/>
                </a:lnTo>
                <a:lnTo>
                  <a:pt x="118" y="602"/>
                </a:lnTo>
                <a:lnTo>
                  <a:pt x="95" y="565"/>
                </a:lnTo>
                <a:lnTo>
                  <a:pt x="73" y="537"/>
                </a:lnTo>
                <a:lnTo>
                  <a:pt x="72" y="531"/>
                </a:lnTo>
                <a:lnTo>
                  <a:pt x="75" y="525"/>
                </a:lnTo>
                <a:lnTo>
                  <a:pt x="84" y="519"/>
                </a:lnTo>
                <a:lnTo>
                  <a:pt x="86" y="516"/>
                </a:lnTo>
                <a:lnTo>
                  <a:pt x="98" y="472"/>
                </a:lnTo>
                <a:lnTo>
                  <a:pt x="105" y="459"/>
                </a:lnTo>
                <a:lnTo>
                  <a:pt x="106" y="449"/>
                </a:lnTo>
                <a:lnTo>
                  <a:pt x="103" y="441"/>
                </a:lnTo>
                <a:lnTo>
                  <a:pt x="98" y="435"/>
                </a:lnTo>
                <a:lnTo>
                  <a:pt x="93" y="425"/>
                </a:lnTo>
                <a:lnTo>
                  <a:pt x="91" y="417"/>
                </a:lnTo>
                <a:lnTo>
                  <a:pt x="90" y="410"/>
                </a:lnTo>
                <a:lnTo>
                  <a:pt x="93" y="397"/>
                </a:lnTo>
                <a:lnTo>
                  <a:pt x="92" y="392"/>
                </a:lnTo>
                <a:lnTo>
                  <a:pt x="72" y="361"/>
                </a:lnTo>
                <a:lnTo>
                  <a:pt x="65" y="347"/>
                </a:lnTo>
                <a:lnTo>
                  <a:pt x="59" y="340"/>
                </a:lnTo>
                <a:lnTo>
                  <a:pt x="55" y="337"/>
                </a:lnTo>
                <a:lnTo>
                  <a:pt x="51" y="339"/>
                </a:lnTo>
                <a:lnTo>
                  <a:pt x="47" y="336"/>
                </a:lnTo>
                <a:lnTo>
                  <a:pt x="44" y="333"/>
                </a:lnTo>
                <a:lnTo>
                  <a:pt x="41" y="331"/>
                </a:lnTo>
                <a:lnTo>
                  <a:pt x="35" y="330"/>
                </a:lnTo>
                <a:lnTo>
                  <a:pt x="32" y="329"/>
                </a:lnTo>
                <a:lnTo>
                  <a:pt x="30" y="326"/>
                </a:lnTo>
                <a:lnTo>
                  <a:pt x="31" y="321"/>
                </a:lnTo>
                <a:lnTo>
                  <a:pt x="35" y="319"/>
                </a:lnTo>
                <a:lnTo>
                  <a:pt x="41" y="316"/>
                </a:lnTo>
                <a:lnTo>
                  <a:pt x="45" y="311"/>
                </a:lnTo>
                <a:lnTo>
                  <a:pt x="64" y="290"/>
                </a:lnTo>
                <a:lnTo>
                  <a:pt x="68" y="289"/>
                </a:lnTo>
                <a:lnTo>
                  <a:pt x="71" y="290"/>
                </a:lnTo>
                <a:lnTo>
                  <a:pt x="75" y="293"/>
                </a:lnTo>
                <a:lnTo>
                  <a:pt x="79" y="293"/>
                </a:lnTo>
                <a:lnTo>
                  <a:pt x="81" y="291"/>
                </a:lnTo>
                <a:lnTo>
                  <a:pt x="85" y="284"/>
                </a:lnTo>
                <a:lnTo>
                  <a:pt x="88" y="279"/>
                </a:lnTo>
                <a:lnTo>
                  <a:pt x="92" y="269"/>
                </a:lnTo>
                <a:lnTo>
                  <a:pt x="93" y="260"/>
                </a:lnTo>
                <a:lnTo>
                  <a:pt x="88" y="252"/>
                </a:lnTo>
                <a:lnTo>
                  <a:pt x="83" y="246"/>
                </a:lnTo>
                <a:lnTo>
                  <a:pt x="61" y="232"/>
                </a:lnTo>
                <a:lnTo>
                  <a:pt x="53" y="223"/>
                </a:lnTo>
                <a:lnTo>
                  <a:pt x="46" y="212"/>
                </a:lnTo>
                <a:lnTo>
                  <a:pt x="44" y="198"/>
                </a:lnTo>
                <a:lnTo>
                  <a:pt x="45" y="146"/>
                </a:lnTo>
                <a:lnTo>
                  <a:pt x="46" y="139"/>
                </a:lnTo>
                <a:lnTo>
                  <a:pt x="49" y="135"/>
                </a:lnTo>
                <a:lnTo>
                  <a:pt x="52" y="134"/>
                </a:lnTo>
                <a:lnTo>
                  <a:pt x="56" y="134"/>
                </a:lnTo>
                <a:lnTo>
                  <a:pt x="59" y="132"/>
                </a:lnTo>
                <a:lnTo>
                  <a:pt x="62" y="129"/>
                </a:lnTo>
                <a:lnTo>
                  <a:pt x="65" y="125"/>
                </a:lnTo>
                <a:lnTo>
                  <a:pt x="65" y="122"/>
                </a:lnTo>
                <a:lnTo>
                  <a:pt x="45" y="108"/>
                </a:lnTo>
                <a:lnTo>
                  <a:pt x="39" y="96"/>
                </a:lnTo>
                <a:lnTo>
                  <a:pt x="34" y="93"/>
                </a:lnTo>
                <a:lnTo>
                  <a:pt x="30" y="93"/>
                </a:lnTo>
                <a:lnTo>
                  <a:pt x="26" y="97"/>
                </a:lnTo>
                <a:lnTo>
                  <a:pt x="17" y="110"/>
                </a:lnTo>
                <a:lnTo>
                  <a:pt x="13" y="114"/>
                </a:lnTo>
                <a:lnTo>
                  <a:pt x="7" y="116"/>
                </a:lnTo>
                <a:lnTo>
                  <a:pt x="2" y="115"/>
                </a:lnTo>
                <a:lnTo>
                  <a:pt x="0" y="111"/>
                </a:lnTo>
                <a:lnTo>
                  <a:pt x="2" y="102"/>
                </a:lnTo>
                <a:lnTo>
                  <a:pt x="12" y="91"/>
                </a:lnTo>
                <a:lnTo>
                  <a:pt x="28" y="65"/>
                </a:lnTo>
                <a:lnTo>
                  <a:pt x="40" y="49"/>
                </a:lnTo>
                <a:lnTo>
                  <a:pt x="72" y="34"/>
                </a:lnTo>
                <a:lnTo>
                  <a:pt x="103" y="32"/>
                </a:lnTo>
                <a:lnTo>
                  <a:pt x="151" y="7"/>
                </a:lnTo>
                <a:lnTo>
                  <a:pt x="168" y="3"/>
                </a:lnTo>
                <a:lnTo>
                  <a:pt x="186" y="0"/>
                </a:lnTo>
                <a:lnTo>
                  <a:pt x="196" y="0"/>
                </a:lnTo>
                <a:lnTo>
                  <a:pt x="204" y="2"/>
                </a:lnTo>
                <a:lnTo>
                  <a:pt x="209" y="5"/>
                </a:lnTo>
                <a:lnTo>
                  <a:pt x="212" y="10"/>
                </a:lnTo>
                <a:lnTo>
                  <a:pt x="216" y="15"/>
                </a:lnTo>
                <a:lnTo>
                  <a:pt x="237" y="28"/>
                </a:lnTo>
                <a:lnTo>
                  <a:pt x="250" y="34"/>
                </a:lnTo>
                <a:lnTo>
                  <a:pt x="266" y="3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4" name="Freeform 28">
            <a:extLst>
              <a:ext uri="{FF2B5EF4-FFF2-40B4-BE49-F238E27FC236}">
                <a16:creationId xmlns:a16="http://schemas.microsoft.com/office/drawing/2014/main" id="{E5CCEF61-79D3-84C2-793D-50D94BE438B8}"/>
              </a:ext>
            </a:extLst>
          </p:cNvPr>
          <p:cNvSpPr>
            <a:spLocks/>
          </p:cNvSpPr>
          <p:nvPr/>
        </p:nvSpPr>
        <p:spPr bwMode="auto">
          <a:xfrm>
            <a:off x="5173231" y="4124220"/>
            <a:ext cx="1394707" cy="1124121"/>
          </a:xfrm>
          <a:custGeom>
            <a:avLst/>
            <a:gdLst>
              <a:gd name="T0" fmla="*/ 418 w 897"/>
              <a:gd name="T1" fmla="*/ 144 h 764"/>
              <a:gd name="T2" fmla="*/ 440 w 897"/>
              <a:gd name="T3" fmla="*/ 124 h 764"/>
              <a:gd name="T4" fmla="*/ 453 w 897"/>
              <a:gd name="T5" fmla="*/ 106 h 764"/>
              <a:gd name="T6" fmla="*/ 478 w 897"/>
              <a:gd name="T7" fmla="*/ 110 h 764"/>
              <a:gd name="T8" fmla="*/ 528 w 897"/>
              <a:gd name="T9" fmla="*/ 162 h 764"/>
              <a:gd name="T10" fmla="*/ 553 w 897"/>
              <a:gd name="T11" fmla="*/ 207 h 764"/>
              <a:gd name="T12" fmla="*/ 602 w 897"/>
              <a:gd name="T13" fmla="*/ 220 h 764"/>
              <a:gd name="T14" fmla="*/ 626 w 897"/>
              <a:gd name="T15" fmla="*/ 218 h 764"/>
              <a:gd name="T16" fmla="*/ 632 w 897"/>
              <a:gd name="T17" fmla="*/ 202 h 764"/>
              <a:gd name="T18" fmla="*/ 650 w 897"/>
              <a:gd name="T19" fmla="*/ 172 h 764"/>
              <a:gd name="T20" fmla="*/ 648 w 897"/>
              <a:gd name="T21" fmla="*/ 148 h 764"/>
              <a:gd name="T22" fmla="*/ 667 w 897"/>
              <a:gd name="T23" fmla="*/ 128 h 764"/>
              <a:gd name="T24" fmla="*/ 700 w 897"/>
              <a:gd name="T25" fmla="*/ 127 h 764"/>
              <a:gd name="T26" fmla="*/ 744 w 897"/>
              <a:gd name="T27" fmla="*/ 101 h 764"/>
              <a:gd name="T28" fmla="*/ 767 w 897"/>
              <a:gd name="T29" fmla="*/ 75 h 764"/>
              <a:gd name="T30" fmla="*/ 812 w 897"/>
              <a:gd name="T31" fmla="*/ 44 h 764"/>
              <a:gd name="T32" fmla="*/ 816 w 897"/>
              <a:gd name="T33" fmla="*/ 82 h 764"/>
              <a:gd name="T34" fmla="*/ 831 w 897"/>
              <a:gd name="T35" fmla="*/ 74 h 764"/>
              <a:gd name="T36" fmla="*/ 851 w 897"/>
              <a:gd name="T37" fmla="*/ 50 h 764"/>
              <a:gd name="T38" fmla="*/ 888 w 897"/>
              <a:gd name="T39" fmla="*/ 65 h 764"/>
              <a:gd name="T40" fmla="*/ 897 w 897"/>
              <a:gd name="T41" fmla="*/ 87 h 764"/>
              <a:gd name="T42" fmla="*/ 805 w 897"/>
              <a:gd name="T43" fmla="*/ 143 h 764"/>
              <a:gd name="T44" fmla="*/ 780 w 897"/>
              <a:gd name="T45" fmla="*/ 198 h 764"/>
              <a:gd name="T46" fmla="*/ 798 w 897"/>
              <a:gd name="T47" fmla="*/ 223 h 764"/>
              <a:gd name="T48" fmla="*/ 758 w 897"/>
              <a:gd name="T49" fmla="*/ 302 h 764"/>
              <a:gd name="T50" fmla="*/ 737 w 897"/>
              <a:gd name="T51" fmla="*/ 364 h 764"/>
              <a:gd name="T52" fmla="*/ 712 w 897"/>
              <a:gd name="T53" fmla="*/ 417 h 764"/>
              <a:gd name="T54" fmla="*/ 634 w 897"/>
              <a:gd name="T55" fmla="*/ 464 h 764"/>
              <a:gd name="T56" fmla="*/ 551 w 897"/>
              <a:gd name="T57" fmla="*/ 554 h 764"/>
              <a:gd name="T58" fmla="*/ 479 w 897"/>
              <a:gd name="T59" fmla="*/ 604 h 764"/>
              <a:gd name="T60" fmla="*/ 470 w 897"/>
              <a:gd name="T61" fmla="*/ 632 h 764"/>
              <a:gd name="T62" fmla="*/ 478 w 897"/>
              <a:gd name="T63" fmla="*/ 655 h 764"/>
              <a:gd name="T64" fmla="*/ 476 w 897"/>
              <a:gd name="T65" fmla="*/ 707 h 764"/>
              <a:gd name="T66" fmla="*/ 458 w 897"/>
              <a:gd name="T67" fmla="*/ 760 h 764"/>
              <a:gd name="T68" fmla="*/ 427 w 897"/>
              <a:gd name="T69" fmla="*/ 726 h 764"/>
              <a:gd name="T70" fmla="*/ 395 w 897"/>
              <a:gd name="T71" fmla="*/ 651 h 764"/>
              <a:gd name="T72" fmla="*/ 361 w 897"/>
              <a:gd name="T73" fmla="*/ 645 h 764"/>
              <a:gd name="T74" fmla="*/ 314 w 897"/>
              <a:gd name="T75" fmla="*/ 630 h 764"/>
              <a:gd name="T76" fmla="*/ 308 w 897"/>
              <a:gd name="T77" fmla="*/ 587 h 764"/>
              <a:gd name="T78" fmla="*/ 280 w 897"/>
              <a:gd name="T79" fmla="*/ 565 h 764"/>
              <a:gd name="T80" fmla="*/ 203 w 897"/>
              <a:gd name="T81" fmla="*/ 557 h 764"/>
              <a:gd name="T82" fmla="*/ 136 w 897"/>
              <a:gd name="T83" fmla="*/ 549 h 764"/>
              <a:gd name="T84" fmla="*/ 62 w 897"/>
              <a:gd name="T85" fmla="*/ 551 h 764"/>
              <a:gd name="T86" fmla="*/ 86 w 897"/>
              <a:gd name="T87" fmla="*/ 532 h 764"/>
              <a:gd name="T88" fmla="*/ 112 w 897"/>
              <a:gd name="T89" fmla="*/ 474 h 764"/>
              <a:gd name="T90" fmla="*/ 83 w 897"/>
              <a:gd name="T91" fmla="*/ 424 h 764"/>
              <a:gd name="T92" fmla="*/ 8 w 897"/>
              <a:gd name="T93" fmla="*/ 353 h 764"/>
              <a:gd name="T94" fmla="*/ 39 w 897"/>
              <a:gd name="T95" fmla="*/ 265 h 764"/>
              <a:gd name="T96" fmla="*/ 194 w 897"/>
              <a:gd name="T97" fmla="*/ 67 h 764"/>
              <a:gd name="T98" fmla="*/ 211 w 897"/>
              <a:gd name="T99" fmla="*/ 54 h 764"/>
              <a:gd name="T100" fmla="*/ 225 w 897"/>
              <a:gd name="T101" fmla="*/ 17 h 764"/>
              <a:gd name="T102" fmla="*/ 257 w 897"/>
              <a:gd name="T103" fmla="*/ 16 h 764"/>
              <a:gd name="T104" fmla="*/ 302 w 897"/>
              <a:gd name="T105" fmla="*/ 54 h 764"/>
              <a:gd name="T106" fmla="*/ 325 w 897"/>
              <a:gd name="T107" fmla="*/ 81 h 764"/>
              <a:gd name="T108" fmla="*/ 408 w 897"/>
              <a:gd name="T109" fmla="*/ 159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97" h="764">
                <a:moveTo>
                  <a:pt x="408" y="159"/>
                </a:moveTo>
                <a:lnTo>
                  <a:pt x="414" y="155"/>
                </a:lnTo>
                <a:lnTo>
                  <a:pt x="416" y="150"/>
                </a:lnTo>
                <a:lnTo>
                  <a:pt x="418" y="144"/>
                </a:lnTo>
                <a:lnTo>
                  <a:pt x="418" y="139"/>
                </a:lnTo>
                <a:lnTo>
                  <a:pt x="421" y="134"/>
                </a:lnTo>
                <a:lnTo>
                  <a:pt x="427" y="130"/>
                </a:lnTo>
                <a:lnTo>
                  <a:pt x="440" y="124"/>
                </a:lnTo>
                <a:lnTo>
                  <a:pt x="446" y="120"/>
                </a:lnTo>
                <a:lnTo>
                  <a:pt x="450" y="116"/>
                </a:lnTo>
                <a:lnTo>
                  <a:pt x="451" y="110"/>
                </a:lnTo>
                <a:lnTo>
                  <a:pt x="453" y="106"/>
                </a:lnTo>
                <a:lnTo>
                  <a:pt x="457" y="103"/>
                </a:lnTo>
                <a:lnTo>
                  <a:pt x="462" y="103"/>
                </a:lnTo>
                <a:lnTo>
                  <a:pt x="470" y="105"/>
                </a:lnTo>
                <a:lnTo>
                  <a:pt x="478" y="110"/>
                </a:lnTo>
                <a:lnTo>
                  <a:pt x="488" y="119"/>
                </a:lnTo>
                <a:lnTo>
                  <a:pt x="497" y="129"/>
                </a:lnTo>
                <a:lnTo>
                  <a:pt x="516" y="154"/>
                </a:lnTo>
                <a:lnTo>
                  <a:pt x="528" y="162"/>
                </a:lnTo>
                <a:lnTo>
                  <a:pt x="542" y="178"/>
                </a:lnTo>
                <a:lnTo>
                  <a:pt x="546" y="184"/>
                </a:lnTo>
                <a:lnTo>
                  <a:pt x="550" y="191"/>
                </a:lnTo>
                <a:lnTo>
                  <a:pt x="553" y="207"/>
                </a:lnTo>
                <a:lnTo>
                  <a:pt x="556" y="214"/>
                </a:lnTo>
                <a:lnTo>
                  <a:pt x="566" y="218"/>
                </a:lnTo>
                <a:lnTo>
                  <a:pt x="591" y="221"/>
                </a:lnTo>
                <a:lnTo>
                  <a:pt x="602" y="220"/>
                </a:lnTo>
                <a:lnTo>
                  <a:pt x="608" y="219"/>
                </a:lnTo>
                <a:lnTo>
                  <a:pt x="615" y="218"/>
                </a:lnTo>
                <a:lnTo>
                  <a:pt x="620" y="217"/>
                </a:lnTo>
                <a:lnTo>
                  <a:pt x="626" y="218"/>
                </a:lnTo>
                <a:lnTo>
                  <a:pt x="630" y="219"/>
                </a:lnTo>
                <a:lnTo>
                  <a:pt x="633" y="218"/>
                </a:lnTo>
                <a:lnTo>
                  <a:pt x="633" y="213"/>
                </a:lnTo>
                <a:lnTo>
                  <a:pt x="632" y="202"/>
                </a:lnTo>
                <a:lnTo>
                  <a:pt x="633" y="197"/>
                </a:lnTo>
                <a:lnTo>
                  <a:pt x="635" y="192"/>
                </a:lnTo>
                <a:lnTo>
                  <a:pt x="648" y="176"/>
                </a:lnTo>
                <a:lnTo>
                  <a:pt x="650" y="172"/>
                </a:lnTo>
                <a:lnTo>
                  <a:pt x="653" y="168"/>
                </a:lnTo>
                <a:lnTo>
                  <a:pt x="652" y="162"/>
                </a:lnTo>
                <a:lnTo>
                  <a:pt x="649" y="156"/>
                </a:lnTo>
                <a:lnTo>
                  <a:pt x="648" y="148"/>
                </a:lnTo>
                <a:lnTo>
                  <a:pt x="649" y="142"/>
                </a:lnTo>
                <a:lnTo>
                  <a:pt x="654" y="135"/>
                </a:lnTo>
                <a:lnTo>
                  <a:pt x="660" y="131"/>
                </a:lnTo>
                <a:lnTo>
                  <a:pt x="667" y="128"/>
                </a:lnTo>
                <a:lnTo>
                  <a:pt x="675" y="128"/>
                </a:lnTo>
                <a:lnTo>
                  <a:pt x="688" y="131"/>
                </a:lnTo>
                <a:lnTo>
                  <a:pt x="694" y="130"/>
                </a:lnTo>
                <a:lnTo>
                  <a:pt x="700" y="127"/>
                </a:lnTo>
                <a:lnTo>
                  <a:pt x="709" y="120"/>
                </a:lnTo>
                <a:lnTo>
                  <a:pt x="722" y="109"/>
                </a:lnTo>
                <a:lnTo>
                  <a:pt x="728" y="105"/>
                </a:lnTo>
                <a:lnTo>
                  <a:pt x="744" y="101"/>
                </a:lnTo>
                <a:lnTo>
                  <a:pt x="752" y="98"/>
                </a:lnTo>
                <a:lnTo>
                  <a:pt x="762" y="91"/>
                </a:lnTo>
                <a:lnTo>
                  <a:pt x="766" y="82"/>
                </a:lnTo>
                <a:lnTo>
                  <a:pt x="767" y="75"/>
                </a:lnTo>
                <a:lnTo>
                  <a:pt x="771" y="67"/>
                </a:lnTo>
                <a:lnTo>
                  <a:pt x="777" y="59"/>
                </a:lnTo>
                <a:lnTo>
                  <a:pt x="801" y="43"/>
                </a:lnTo>
                <a:lnTo>
                  <a:pt x="812" y="44"/>
                </a:lnTo>
                <a:lnTo>
                  <a:pt x="808" y="64"/>
                </a:lnTo>
                <a:lnTo>
                  <a:pt x="809" y="70"/>
                </a:lnTo>
                <a:lnTo>
                  <a:pt x="811" y="77"/>
                </a:lnTo>
                <a:lnTo>
                  <a:pt x="816" y="82"/>
                </a:lnTo>
                <a:lnTo>
                  <a:pt x="822" y="85"/>
                </a:lnTo>
                <a:lnTo>
                  <a:pt x="827" y="84"/>
                </a:lnTo>
                <a:lnTo>
                  <a:pt x="829" y="80"/>
                </a:lnTo>
                <a:lnTo>
                  <a:pt x="831" y="74"/>
                </a:lnTo>
                <a:lnTo>
                  <a:pt x="834" y="66"/>
                </a:lnTo>
                <a:lnTo>
                  <a:pt x="838" y="59"/>
                </a:lnTo>
                <a:lnTo>
                  <a:pt x="844" y="53"/>
                </a:lnTo>
                <a:lnTo>
                  <a:pt x="851" y="50"/>
                </a:lnTo>
                <a:lnTo>
                  <a:pt x="857" y="48"/>
                </a:lnTo>
                <a:lnTo>
                  <a:pt x="863" y="48"/>
                </a:lnTo>
                <a:lnTo>
                  <a:pt x="867" y="50"/>
                </a:lnTo>
                <a:lnTo>
                  <a:pt x="888" y="65"/>
                </a:lnTo>
                <a:lnTo>
                  <a:pt x="893" y="70"/>
                </a:lnTo>
                <a:lnTo>
                  <a:pt x="895" y="76"/>
                </a:lnTo>
                <a:lnTo>
                  <a:pt x="897" y="81"/>
                </a:lnTo>
                <a:lnTo>
                  <a:pt x="897" y="87"/>
                </a:lnTo>
                <a:lnTo>
                  <a:pt x="894" y="93"/>
                </a:lnTo>
                <a:lnTo>
                  <a:pt x="887" y="100"/>
                </a:lnTo>
                <a:lnTo>
                  <a:pt x="813" y="137"/>
                </a:lnTo>
                <a:lnTo>
                  <a:pt x="805" y="143"/>
                </a:lnTo>
                <a:lnTo>
                  <a:pt x="800" y="149"/>
                </a:lnTo>
                <a:lnTo>
                  <a:pt x="779" y="189"/>
                </a:lnTo>
                <a:lnTo>
                  <a:pt x="778" y="194"/>
                </a:lnTo>
                <a:lnTo>
                  <a:pt x="780" y="198"/>
                </a:lnTo>
                <a:lnTo>
                  <a:pt x="785" y="204"/>
                </a:lnTo>
                <a:lnTo>
                  <a:pt x="790" y="210"/>
                </a:lnTo>
                <a:lnTo>
                  <a:pt x="795" y="217"/>
                </a:lnTo>
                <a:lnTo>
                  <a:pt x="798" y="223"/>
                </a:lnTo>
                <a:lnTo>
                  <a:pt x="798" y="230"/>
                </a:lnTo>
                <a:lnTo>
                  <a:pt x="793" y="239"/>
                </a:lnTo>
                <a:lnTo>
                  <a:pt x="762" y="291"/>
                </a:lnTo>
                <a:lnTo>
                  <a:pt x="758" y="302"/>
                </a:lnTo>
                <a:lnTo>
                  <a:pt x="756" y="309"/>
                </a:lnTo>
                <a:lnTo>
                  <a:pt x="740" y="342"/>
                </a:lnTo>
                <a:lnTo>
                  <a:pt x="737" y="353"/>
                </a:lnTo>
                <a:lnTo>
                  <a:pt x="737" y="364"/>
                </a:lnTo>
                <a:lnTo>
                  <a:pt x="738" y="374"/>
                </a:lnTo>
                <a:lnTo>
                  <a:pt x="736" y="386"/>
                </a:lnTo>
                <a:lnTo>
                  <a:pt x="730" y="398"/>
                </a:lnTo>
                <a:lnTo>
                  <a:pt x="712" y="417"/>
                </a:lnTo>
                <a:lnTo>
                  <a:pt x="696" y="430"/>
                </a:lnTo>
                <a:lnTo>
                  <a:pt x="673" y="443"/>
                </a:lnTo>
                <a:lnTo>
                  <a:pt x="647" y="451"/>
                </a:lnTo>
                <a:lnTo>
                  <a:pt x="634" y="464"/>
                </a:lnTo>
                <a:lnTo>
                  <a:pt x="552" y="530"/>
                </a:lnTo>
                <a:lnTo>
                  <a:pt x="549" y="536"/>
                </a:lnTo>
                <a:lnTo>
                  <a:pt x="548" y="542"/>
                </a:lnTo>
                <a:lnTo>
                  <a:pt x="551" y="554"/>
                </a:lnTo>
                <a:lnTo>
                  <a:pt x="537" y="567"/>
                </a:lnTo>
                <a:lnTo>
                  <a:pt x="500" y="587"/>
                </a:lnTo>
                <a:lnTo>
                  <a:pt x="488" y="596"/>
                </a:lnTo>
                <a:lnTo>
                  <a:pt x="479" y="604"/>
                </a:lnTo>
                <a:lnTo>
                  <a:pt x="473" y="613"/>
                </a:lnTo>
                <a:lnTo>
                  <a:pt x="470" y="621"/>
                </a:lnTo>
                <a:lnTo>
                  <a:pt x="468" y="626"/>
                </a:lnTo>
                <a:lnTo>
                  <a:pt x="470" y="632"/>
                </a:lnTo>
                <a:lnTo>
                  <a:pt x="473" y="641"/>
                </a:lnTo>
                <a:lnTo>
                  <a:pt x="476" y="646"/>
                </a:lnTo>
                <a:lnTo>
                  <a:pt x="478" y="650"/>
                </a:lnTo>
                <a:lnTo>
                  <a:pt x="478" y="655"/>
                </a:lnTo>
                <a:lnTo>
                  <a:pt x="474" y="668"/>
                </a:lnTo>
                <a:lnTo>
                  <a:pt x="473" y="676"/>
                </a:lnTo>
                <a:lnTo>
                  <a:pt x="472" y="684"/>
                </a:lnTo>
                <a:lnTo>
                  <a:pt x="476" y="707"/>
                </a:lnTo>
                <a:lnTo>
                  <a:pt x="468" y="746"/>
                </a:lnTo>
                <a:lnTo>
                  <a:pt x="466" y="753"/>
                </a:lnTo>
                <a:lnTo>
                  <a:pt x="462" y="758"/>
                </a:lnTo>
                <a:lnTo>
                  <a:pt x="458" y="760"/>
                </a:lnTo>
                <a:lnTo>
                  <a:pt x="453" y="762"/>
                </a:lnTo>
                <a:lnTo>
                  <a:pt x="441" y="764"/>
                </a:lnTo>
                <a:lnTo>
                  <a:pt x="429" y="746"/>
                </a:lnTo>
                <a:lnTo>
                  <a:pt x="427" y="726"/>
                </a:lnTo>
                <a:lnTo>
                  <a:pt x="427" y="711"/>
                </a:lnTo>
                <a:lnTo>
                  <a:pt x="422" y="698"/>
                </a:lnTo>
                <a:lnTo>
                  <a:pt x="402" y="665"/>
                </a:lnTo>
                <a:lnTo>
                  <a:pt x="395" y="651"/>
                </a:lnTo>
                <a:lnTo>
                  <a:pt x="390" y="638"/>
                </a:lnTo>
                <a:lnTo>
                  <a:pt x="386" y="634"/>
                </a:lnTo>
                <a:lnTo>
                  <a:pt x="380" y="635"/>
                </a:lnTo>
                <a:lnTo>
                  <a:pt x="361" y="645"/>
                </a:lnTo>
                <a:lnTo>
                  <a:pt x="351" y="646"/>
                </a:lnTo>
                <a:lnTo>
                  <a:pt x="338" y="646"/>
                </a:lnTo>
                <a:lnTo>
                  <a:pt x="321" y="639"/>
                </a:lnTo>
                <a:lnTo>
                  <a:pt x="314" y="630"/>
                </a:lnTo>
                <a:lnTo>
                  <a:pt x="309" y="622"/>
                </a:lnTo>
                <a:lnTo>
                  <a:pt x="308" y="607"/>
                </a:lnTo>
                <a:lnTo>
                  <a:pt x="309" y="594"/>
                </a:lnTo>
                <a:lnTo>
                  <a:pt x="308" y="587"/>
                </a:lnTo>
                <a:lnTo>
                  <a:pt x="304" y="576"/>
                </a:lnTo>
                <a:lnTo>
                  <a:pt x="297" y="570"/>
                </a:lnTo>
                <a:lnTo>
                  <a:pt x="289" y="565"/>
                </a:lnTo>
                <a:lnTo>
                  <a:pt x="280" y="565"/>
                </a:lnTo>
                <a:lnTo>
                  <a:pt x="262" y="567"/>
                </a:lnTo>
                <a:lnTo>
                  <a:pt x="239" y="567"/>
                </a:lnTo>
                <a:lnTo>
                  <a:pt x="220" y="563"/>
                </a:lnTo>
                <a:lnTo>
                  <a:pt x="203" y="557"/>
                </a:lnTo>
                <a:lnTo>
                  <a:pt x="181" y="549"/>
                </a:lnTo>
                <a:lnTo>
                  <a:pt x="169" y="547"/>
                </a:lnTo>
                <a:lnTo>
                  <a:pt x="161" y="547"/>
                </a:lnTo>
                <a:lnTo>
                  <a:pt x="136" y="549"/>
                </a:lnTo>
                <a:lnTo>
                  <a:pt x="98" y="558"/>
                </a:lnTo>
                <a:lnTo>
                  <a:pt x="74" y="558"/>
                </a:lnTo>
                <a:lnTo>
                  <a:pt x="67" y="555"/>
                </a:lnTo>
                <a:lnTo>
                  <a:pt x="62" y="551"/>
                </a:lnTo>
                <a:lnTo>
                  <a:pt x="64" y="546"/>
                </a:lnTo>
                <a:lnTo>
                  <a:pt x="67" y="543"/>
                </a:lnTo>
                <a:lnTo>
                  <a:pt x="80" y="536"/>
                </a:lnTo>
                <a:lnTo>
                  <a:pt x="86" y="532"/>
                </a:lnTo>
                <a:lnTo>
                  <a:pt x="90" y="525"/>
                </a:lnTo>
                <a:lnTo>
                  <a:pt x="94" y="511"/>
                </a:lnTo>
                <a:lnTo>
                  <a:pt x="109" y="483"/>
                </a:lnTo>
                <a:lnTo>
                  <a:pt x="112" y="474"/>
                </a:lnTo>
                <a:lnTo>
                  <a:pt x="113" y="465"/>
                </a:lnTo>
                <a:lnTo>
                  <a:pt x="111" y="454"/>
                </a:lnTo>
                <a:lnTo>
                  <a:pt x="108" y="445"/>
                </a:lnTo>
                <a:lnTo>
                  <a:pt x="83" y="424"/>
                </a:lnTo>
                <a:lnTo>
                  <a:pt x="0" y="380"/>
                </a:lnTo>
                <a:lnTo>
                  <a:pt x="2" y="367"/>
                </a:lnTo>
                <a:lnTo>
                  <a:pt x="4" y="362"/>
                </a:lnTo>
                <a:lnTo>
                  <a:pt x="8" y="353"/>
                </a:lnTo>
                <a:lnTo>
                  <a:pt x="45" y="309"/>
                </a:lnTo>
                <a:lnTo>
                  <a:pt x="45" y="303"/>
                </a:lnTo>
                <a:lnTo>
                  <a:pt x="44" y="284"/>
                </a:lnTo>
                <a:lnTo>
                  <a:pt x="39" y="265"/>
                </a:lnTo>
                <a:lnTo>
                  <a:pt x="38" y="253"/>
                </a:lnTo>
                <a:lnTo>
                  <a:pt x="42" y="236"/>
                </a:lnTo>
                <a:lnTo>
                  <a:pt x="47" y="220"/>
                </a:lnTo>
                <a:lnTo>
                  <a:pt x="194" y="67"/>
                </a:lnTo>
                <a:lnTo>
                  <a:pt x="197" y="65"/>
                </a:lnTo>
                <a:lnTo>
                  <a:pt x="201" y="63"/>
                </a:lnTo>
                <a:lnTo>
                  <a:pt x="205" y="59"/>
                </a:lnTo>
                <a:lnTo>
                  <a:pt x="211" y="54"/>
                </a:lnTo>
                <a:lnTo>
                  <a:pt x="226" y="39"/>
                </a:lnTo>
                <a:lnTo>
                  <a:pt x="229" y="32"/>
                </a:lnTo>
                <a:lnTo>
                  <a:pt x="230" y="25"/>
                </a:lnTo>
                <a:lnTo>
                  <a:pt x="225" y="17"/>
                </a:lnTo>
                <a:lnTo>
                  <a:pt x="217" y="0"/>
                </a:lnTo>
                <a:lnTo>
                  <a:pt x="240" y="1"/>
                </a:lnTo>
                <a:lnTo>
                  <a:pt x="250" y="7"/>
                </a:lnTo>
                <a:lnTo>
                  <a:pt x="257" y="16"/>
                </a:lnTo>
                <a:lnTo>
                  <a:pt x="269" y="42"/>
                </a:lnTo>
                <a:lnTo>
                  <a:pt x="276" y="49"/>
                </a:lnTo>
                <a:lnTo>
                  <a:pt x="284" y="52"/>
                </a:lnTo>
                <a:lnTo>
                  <a:pt x="302" y="54"/>
                </a:lnTo>
                <a:lnTo>
                  <a:pt x="312" y="61"/>
                </a:lnTo>
                <a:lnTo>
                  <a:pt x="319" y="68"/>
                </a:lnTo>
                <a:lnTo>
                  <a:pt x="321" y="75"/>
                </a:lnTo>
                <a:lnTo>
                  <a:pt x="325" y="81"/>
                </a:lnTo>
                <a:lnTo>
                  <a:pt x="331" y="90"/>
                </a:lnTo>
                <a:lnTo>
                  <a:pt x="390" y="152"/>
                </a:lnTo>
                <a:lnTo>
                  <a:pt x="400" y="157"/>
                </a:lnTo>
                <a:lnTo>
                  <a:pt x="408" y="159"/>
                </a:lnTo>
                <a:close/>
              </a:path>
            </a:pathLst>
          </a:custGeom>
          <a:solidFill>
            <a:srgbClr val="004B8E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EEE8812C-3483-15B4-6884-A4AFE1D206FB}"/>
              </a:ext>
            </a:extLst>
          </p:cNvPr>
          <p:cNvSpPr/>
          <p:nvPr/>
        </p:nvSpPr>
        <p:spPr>
          <a:xfrm>
            <a:off x="729828" y="290598"/>
            <a:ext cx="455748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MEDIACIÓN</a:t>
            </a:r>
          </a:p>
        </p:txBody>
      </p:sp>
      <p:pic>
        <p:nvPicPr>
          <p:cNvPr id="9" name="Imagen 8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4A94DDE0-FF2C-C097-FD60-28802364B4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1220" y="2960306"/>
            <a:ext cx="977430" cy="385466"/>
          </a:xfrm>
          <a:prstGeom prst="rect">
            <a:avLst/>
          </a:prstGeom>
        </p:spPr>
      </p:pic>
      <p:pic>
        <p:nvPicPr>
          <p:cNvPr id="38" name="Imagen 37" descr="Icono&#10;&#10;Descripción generada automáticamente con confianza media">
            <a:extLst>
              <a:ext uri="{FF2B5EF4-FFF2-40B4-BE49-F238E27FC236}">
                <a16:creationId xmlns:a16="http://schemas.microsoft.com/office/drawing/2014/main" id="{46240703-5621-A4ED-ECC3-6CCEB91E50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71"/>
          <a:stretch/>
        </p:blipFill>
        <p:spPr>
          <a:xfrm>
            <a:off x="5469437" y="4395798"/>
            <a:ext cx="612000" cy="434342"/>
          </a:xfrm>
          <a:prstGeom prst="rect">
            <a:avLst/>
          </a:prstGeom>
        </p:spPr>
      </p:pic>
      <p:pic>
        <p:nvPicPr>
          <p:cNvPr id="39" name="Imagen 38" descr="Icono&#10;&#10;Descripción generada automáticamente con confianza media">
            <a:extLst>
              <a:ext uri="{FF2B5EF4-FFF2-40B4-BE49-F238E27FC236}">
                <a16:creationId xmlns:a16="http://schemas.microsoft.com/office/drawing/2014/main" id="{89D645BB-EE4F-CCC5-3DD6-5FDFC36311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71"/>
          <a:stretch/>
        </p:blipFill>
        <p:spPr>
          <a:xfrm>
            <a:off x="5946026" y="3313499"/>
            <a:ext cx="612000" cy="434342"/>
          </a:xfrm>
          <a:prstGeom prst="rect">
            <a:avLst/>
          </a:prstGeom>
        </p:spPr>
      </p:pic>
      <p:pic>
        <p:nvPicPr>
          <p:cNvPr id="40" name="Imagen 39" descr="Icono&#10;&#10;Descripción generada automáticamente con confianza media">
            <a:extLst>
              <a:ext uri="{FF2B5EF4-FFF2-40B4-BE49-F238E27FC236}">
                <a16:creationId xmlns:a16="http://schemas.microsoft.com/office/drawing/2014/main" id="{C5BA75BC-A48E-7515-6735-F349A53E16F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71"/>
          <a:stretch/>
        </p:blipFill>
        <p:spPr>
          <a:xfrm>
            <a:off x="6226011" y="1561696"/>
            <a:ext cx="612000" cy="434342"/>
          </a:xfrm>
          <a:prstGeom prst="rect">
            <a:avLst/>
          </a:prstGeom>
        </p:spPr>
      </p:pic>
      <p:pic>
        <p:nvPicPr>
          <p:cNvPr id="41" name="Imagen 40" descr="Icono&#10;&#10;Descripción generada automáticamente con confianza media">
            <a:extLst>
              <a:ext uri="{FF2B5EF4-FFF2-40B4-BE49-F238E27FC236}">
                <a16:creationId xmlns:a16="http://schemas.microsoft.com/office/drawing/2014/main" id="{5750FB0D-77D6-E5AC-0E3E-59EF37A301F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71"/>
          <a:stretch/>
        </p:blipFill>
        <p:spPr>
          <a:xfrm>
            <a:off x="4257957" y="2399270"/>
            <a:ext cx="612000" cy="434342"/>
          </a:xfrm>
          <a:prstGeom prst="rect">
            <a:avLst/>
          </a:prstGeom>
        </p:spPr>
      </p:pic>
      <p:pic>
        <p:nvPicPr>
          <p:cNvPr id="42" name="Imagen 41" descr="Icono&#10;&#10;Descripción generada automáticamente con confianza media">
            <a:extLst>
              <a:ext uri="{FF2B5EF4-FFF2-40B4-BE49-F238E27FC236}">
                <a16:creationId xmlns:a16="http://schemas.microsoft.com/office/drawing/2014/main" id="{4ACC915D-0061-E8D6-9AEF-6A454DA2AB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71"/>
          <a:stretch/>
        </p:blipFill>
        <p:spPr>
          <a:xfrm>
            <a:off x="4575530" y="3182970"/>
            <a:ext cx="612000" cy="434342"/>
          </a:xfrm>
          <a:prstGeom prst="rect">
            <a:avLst/>
          </a:prstGeom>
        </p:spPr>
      </p:pic>
      <p:pic>
        <p:nvPicPr>
          <p:cNvPr id="44" name="Imagen 43" descr="Icono&#10;&#10;Descripción generada automáticamente con confianza media">
            <a:extLst>
              <a:ext uri="{FF2B5EF4-FFF2-40B4-BE49-F238E27FC236}">
                <a16:creationId xmlns:a16="http://schemas.microsoft.com/office/drawing/2014/main" id="{08E1C842-5C8C-4B1B-8A5C-9BDD3B1194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07" y="2863473"/>
            <a:ext cx="639485" cy="558041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AE7B21A-BC5B-C8B3-60CE-3E0F5E51F07C}"/>
              </a:ext>
            </a:extLst>
          </p:cNvPr>
          <p:cNvSpPr txBox="1"/>
          <p:nvPr/>
        </p:nvSpPr>
        <p:spPr>
          <a:xfrm>
            <a:off x="757973" y="2621752"/>
            <a:ext cx="2366494" cy="277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Proyecto de remodelación 2025</a:t>
            </a:r>
            <a:endParaRPr lang="es-EC" sz="1200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" name="Entrada de lápiz 1">
                <a:extLst>
                  <a:ext uri="{FF2B5EF4-FFF2-40B4-BE49-F238E27FC236}">
                    <a16:creationId xmlns:a16="http://schemas.microsoft.com/office/drawing/2014/main" id="{01B620F9-DDE3-2556-6701-DE81B019EDD5}"/>
                  </a:ext>
                </a:extLst>
              </p14:cNvPr>
              <p14:cNvContentPartPr/>
              <p14:nvPr/>
            </p14:nvContentPartPr>
            <p14:xfrm>
              <a:off x="9486720" y="3924360"/>
              <a:ext cx="360" cy="360"/>
            </p14:xfrm>
          </p:contentPart>
        </mc:Choice>
        <mc:Fallback xmlns="">
          <p:pic>
            <p:nvPicPr>
              <p:cNvPr id="2" name="Entrada de lápiz 1">
                <a:extLst>
                  <a:ext uri="{FF2B5EF4-FFF2-40B4-BE49-F238E27FC236}">
                    <a16:creationId xmlns:a16="http://schemas.microsoft.com/office/drawing/2014/main" id="{01B620F9-DDE3-2556-6701-DE81B019EDD5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477360" y="3915000"/>
                <a:ext cx="190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94238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1" grpId="0" animBg="1"/>
      <p:bldP spid="25" grpId="0" animBg="1"/>
      <p:bldP spid="30" grpId="0" animBg="1"/>
      <p:bldP spid="34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:\Users\asangucho\Desktop\Power Point\Consultoria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471" y="1715149"/>
            <a:ext cx="3427703" cy="342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7 CuadroTexto"/>
          <p:cNvSpPr txBox="1"/>
          <p:nvPr/>
        </p:nvSpPr>
        <p:spPr>
          <a:xfrm>
            <a:off x="4765674" y="3167390"/>
            <a:ext cx="74263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Consultoría y Asesoramiento Legal</a:t>
            </a: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FD2CB1C7-A2A1-AD83-E4A4-98D43871960C}"/>
              </a:ext>
            </a:extLst>
          </p:cNvPr>
          <p:cNvSpPr/>
          <p:nvPr/>
        </p:nvSpPr>
        <p:spPr>
          <a:xfrm>
            <a:off x="4882514" y="3690610"/>
            <a:ext cx="6125846" cy="374571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Absolver consultas con carácter vinculante al Sector Publico.</a:t>
            </a:r>
          </a:p>
        </p:txBody>
      </p:sp>
    </p:spTree>
    <p:extLst>
      <p:ext uri="{BB962C8B-B14F-4D97-AF65-F5344CB8AC3E}">
        <p14:creationId xmlns:p14="http://schemas.microsoft.com/office/powerpoint/2010/main" val="31517753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793251571"/>
              </p:ext>
            </p:extLst>
          </p:nvPr>
        </p:nvGraphicFramePr>
        <p:xfrm>
          <a:off x="491602" y="1092395"/>
          <a:ext cx="11325346" cy="4651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Elipse 12">
            <a:extLst>
              <a:ext uri="{FF2B5EF4-FFF2-40B4-BE49-F238E27FC236}">
                <a16:creationId xmlns:a16="http://schemas.microsoft.com/office/drawing/2014/main" id="{E4434586-2B94-BA7A-D080-A11B241762DE}"/>
              </a:ext>
            </a:extLst>
          </p:cNvPr>
          <p:cNvSpPr/>
          <p:nvPr/>
        </p:nvSpPr>
        <p:spPr>
          <a:xfrm>
            <a:off x="5457372" y="984244"/>
            <a:ext cx="2106336" cy="2051739"/>
          </a:xfrm>
          <a:prstGeom prst="ellipse">
            <a:avLst/>
          </a:prstGeom>
          <a:solidFill>
            <a:srgbClr val="FFC20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7175" y="6781800"/>
            <a:ext cx="504825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32</a:t>
            </a:fld>
            <a:endParaRPr lang="es-EC" dirty="0"/>
          </a:p>
        </p:txBody>
      </p:sp>
      <p:sp>
        <p:nvSpPr>
          <p:cNvPr id="5" name="Rectángulo 4"/>
          <p:cNvSpPr/>
          <p:nvPr/>
        </p:nvSpPr>
        <p:spPr>
          <a:xfrm>
            <a:off x="1053294" y="386301"/>
            <a:ext cx="24203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sultorí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9DF7EAB-82AD-46BC-8E25-25E54BB91FAC}"/>
              </a:ext>
            </a:extLst>
          </p:cNvPr>
          <p:cNvSpPr txBox="1"/>
          <p:nvPr/>
        </p:nvSpPr>
        <p:spPr>
          <a:xfrm>
            <a:off x="5486509" y="894131"/>
            <a:ext cx="2048062" cy="179081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C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sz="7000" b="1" dirty="0">
                <a:solidFill>
                  <a:srgbClr val="004B8E"/>
                </a:solidFill>
              </a:rPr>
              <a:t>5</a:t>
            </a:r>
            <a:r>
              <a:rPr lang="es-EC" sz="7000" b="1" dirty="0">
                <a:solidFill>
                  <a:srgbClr val="004B8E"/>
                </a:solidFill>
              </a:rPr>
              <a:t>84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45A5D18-9E3E-3493-41F9-21EB67A65806}"/>
              </a:ext>
            </a:extLst>
          </p:cNvPr>
          <p:cNvSpPr txBox="1"/>
          <p:nvPr/>
        </p:nvSpPr>
        <p:spPr>
          <a:xfrm>
            <a:off x="5781583" y="2121587"/>
            <a:ext cx="1457914" cy="49258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C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C" sz="1200" dirty="0">
                <a:solidFill>
                  <a:srgbClr val="004B8E"/>
                </a:solidFill>
              </a:rPr>
              <a:t>consultas atendidas en 2025</a:t>
            </a:r>
            <a:endParaRPr lang="es-EC" sz="1400" dirty="0">
              <a:solidFill>
                <a:srgbClr val="004B8E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4767D69-6FDD-7D57-CD5D-AFB060554535}"/>
              </a:ext>
            </a:extLst>
          </p:cNvPr>
          <p:cNvSpPr txBox="1"/>
          <p:nvPr/>
        </p:nvSpPr>
        <p:spPr>
          <a:xfrm>
            <a:off x="5778349" y="1114406"/>
            <a:ext cx="1457914" cy="49258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C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C" sz="1600" dirty="0">
                <a:solidFill>
                  <a:srgbClr val="004B8E"/>
                </a:solidFill>
              </a:rPr>
              <a:t>Total</a:t>
            </a:r>
            <a:endParaRPr lang="es-EC" dirty="0">
              <a:solidFill>
                <a:srgbClr val="004B8E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ADBB645-B028-870C-4CC1-2D3E1F904D88}"/>
              </a:ext>
            </a:extLst>
          </p:cNvPr>
          <p:cNvSpPr/>
          <p:nvPr/>
        </p:nvSpPr>
        <p:spPr>
          <a:xfrm>
            <a:off x="1153552" y="5780275"/>
            <a:ext cx="5888108" cy="72000"/>
          </a:xfrm>
          <a:prstGeom prst="rect">
            <a:avLst/>
          </a:prstGeom>
          <a:solidFill>
            <a:srgbClr val="004B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162CBB31-DE18-6898-B192-082AF626A202}"/>
              </a:ext>
            </a:extLst>
          </p:cNvPr>
          <p:cNvCxnSpPr/>
          <p:nvPr/>
        </p:nvCxnSpPr>
        <p:spPr>
          <a:xfrm>
            <a:off x="1137920" y="5435600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FDD26DB6-FF3E-F837-372D-845D9E13F722}"/>
              </a:ext>
            </a:extLst>
          </p:cNvPr>
          <p:cNvCxnSpPr/>
          <p:nvPr/>
        </p:nvCxnSpPr>
        <p:spPr>
          <a:xfrm>
            <a:off x="7041662" y="5417600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1B3F3E6-81A0-282C-C41E-3F7E551A94D5}"/>
              </a:ext>
            </a:extLst>
          </p:cNvPr>
          <p:cNvSpPr txBox="1"/>
          <p:nvPr/>
        </p:nvSpPr>
        <p:spPr>
          <a:xfrm>
            <a:off x="1275473" y="5873756"/>
            <a:ext cx="5283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004B8E"/>
                </a:solidFill>
              </a:rPr>
              <a:t>398</a:t>
            </a:r>
            <a:r>
              <a:rPr lang="es-MX" dirty="0">
                <a:solidFill>
                  <a:srgbClr val="004B8E"/>
                </a:solidFill>
              </a:rPr>
              <a:t> </a:t>
            </a:r>
            <a:r>
              <a:rPr lang="es-MX" sz="1600" dirty="0">
                <a:solidFill>
                  <a:srgbClr val="004B8E"/>
                </a:solidFill>
              </a:rPr>
              <a:t>preguntas que cumplieron los requisitos = </a:t>
            </a:r>
            <a:r>
              <a:rPr lang="es-MX" b="1" dirty="0">
                <a:solidFill>
                  <a:srgbClr val="004B8E"/>
                </a:solidFill>
              </a:rPr>
              <a:t>68,2%</a:t>
            </a:r>
            <a:endParaRPr lang="es-EC" b="1" dirty="0">
              <a:solidFill>
                <a:srgbClr val="004B8E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739AA38-A7D7-A547-D0EC-BAC46B3260C2}"/>
              </a:ext>
            </a:extLst>
          </p:cNvPr>
          <p:cNvSpPr txBox="1"/>
          <p:nvPr/>
        </p:nvSpPr>
        <p:spPr>
          <a:xfrm>
            <a:off x="1275473" y="3244334"/>
            <a:ext cx="930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48,2%</a:t>
            </a:r>
            <a:endParaRPr lang="es-EC" b="1" dirty="0">
              <a:solidFill>
                <a:schemeClr val="bg1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6B75B88-E3BA-7153-0AD5-A82E20C6E40B}"/>
              </a:ext>
            </a:extLst>
          </p:cNvPr>
          <p:cNvSpPr txBox="1"/>
          <p:nvPr/>
        </p:nvSpPr>
        <p:spPr>
          <a:xfrm>
            <a:off x="3451671" y="3244334"/>
            <a:ext cx="930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47,5%</a:t>
            </a:r>
            <a:endParaRPr lang="es-EC" b="1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4EE7618-5A10-0343-D911-E818CC2E4FD1}"/>
              </a:ext>
            </a:extLst>
          </p:cNvPr>
          <p:cNvSpPr txBox="1"/>
          <p:nvPr/>
        </p:nvSpPr>
        <p:spPr>
          <a:xfrm>
            <a:off x="5688874" y="5063585"/>
            <a:ext cx="930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4,3%</a:t>
            </a:r>
            <a:endParaRPr lang="es-EC" sz="1400" b="1" dirty="0">
              <a:solidFill>
                <a:schemeClr val="bg1"/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29042292-A1A3-3286-6B9B-F8AFDCCBC03E}"/>
              </a:ext>
            </a:extLst>
          </p:cNvPr>
          <p:cNvSpPr/>
          <p:nvPr/>
        </p:nvSpPr>
        <p:spPr>
          <a:xfrm>
            <a:off x="7041659" y="5780275"/>
            <a:ext cx="2451124" cy="72000"/>
          </a:xfrm>
          <a:prstGeom prst="rect">
            <a:avLst/>
          </a:prstGeom>
          <a:solidFill>
            <a:srgbClr val="339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DFB1C3FB-5ACE-2854-94EE-E6BC96C62562}"/>
              </a:ext>
            </a:extLst>
          </p:cNvPr>
          <p:cNvSpPr/>
          <p:nvPr/>
        </p:nvSpPr>
        <p:spPr>
          <a:xfrm>
            <a:off x="9492782" y="5780275"/>
            <a:ext cx="2087966" cy="72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F4A6C1C2-0643-983F-BA13-A52AC8BD7AD0}"/>
              </a:ext>
            </a:extLst>
          </p:cNvPr>
          <p:cNvCxnSpPr/>
          <p:nvPr/>
        </p:nvCxnSpPr>
        <p:spPr>
          <a:xfrm>
            <a:off x="9492783" y="5438794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568FD8CB-83DD-EC28-4962-DC18F578C57F}"/>
              </a:ext>
            </a:extLst>
          </p:cNvPr>
          <p:cNvCxnSpPr/>
          <p:nvPr/>
        </p:nvCxnSpPr>
        <p:spPr>
          <a:xfrm>
            <a:off x="11580748" y="5417600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20">
            <a:extLst>
              <a:ext uri="{FF2B5EF4-FFF2-40B4-BE49-F238E27FC236}">
                <a16:creationId xmlns:a16="http://schemas.microsoft.com/office/drawing/2014/main" id="{A99068F7-AED5-E319-5BC0-57AB7EF4BFB2}"/>
              </a:ext>
            </a:extLst>
          </p:cNvPr>
          <p:cNvSpPr txBox="1"/>
          <p:nvPr/>
        </p:nvSpPr>
        <p:spPr>
          <a:xfrm>
            <a:off x="7404818" y="5873756"/>
            <a:ext cx="174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3399FF"/>
                </a:solidFill>
              </a:rPr>
              <a:t>5.8%</a:t>
            </a:r>
            <a:endParaRPr lang="es-EC" b="1" dirty="0">
              <a:solidFill>
                <a:srgbClr val="3399FF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3CFAA30-F352-8928-F0F4-D52B563245B5}"/>
              </a:ext>
            </a:extLst>
          </p:cNvPr>
          <p:cNvSpPr txBox="1"/>
          <p:nvPr/>
        </p:nvSpPr>
        <p:spPr>
          <a:xfrm>
            <a:off x="9512058" y="5873756"/>
            <a:ext cx="174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6,0%</a:t>
            </a:r>
            <a:endParaRPr lang="es-EC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905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B52F70B8-D248-AEAE-2ED9-16D79697DA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314191"/>
              </p:ext>
            </p:extLst>
          </p:nvPr>
        </p:nvGraphicFramePr>
        <p:xfrm>
          <a:off x="491602" y="1092395"/>
          <a:ext cx="11325346" cy="4651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riángulo rectángulo 2">
            <a:extLst>
              <a:ext uri="{FF2B5EF4-FFF2-40B4-BE49-F238E27FC236}">
                <a16:creationId xmlns:a16="http://schemas.microsoft.com/office/drawing/2014/main" id="{31A2BA3C-BFBF-886B-5C9B-34E2367D8575}"/>
              </a:ext>
            </a:extLst>
          </p:cNvPr>
          <p:cNvSpPr/>
          <p:nvPr/>
        </p:nvSpPr>
        <p:spPr>
          <a:xfrm>
            <a:off x="2706228" y="4114801"/>
            <a:ext cx="1397939" cy="800832"/>
          </a:xfrm>
          <a:prstGeom prst="rtTriangle">
            <a:avLst/>
          </a:prstGeom>
          <a:solidFill>
            <a:srgbClr val="65B2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4" name="Triángulo rectángulo 3">
            <a:extLst>
              <a:ext uri="{FF2B5EF4-FFF2-40B4-BE49-F238E27FC236}">
                <a16:creationId xmlns:a16="http://schemas.microsoft.com/office/drawing/2014/main" id="{CF953A0E-1FC1-70D6-E167-521FD722D7F7}"/>
              </a:ext>
            </a:extLst>
          </p:cNvPr>
          <p:cNvSpPr/>
          <p:nvPr/>
        </p:nvSpPr>
        <p:spPr>
          <a:xfrm>
            <a:off x="8228070" y="2119422"/>
            <a:ext cx="1397939" cy="1229833"/>
          </a:xfrm>
          <a:prstGeom prst="rtTriangle">
            <a:avLst/>
          </a:prstGeom>
          <a:solidFill>
            <a:srgbClr val="65B2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DB4912-46DF-8478-48C6-2838F383D01C}"/>
              </a:ext>
            </a:extLst>
          </p:cNvPr>
          <p:cNvSpPr txBox="1"/>
          <p:nvPr/>
        </p:nvSpPr>
        <p:spPr>
          <a:xfrm>
            <a:off x="2600091" y="4146192"/>
            <a:ext cx="15040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rgbClr val="004B8E"/>
                </a:solidFill>
              </a:rPr>
              <a:t>65%</a:t>
            </a:r>
            <a:endParaRPr lang="es-EC" sz="4400" b="1" dirty="0">
              <a:solidFill>
                <a:srgbClr val="004B8E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B0460C1-C8F9-8ED8-C61D-27AFC73F4B1F}"/>
              </a:ext>
            </a:extLst>
          </p:cNvPr>
          <p:cNvSpPr txBox="1"/>
          <p:nvPr/>
        </p:nvSpPr>
        <p:spPr>
          <a:xfrm>
            <a:off x="8121933" y="2427767"/>
            <a:ext cx="15040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rgbClr val="004B8E"/>
                </a:solidFill>
              </a:rPr>
              <a:t>38%</a:t>
            </a:r>
            <a:endParaRPr lang="es-EC" sz="4400" b="1" dirty="0">
              <a:solidFill>
                <a:srgbClr val="004B8E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EE4CB71-CB60-E09C-F386-FB117394024C}"/>
              </a:ext>
            </a:extLst>
          </p:cNvPr>
          <p:cNvSpPr/>
          <p:nvPr/>
        </p:nvSpPr>
        <p:spPr>
          <a:xfrm>
            <a:off x="1053294" y="386301"/>
            <a:ext cx="24203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sultoría</a:t>
            </a:r>
          </a:p>
        </p:txBody>
      </p:sp>
    </p:spTree>
    <p:extLst>
      <p:ext uri="{BB962C8B-B14F-4D97-AF65-F5344CB8AC3E}">
        <p14:creationId xmlns:p14="http://schemas.microsoft.com/office/powerpoint/2010/main" val="39880024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0EB6A507-14CA-69D7-DD28-DEF6B221B154}"/>
              </a:ext>
            </a:extLst>
          </p:cNvPr>
          <p:cNvSpPr/>
          <p:nvPr/>
        </p:nvSpPr>
        <p:spPr>
          <a:xfrm>
            <a:off x="884112" y="386301"/>
            <a:ext cx="24203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sultorí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FF92605-1379-4076-7C35-3986ADB266E7}"/>
              </a:ext>
            </a:extLst>
          </p:cNvPr>
          <p:cNvSpPr txBox="1"/>
          <p:nvPr/>
        </p:nvSpPr>
        <p:spPr>
          <a:xfrm>
            <a:off x="5217457" y="2490767"/>
            <a:ext cx="4930589" cy="26440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EC" dirty="0"/>
              <a:t>¿Cuál es la entidad competente para regular la emisión de créditos preferentes previstos en el inciso segundo del artículo 61 de la Ley Orgánica de las Personas con Discapacidad?</a:t>
            </a:r>
            <a:endParaRPr lang="es-ES" sz="16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8AC39CC-DE2B-953C-7191-E9A8E27BB41C}"/>
              </a:ext>
            </a:extLst>
          </p:cNvPr>
          <p:cNvSpPr txBox="1"/>
          <p:nvPr/>
        </p:nvSpPr>
        <p:spPr>
          <a:xfrm>
            <a:off x="1380566" y="1849216"/>
            <a:ext cx="3263152" cy="641551"/>
          </a:xfrm>
          <a:prstGeom prst="rect">
            <a:avLst/>
          </a:prstGeom>
          <a:solidFill>
            <a:srgbClr val="FDC20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C" b="1" dirty="0"/>
              <a:t>Superintendencia de Bancos </a:t>
            </a:r>
            <a:endParaRPr lang="es-EC" sz="1400" b="1" dirty="0"/>
          </a:p>
        </p:txBody>
      </p:sp>
    </p:spTree>
    <p:extLst>
      <p:ext uri="{BB962C8B-B14F-4D97-AF65-F5344CB8AC3E}">
        <p14:creationId xmlns:p14="http://schemas.microsoft.com/office/powerpoint/2010/main" val="33124332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57698C42-DB04-4E65-8951-B199AC27098A}"/>
              </a:ext>
            </a:extLst>
          </p:cNvPr>
          <p:cNvSpPr txBox="1"/>
          <p:nvPr/>
        </p:nvSpPr>
        <p:spPr>
          <a:xfrm>
            <a:off x="857873" y="253670"/>
            <a:ext cx="596028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270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Bebas Neue" panose="020B0606020202050201" pitchFamily="34" charset="0"/>
              </a:rPr>
              <a:t>Servicio de Asesoramiento Legal Externo (ALE)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67DDB0F-8E9F-4988-A887-E112D7B96B58}"/>
              </a:ext>
            </a:extLst>
          </p:cNvPr>
          <p:cNvSpPr/>
          <p:nvPr/>
        </p:nvSpPr>
        <p:spPr>
          <a:xfrm>
            <a:off x="903671" y="2461000"/>
            <a:ext cx="252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rgbClr val="0070C0"/>
                </a:solidFill>
              </a:rPr>
              <a:t>Asesoramiento</a:t>
            </a:r>
          </a:p>
          <a:p>
            <a:pPr algn="ctr"/>
            <a:r>
              <a:rPr lang="es-EC" sz="1400" dirty="0">
                <a:solidFill>
                  <a:srgbClr val="0070C0"/>
                </a:solidFill>
              </a:rPr>
              <a:t>De enero a diciembre 2025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4949450-CB83-4B5D-AF8E-0AC9090313B0}"/>
              </a:ext>
            </a:extLst>
          </p:cNvPr>
          <p:cNvSpPr/>
          <p:nvPr/>
        </p:nvSpPr>
        <p:spPr>
          <a:xfrm>
            <a:off x="903671" y="3037000"/>
            <a:ext cx="2520000" cy="75184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3600" b="1" dirty="0">
                <a:solidFill>
                  <a:schemeClr val="bg1"/>
                </a:solidFill>
              </a:rPr>
              <a:t>119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93DC5AAF-D5DF-2F8B-2CB3-0C86FF9CA948}"/>
              </a:ext>
            </a:extLst>
          </p:cNvPr>
          <p:cNvSpPr/>
          <p:nvPr/>
        </p:nvSpPr>
        <p:spPr>
          <a:xfrm>
            <a:off x="903671" y="3788839"/>
            <a:ext cx="2520000" cy="11167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rgbClr val="0070C0"/>
                </a:solidFill>
              </a:rPr>
              <a:t>Término de entrega de respuestas: </a:t>
            </a:r>
          </a:p>
          <a:p>
            <a:pPr algn="ctr"/>
            <a:r>
              <a:rPr lang="es-EC" sz="2800" b="1" dirty="0">
                <a:solidFill>
                  <a:srgbClr val="0070C0"/>
                </a:solidFill>
              </a:rPr>
              <a:t>4 días</a:t>
            </a:r>
            <a:endParaRPr lang="es-EC" sz="2000" b="1" dirty="0">
              <a:solidFill>
                <a:srgbClr val="0070C0"/>
              </a:solidFill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2FFDD5A8-0C3A-90E1-932C-722286CCBA69}"/>
              </a:ext>
            </a:extLst>
          </p:cNvPr>
          <p:cNvSpPr>
            <a:spLocks/>
          </p:cNvSpPr>
          <p:nvPr/>
        </p:nvSpPr>
        <p:spPr bwMode="auto">
          <a:xfrm>
            <a:off x="6937007" y="5057366"/>
            <a:ext cx="861267" cy="1270172"/>
          </a:xfrm>
          <a:custGeom>
            <a:avLst/>
            <a:gdLst>
              <a:gd name="T0" fmla="*/ 534 w 727"/>
              <a:gd name="T1" fmla="*/ 152 h 1133"/>
              <a:gd name="T2" fmla="*/ 555 w 727"/>
              <a:gd name="T3" fmla="*/ 144 h 1133"/>
              <a:gd name="T4" fmla="*/ 726 w 727"/>
              <a:gd name="T5" fmla="*/ 138 h 1133"/>
              <a:gd name="T6" fmla="*/ 708 w 727"/>
              <a:gd name="T7" fmla="*/ 182 h 1133"/>
              <a:gd name="T8" fmla="*/ 709 w 727"/>
              <a:gd name="T9" fmla="*/ 239 h 1133"/>
              <a:gd name="T10" fmla="*/ 693 w 727"/>
              <a:gd name="T11" fmla="*/ 249 h 1133"/>
              <a:gd name="T12" fmla="*/ 681 w 727"/>
              <a:gd name="T13" fmla="*/ 330 h 1133"/>
              <a:gd name="T14" fmla="*/ 656 w 727"/>
              <a:gd name="T15" fmla="*/ 353 h 1133"/>
              <a:gd name="T16" fmla="*/ 642 w 727"/>
              <a:gd name="T17" fmla="*/ 423 h 1133"/>
              <a:gd name="T18" fmla="*/ 609 w 727"/>
              <a:gd name="T19" fmla="*/ 433 h 1133"/>
              <a:gd name="T20" fmla="*/ 592 w 727"/>
              <a:gd name="T21" fmla="*/ 521 h 1133"/>
              <a:gd name="T22" fmla="*/ 526 w 727"/>
              <a:gd name="T23" fmla="*/ 659 h 1133"/>
              <a:gd name="T24" fmla="*/ 536 w 727"/>
              <a:gd name="T25" fmla="*/ 736 h 1133"/>
              <a:gd name="T26" fmla="*/ 530 w 727"/>
              <a:gd name="T27" fmla="*/ 785 h 1133"/>
              <a:gd name="T28" fmla="*/ 522 w 727"/>
              <a:gd name="T29" fmla="*/ 835 h 1133"/>
              <a:gd name="T30" fmla="*/ 407 w 727"/>
              <a:gd name="T31" fmla="*/ 891 h 1133"/>
              <a:gd name="T32" fmla="*/ 357 w 727"/>
              <a:gd name="T33" fmla="*/ 974 h 1133"/>
              <a:gd name="T34" fmla="*/ 353 w 727"/>
              <a:gd name="T35" fmla="*/ 1038 h 1133"/>
              <a:gd name="T36" fmla="*/ 308 w 727"/>
              <a:gd name="T37" fmla="*/ 1084 h 1133"/>
              <a:gd name="T38" fmla="*/ 253 w 727"/>
              <a:gd name="T39" fmla="*/ 1121 h 1133"/>
              <a:gd name="T40" fmla="*/ 221 w 727"/>
              <a:gd name="T41" fmla="*/ 1113 h 1133"/>
              <a:gd name="T42" fmla="*/ 169 w 727"/>
              <a:gd name="T43" fmla="*/ 1101 h 1133"/>
              <a:gd name="T44" fmla="*/ 96 w 727"/>
              <a:gd name="T45" fmla="*/ 1088 h 1133"/>
              <a:gd name="T46" fmla="*/ 62 w 727"/>
              <a:gd name="T47" fmla="*/ 1053 h 1133"/>
              <a:gd name="T48" fmla="*/ 44 w 727"/>
              <a:gd name="T49" fmla="*/ 1023 h 1133"/>
              <a:gd name="T50" fmla="*/ 2 w 727"/>
              <a:gd name="T51" fmla="*/ 983 h 1133"/>
              <a:gd name="T52" fmla="*/ 57 w 727"/>
              <a:gd name="T53" fmla="*/ 901 h 1133"/>
              <a:gd name="T54" fmla="*/ 94 w 727"/>
              <a:gd name="T55" fmla="*/ 845 h 1133"/>
              <a:gd name="T56" fmla="*/ 95 w 727"/>
              <a:gd name="T57" fmla="*/ 798 h 1133"/>
              <a:gd name="T58" fmla="*/ 118 w 727"/>
              <a:gd name="T59" fmla="*/ 773 h 1133"/>
              <a:gd name="T60" fmla="*/ 147 w 727"/>
              <a:gd name="T61" fmla="*/ 779 h 1133"/>
              <a:gd name="T62" fmla="*/ 171 w 727"/>
              <a:gd name="T63" fmla="*/ 792 h 1133"/>
              <a:gd name="T64" fmla="*/ 188 w 727"/>
              <a:gd name="T65" fmla="*/ 776 h 1133"/>
              <a:gd name="T66" fmla="*/ 210 w 727"/>
              <a:gd name="T67" fmla="*/ 759 h 1133"/>
              <a:gd name="T68" fmla="*/ 233 w 727"/>
              <a:gd name="T69" fmla="*/ 728 h 1133"/>
              <a:gd name="T70" fmla="*/ 236 w 727"/>
              <a:gd name="T71" fmla="*/ 668 h 1133"/>
              <a:gd name="T72" fmla="*/ 240 w 727"/>
              <a:gd name="T73" fmla="*/ 592 h 1133"/>
              <a:gd name="T74" fmla="*/ 228 w 727"/>
              <a:gd name="T75" fmla="*/ 569 h 1133"/>
              <a:gd name="T76" fmla="*/ 212 w 727"/>
              <a:gd name="T77" fmla="*/ 560 h 1133"/>
              <a:gd name="T78" fmla="*/ 205 w 727"/>
              <a:gd name="T79" fmla="*/ 547 h 1133"/>
              <a:gd name="T80" fmla="*/ 218 w 727"/>
              <a:gd name="T81" fmla="*/ 475 h 1133"/>
              <a:gd name="T82" fmla="*/ 220 w 727"/>
              <a:gd name="T83" fmla="*/ 404 h 1133"/>
              <a:gd name="T84" fmla="*/ 227 w 727"/>
              <a:gd name="T85" fmla="*/ 365 h 1133"/>
              <a:gd name="T86" fmla="*/ 198 w 727"/>
              <a:gd name="T87" fmla="*/ 319 h 1133"/>
              <a:gd name="T88" fmla="*/ 179 w 727"/>
              <a:gd name="T89" fmla="*/ 274 h 1133"/>
              <a:gd name="T90" fmla="*/ 189 w 727"/>
              <a:gd name="T91" fmla="*/ 263 h 1133"/>
              <a:gd name="T92" fmla="*/ 207 w 727"/>
              <a:gd name="T93" fmla="*/ 260 h 1133"/>
              <a:gd name="T94" fmla="*/ 212 w 727"/>
              <a:gd name="T95" fmla="*/ 237 h 1133"/>
              <a:gd name="T96" fmla="*/ 252 w 727"/>
              <a:gd name="T97" fmla="*/ 208 h 1133"/>
              <a:gd name="T98" fmla="*/ 267 w 727"/>
              <a:gd name="T99" fmla="*/ 192 h 1133"/>
              <a:gd name="T100" fmla="*/ 273 w 727"/>
              <a:gd name="T101" fmla="*/ 114 h 1133"/>
              <a:gd name="T102" fmla="*/ 272 w 727"/>
              <a:gd name="T103" fmla="*/ 87 h 1133"/>
              <a:gd name="T104" fmla="*/ 272 w 727"/>
              <a:gd name="T105" fmla="*/ 59 h 1133"/>
              <a:gd name="T106" fmla="*/ 336 w 727"/>
              <a:gd name="T107" fmla="*/ 13 h 1133"/>
              <a:gd name="T108" fmla="*/ 412 w 727"/>
              <a:gd name="T109" fmla="*/ 49 h 1133"/>
              <a:gd name="T110" fmla="*/ 400 w 727"/>
              <a:gd name="T111" fmla="*/ 68 h 1133"/>
              <a:gd name="T112" fmla="*/ 393 w 727"/>
              <a:gd name="T113" fmla="*/ 84 h 1133"/>
              <a:gd name="T114" fmla="*/ 400 w 727"/>
              <a:gd name="T115" fmla="*/ 117 h 1133"/>
              <a:gd name="T116" fmla="*/ 414 w 727"/>
              <a:gd name="T117" fmla="*/ 134 h 1133"/>
              <a:gd name="T118" fmla="*/ 428 w 727"/>
              <a:gd name="T119" fmla="*/ 150 h 1133"/>
              <a:gd name="T120" fmla="*/ 504 w 727"/>
              <a:gd name="T121" fmla="*/ 165 h 1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7" h="1133">
                <a:moveTo>
                  <a:pt x="520" y="172"/>
                </a:moveTo>
                <a:lnTo>
                  <a:pt x="524" y="169"/>
                </a:lnTo>
                <a:lnTo>
                  <a:pt x="527" y="164"/>
                </a:lnTo>
                <a:lnTo>
                  <a:pt x="534" y="152"/>
                </a:lnTo>
                <a:lnTo>
                  <a:pt x="536" y="149"/>
                </a:lnTo>
                <a:lnTo>
                  <a:pt x="540" y="147"/>
                </a:lnTo>
                <a:lnTo>
                  <a:pt x="546" y="145"/>
                </a:lnTo>
                <a:lnTo>
                  <a:pt x="555" y="144"/>
                </a:lnTo>
                <a:lnTo>
                  <a:pt x="581" y="147"/>
                </a:lnTo>
                <a:lnTo>
                  <a:pt x="594" y="147"/>
                </a:lnTo>
                <a:lnTo>
                  <a:pt x="642" y="137"/>
                </a:lnTo>
                <a:lnTo>
                  <a:pt x="726" y="138"/>
                </a:lnTo>
                <a:lnTo>
                  <a:pt x="727" y="138"/>
                </a:lnTo>
                <a:lnTo>
                  <a:pt x="726" y="140"/>
                </a:lnTo>
                <a:lnTo>
                  <a:pt x="713" y="167"/>
                </a:lnTo>
                <a:lnTo>
                  <a:pt x="708" y="182"/>
                </a:lnTo>
                <a:lnTo>
                  <a:pt x="707" y="195"/>
                </a:lnTo>
                <a:lnTo>
                  <a:pt x="707" y="218"/>
                </a:lnTo>
                <a:lnTo>
                  <a:pt x="711" y="233"/>
                </a:lnTo>
                <a:lnTo>
                  <a:pt x="709" y="239"/>
                </a:lnTo>
                <a:lnTo>
                  <a:pt x="705" y="243"/>
                </a:lnTo>
                <a:lnTo>
                  <a:pt x="696" y="244"/>
                </a:lnTo>
                <a:lnTo>
                  <a:pt x="693" y="246"/>
                </a:lnTo>
                <a:lnTo>
                  <a:pt x="693" y="249"/>
                </a:lnTo>
                <a:lnTo>
                  <a:pt x="693" y="257"/>
                </a:lnTo>
                <a:lnTo>
                  <a:pt x="701" y="301"/>
                </a:lnTo>
                <a:lnTo>
                  <a:pt x="698" y="314"/>
                </a:lnTo>
                <a:lnTo>
                  <a:pt x="681" y="330"/>
                </a:lnTo>
                <a:lnTo>
                  <a:pt x="676" y="333"/>
                </a:lnTo>
                <a:lnTo>
                  <a:pt x="667" y="337"/>
                </a:lnTo>
                <a:lnTo>
                  <a:pt x="663" y="340"/>
                </a:lnTo>
                <a:lnTo>
                  <a:pt x="656" y="353"/>
                </a:lnTo>
                <a:lnTo>
                  <a:pt x="652" y="366"/>
                </a:lnTo>
                <a:lnTo>
                  <a:pt x="644" y="416"/>
                </a:lnTo>
                <a:lnTo>
                  <a:pt x="646" y="420"/>
                </a:lnTo>
                <a:lnTo>
                  <a:pt x="642" y="423"/>
                </a:lnTo>
                <a:lnTo>
                  <a:pt x="633" y="428"/>
                </a:lnTo>
                <a:lnTo>
                  <a:pt x="624" y="431"/>
                </a:lnTo>
                <a:lnTo>
                  <a:pt x="616" y="431"/>
                </a:lnTo>
                <a:lnTo>
                  <a:pt x="609" y="433"/>
                </a:lnTo>
                <a:lnTo>
                  <a:pt x="602" y="441"/>
                </a:lnTo>
                <a:lnTo>
                  <a:pt x="599" y="451"/>
                </a:lnTo>
                <a:lnTo>
                  <a:pt x="599" y="491"/>
                </a:lnTo>
                <a:lnTo>
                  <a:pt x="592" y="521"/>
                </a:lnTo>
                <a:lnTo>
                  <a:pt x="551" y="606"/>
                </a:lnTo>
                <a:lnTo>
                  <a:pt x="545" y="636"/>
                </a:lnTo>
                <a:lnTo>
                  <a:pt x="539" y="649"/>
                </a:lnTo>
                <a:lnTo>
                  <a:pt x="526" y="659"/>
                </a:lnTo>
                <a:lnTo>
                  <a:pt x="521" y="673"/>
                </a:lnTo>
                <a:lnTo>
                  <a:pt x="522" y="698"/>
                </a:lnTo>
                <a:lnTo>
                  <a:pt x="527" y="723"/>
                </a:lnTo>
                <a:lnTo>
                  <a:pt x="536" y="736"/>
                </a:lnTo>
                <a:lnTo>
                  <a:pt x="551" y="746"/>
                </a:lnTo>
                <a:lnTo>
                  <a:pt x="550" y="757"/>
                </a:lnTo>
                <a:lnTo>
                  <a:pt x="539" y="770"/>
                </a:lnTo>
                <a:lnTo>
                  <a:pt x="530" y="785"/>
                </a:lnTo>
                <a:lnTo>
                  <a:pt x="529" y="797"/>
                </a:lnTo>
                <a:lnTo>
                  <a:pt x="529" y="811"/>
                </a:lnTo>
                <a:lnTo>
                  <a:pt x="527" y="824"/>
                </a:lnTo>
                <a:lnTo>
                  <a:pt x="522" y="835"/>
                </a:lnTo>
                <a:lnTo>
                  <a:pt x="504" y="847"/>
                </a:lnTo>
                <a:lnTo>
                  <a:pt x="496" y="851"/>
                </a:lnTo>
                <a:lnTo>
                  <a:pt x="435" y="876"/>
                </a:lnTo>
                <a:lnTo>
                  <a:pt x="407" y="891"/>
                </a:lnTo>
                <a:lnTo>
                  <a:pt x="377" y="921"/>
                </a:lnTo>
                <a:lnTo>
                  <a:pt x="364" y="937"/>
                </a:lnTo>
                <a:lnTo>
                  <a:pt x="356" y="956"/>
                </a:lnTo>
                <a:lnTo>
                  <a:pt x="357" y="974"/>
                </a:lnTo>
                <a:lnTo>
                  <a:pt x="373" y="1004"/>
                </a:lnTo>
                <a:lnTo>
                  <a:pt x="376" y="1020"/>
                </a:lnTo>
                <a:lnTo>
                  <a:pt x="368" y="1033"/>
                </a:lnTo>
                <a:lnTo>
                  <a:pt x="353" y="1038"/>
                </a:lnTo>
                <a:lnTo>
                  <a:pt x="336" y="1038"/>
                </a:lnTo>
                <a:lnTo>
                  <a:pt x="322" y="1041"/>
                </a:lnTo>
                <a:lnTo>
                  <a:pt x="315" y="1052"/>
                </a:lnTo>
                <a:lnTo>
                  <a:pt x="308" y="1084"/>
                </a:lnTo>
                <a:lnTo>
                  <a:pt x="302" y="1098"/>
                </a:lnTo>
                <a:lnTo>
                  <a:pt x="285" y="1117"/>
                </a:lnTo>
                <a:lnTo>
                  <a:pt x="266" y="1133"/>
                </a:lnTo>
                <a:lnTo>
                  <a:pt x="253" y="1121"/>
                </a:lnTo>
                <a:lnTo>
                  <a:pt x="246" y="1116"/>
                </a:lnTo>
                <a:lnTo>
                  <a:pt x="239" y="1112"/>
                </a:lnTo>
                <a:lnTo>
                  <a:pt x="232" y="1111"/>
                </a:lnTo>
                <a:lnTo>
                  <a:pt x="221" y="1113"/>
                </a:lnTo>
                <a:lnTo>
                  <a:pt x="214" y="1114"/>
                </a:lnTo>
                <a:lnTo>
                  <a:pt x="202" y="1111"/>
                </a:lnTo>
                <a:lnTo>
                  <a:pt x="181" y="1104"/>
                </a:lnTo>
                <a:lnTo>
                  <a:pt x="169" y="1101"/>
                </a:lnTo>
                <a:lnTo>
                  <a:pt x="153" y="1103"/>
                </a:lnTo>
                <a:lnTo>
                  <a:pt x="121" y="1104"/>
                </a:lnTo>
                <a:lnTo>
                  <a:pt x="106" y="1099"/>
                </a:lnTo>
                <a:lnTo>
                  <a:pt x="96" y="1088"/>
                </a:lnTo>
                <a:lnTo>
                  <a:pt x="89" y="1074"/>
                </a:lnTo>
                <a:lnTo>
                  <a:pt x="80" y="1061"/>
                </a:lnTo>
                <a:lnTo>
                  <a:pt x="75" y="1057"/>
                </a:lnTo>
                <a:lnTo>
                  <a:pt x="62" y="1053"/>
                </a:lnTo>
                <a:lnTo>
                  <a:pt x="55" y="1048"/>
                </a:lnTo>
                <a:lnTo>
                  <a:pt x="52" y="1042"/>
                </a:lnTo>
                <a:lnTo>
                  <a:pt x="48" y="1029"/>
                </a:lnTo>
                <a:lnTo>
                  <a:pt x="44" y="1023"/>
                </a:lnTo>
                <a:lnTo>
                  <a:pt x="32" y="1015"/>
                </a:lnTo>
                <a:lnTo>
                  <a:pt x="18" y="1007"/>
                </a:lnTo>
                <a:lnTo>
                  <a:pt x="7" y="997"/>
                </a:lnTo>
                <a:lnTo>
                  <a:pt x="2" y="983"/>
                </a:lnTo>
                <a:lnTo>
                  <a:pt x="0" y="971"/>
                </a:lnTo>
                <a:lnTo>
                  <a:pt x="6" y="968"/>
                </a:lnTo>
                <a:lnTo>
                  <a:pt x="35" y="937"/>
                </a:lnTo>
                <a:lnTo>
                  <a:pt x="57" y="901"/>
                </a:lnTo>
                <a:lnTo>
                  <a:pt x="66" y="892"/>
                </a:lnTo>
                <a:lnTo>
                  <a:pt x="87" y="862"/>
                </a:lnTo>
                <a:lnTo>
                  <a:pt x="91" y="854"/>
                </a:lnTo>
                <a:lnTo>
                  <a:pt x="94" y="845"/>
                </a:lnTo>
                <a:lnTo>
                  <a:pt x="95" y="838"/>
                </a:lnTo>
                <a:lnTo>
                  <a:pt x="92" y="825"/>
                </a:lnTo>
                <a:lnTo>
                  <a:pt x="92" y="819"/>
                </a:lnTo>
                <a:lnTo>
                  <a:pt x="95" y="798"/>
                </a:lnTo>
                <a:lnTo>
                  <a:pt x="106" y="791"/>
                </a:lnTo>
                <a:lnTo>
                  <a:pt x="109" y="785"/>
                </a:lnTo>
                <a:lnTo>
                  <a:pt x="114" y="778"/>
                </a:lnTo>
                <a:lnTo>
                  <a:pt x="118" y="773"/>
                </a:lnTo>
                <a:lnTo>
                  <a:pt x="123" y="773"/>
                </a:lnTo>
                <a:lnTo>
                  <a:pt x="130" y="774"/>
                </a:lnTo>
                <a:lnTo>
                  <a:pt x="139" y="778"/>
                </a:lnTo>
                <a:lnTo>
                  <a:pt x="147" y="779"/>
                </a:lnTo>
                <a:lnTo>
                  <a:pt x="153" y="782"/>
                </a:lnTo>
                <a:lnTo>
                  <a:pt x="159" y="786"/>
                </a:lnTo>
                <a:lnTo>
                  <a:pt x="166" y="792"/>
                </a:lnTo>
                <a:lnTo>
                  <a:pt x="171" y="792"/>
                </a:lnTo>
                <a:lnTo>
                  <a:pt x="175" y="787"/>
                </a:lnTo>
                <a:lnTo>
                  <a:pt x="179" y="782"/>
                </a:lnTo>
                <a:lnTo>
                  <a:pt x="183" y="779"/>
                </a:lnTo>
                <a:lnTo>
                  <a:pt x="188" y="776"/>
                </a:lnTo>
                <a:lnTo>
                  <a:pt x="194" y="775"/>
                </a:lnTo>
                <a:lnTo>
                  <a:pt x="200" y="773"/>
                </a:lnTo>
                <a:lnTo>
                  <a:pt x="205" y="769"/>
                </a:lnTo>
                <a:lnTo>
                  <a:pt x="210" y="759"/>
                </a:lnTo>
                <a:lnTo>
                  <a:pt x="220" y="745"/>
                </a:lnTo>
                <a:lnTo>
                  <a:pt x="227" y="737"/>
                </a:lnTo>
                <a:lnTo>
                  <a:pt x="231" y="733"/>
                </a:lnTo>
                <a:lnTo>
                  <a:pt x="233" y="728"/>
                </a:lnTo>
                <a:lnTo>
                  <a:pt x="237" y="706"/>
                </a:lnTo>
                <a:lnTo>
                  <a:pt x="238" y="692"/>
                </a:lnTo>
                <a:lnTo>
                  <a:pt x="237" y="676"/>
                </a:lnTo>
                <a:lnTo>
                  <a:pt x="236" y="668"/>
                </a:lnTo>
                <a:lnTo>
                  <a:pt x="241" y="630"/>
                </a:lnTo>
                <a:lnTo>
                  <a:pt x="239" y="613"/>
                </a:lnTo>
                <a:lnTo>
                  <a:pt x="240" y="604"/>
                </a:lnTo>
                <a:lnTo>
                  <a:pt x="240" y="592"/>
                </a:lnTo>
                <a:lnTo>
                  <a:pt x="239" y="587"/>
                </a:lnTo>
                <a:lnTo>
                  <a:pt x="237" y="581"/>
                </a:lnTo>
                <a:lnTo>
                  <a:pt x="231" y="573"/>
                </a:lnTo>
                <a:lnTo>
                  <a:pt x="228" y="569"/>
                </a:lnTo>
                <a:lnTo>
                  <a:pt x="225" y="566"/>
                </a:lnTo>
                <a:lnTo>
                  <a:pt x="222" y="564"/>
                </a:lnTo>
                <a:lnTo>
                  <a:pt x="215" y="561"/>
                </a:lnTo>
                <a:lnTo>
                  <a:pt x="212" y="560"/>
                </a:lnTo>
                <a:lnTo>
                  <a:pt x="210" y="558"/>
                </a:lnTo>
                <a:lnTo>
                  <a:pt x="209" y="555"/>
                </a:lnTo>
                <a:lnTo>
                  <a:pt x="207" y="552"/>
                </a:lnTo>
                <a:lnTo>
                  <a:pt x="205" y="547"/>
                </a:lnTo>
                <a:lnTo>
                  <a:pt x="206" y="537"/>
                </a:lnTo>
                <a:lnTo>
                  <a:pt x="207" y="523"/>
                </a:lnTo>
                <a:lnTo>
                  <a:pt x="217" y="485"/>
                </a:lnTo>
                <a:lnTo>
                  <a:pt x="218" y="475"/>
                </a:lnTo>
                <a:lnTo>
                  <a:pt x="214" y="455"/>
                </a:lnTo>
                <a:lnTo>
                  <a:pt x="213" y="439"/>
                </a:lnTo>
                <a:lnTo>
                  <a:pt x="215" y="419"/>
                </a:lnTo>
                <a:lnTo>
                  <a:pt x="220" y="404"/>
                </a:lnTo>
                <a:lnTo>
                  <a:pt x="225" y="390"/>
                </a:lnTo>
                <a:lnTo>
                  <a:pt x="228" y="382"/>
                </a:lnTo>
                <a:lnTo>
                  <a:pt x="228" y="376"/>
                </a:lnTo>
                <a:lnTo>
                  <a:pt x="227" y="365"/>
                </a:lnTo>
                <a:lnTo>
                  <a:pt x="225" y="358"/>
                </a:lnTo>
                <a:lnTo>
                  <a:pt x="218" y="344"/>
                </a:lnTo>
                <a:lnTo>
                  <a:pt x="205" y="329"/>
                </a:lnTo>
                <a:lnTo>
                  <a:pt x="198" y="319"/>
                </a:lnTo>
                <a:lnTo>
                  <a:pt x="188" y="296"/>
                </a:lnTo>
                <a:lnTo>
                  <a:pt x="182" y="285"/>
                </a:lnTo>
                <a:lnTo>
                  <a:pt x="181" y="279"/>
                </a:lnTo>
                <a:lnTo>
                  <a:pt x="179" y="274"/>
                </a:lnTo>
                <a:lnTo>
                  <a:pt x="180" y="268"/>
                </a:lnTo>
                <a:lnTo>
                  <a:pt x="182" y="265"/>
                </a:lnTo>
                <a:lnTo>
                  <a:pt x="185" y="264"/>
                </a:lnTo>
                <a:lnTo>
                  <a:pt x="189" y="263"/>
                </a:lnTo>
                <a:lnTo>
                  <a:pt x="193" y="264"/>
                </a:lnTo>
                <a:lnTo>
                  <a:pt x="200" y="263"/>
                </a:lnTo>
                <a:lnTo>
                  <a:pt x="204" y="262"/>
                </a:lnTo>
                <a:lnTo>
                  <a:pt x="207" y="260"/>
                </a:lnTo>
                <a:lnTo>
                  <a:pt x="210" y="255"/>
                </a:lnTo>
                <a:lnTo>
                  <a:pt x="210" y="251"/>
                </a:lnTo>
                <a:lnTo>
                  <a:pt x="210" y="241"/>
                </a:lnTo>
                <a:lnTo>
                  <a:pt x="212" y="237"/>
                </a:lnTo>
                <a:lnTo>
                  <a:pt x="222" y="228"/>
                </a:lnTo>
                <a:lnTo>
                  <a:pt x="227" y="226"/>
                </a:lnTo>
                <a:lnTo>
                  <a:pt x="240" y="210"/>
                </a:lnTo>
                <a:lnTo>
                  <a:pt x="252" y="208"/>
                </a:lnTo>
                <a:lnTo>
                  <a:pt x="257" y="206"/>
                </a:lnTo>
                <a:lnTo>
                  <a:pt x="261" y="204"/>
                </a:lnTo>
                <a:lnTo>
                  <a:pt x="265" y="199"/>
                </a:lnTo>
                <a:lnTo>
                  <a:pt x="267" y="192"/>
                </a:lnTo>
                <a:lnTo>
                  <a:pt x="275" y="153"/>
                </a:lnTo>
                <a:lnTo>
                  <a:pt x="271" y="130"/>
                </a:lnTo>
                <a:lnTo>
                  <a:pt x="272" y="122"/>
                </a:lnTo>
                <a:lnTo>
                  <a:pt x="273" y="114"/>
                </a:lnTo>
                <a:lnTo>
                  <a:pt x="277" y="101"/>
                </a:lnTo>
                <a:lnTo>
                  <a:pt x="277" y="96"/>
                </a:lnTo>
                <a:lnTo>
                  <a:pt x="275" y="92"/>
                </a:lnTo>
                <a:lnTo>
                  <a:pt x="272" y="87"/>
                </a:lnTo>
                <a:lnTo>
                  <a:pt x="269" y="78"/>
                </a:lnTo>
                <a:lnTo>
                  <a:pt x="267" y="72"/>
                </a:lnTo>
                <a:lnTo>
                  <a:pt x="269" y="67"/>
                </a:lnTo>
                <a:lnTo>
                  <a:pt x="272" y="59"/>
                </a:lnTo>
                <a:lnTo>
                  <a:pt x="278" y="50"/>
                </a:lnTo>
                <a:lnTo>
                  <a:pt x="287" y="42"/>
                </a:lnTo>
                <a:lnTo>
                  <a:pt x="299" y="33"/>
                </a:lnTo>
                <a:lnTo>
                  <a:pt x="336" y="13"/>
                </a:lnTo>
                <a:lnTo>
                  <a:pt x="350" y="0"/>
                </a:lnTo>
                <a:lnTo>
                  <a:pt x="405" y="39"/>
                </a:lnTo>
                <a:lnTo>
                  <a:pt x="409" y="44"/>
                </a:lnTo>
                <a:lnTo>
                  <a:pt x="412" y="49"/>
                </a:lnTo>
                <a:lnTo>
                  <a:pt x="412" y="53"/>
                </a:lnTo>
                <a:lnTo>
                  <a:pt x="410" y="57"/>
                </a:lnTo>
                <a:lnTo>
                  <a:pt x="407" y="60"/>
                </a:lnTo>
                <a:lnTo>
                  <a:pt x="400" y="68"/>
                </a:lnTo>
                <a:lnTo>
                  <a:pt x="396" y="71"/>
                </a:lnTo>
                <a:lnTo>
                  <a:pt x="393" y="75"/>
                </a:lnTo>
                <a:lnTo>
                  <a:pt x="393" y="80"/>
                </a:lnTo>
                <a:lnTo>
                  <a:pt x="393" y="84"/>
                </a:lnTo>
                <a:lnTo>
                  <a:pt x="396" y="94"/>
                </a:lnTo>
                <a:lnTo>
                  <a:pt x="397" y="106"/>
                </a:lnTo>
                <a:lnTo>
                  <a:pt x="399" y="112"/>
                </a:lnTo>
                <a:lnTo>
                  <a:pt x="400" y="117"/>
                </a:lnTo>
                <a:lnTo>
                  <a:pt x="403" y="121"/>
                </a:lnTo>
                <a:lnTo>
                  <a:pt x="406" y="125"/>
                </a:lnTo>
                <a:lnTo>
                  <a:pt x="412" y="130"/>
                </a:lnTo>
                <a:lnTo>
                  <a:pt x="414" y="134"/>
                </a:lnTo>
                <a:lnTo>
                  <a:pt x="416" y="137"/>
                </a:lnTo>
                <a:lnTo>
                  <a:pt x="417" y="143"/>
                </a:lnTo>
                <a:lnTo>
                  <a:pt x="420" y="146"/>
                </a:lnTo>
                <a:lnTo>
                  <a:pt x="428" y="150"/>
                </a:lnTo>
                <a:lnTo>
                  <a:pt x="446" y="152"/>
                </a:lnTo>
                <a:lnTo>
                  <a:pt x="474" y="160"/>
                </a:lnTo>
                <a:lnTo>
                  <a:pt x="497" y="163"/>
                </a:lnTo>
                <a:lnTo>
                  <a:pt x="504" y="165"/>
                </a:lnTo>
                <a:lnTo>
                  <a:pt x="516" y="171"/>
                </a:lnTo>
                <a:lnTo>
                  <a:pt x="520" y="17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A9D3A77F-3373-B248-81ED-43371EF880FC}"/>
              </a:ext>
            </a:extLst>
          </p:cNvPr>
          <p:cNvSpPr>
            <a:spLocks/>
          </p:cNvSpPr>
          <p:nvPr/>
        </p:nvSpPr>
        <p:spPr bwMode="auto">
          <a:xfrm>
            <a:off x="7359939" y="3284956"/>
            <a:ext cx="644469" cy="422643"/>
          </a:xfrm>
          <a:custGeom>
            <a:avLst/>
            <a:gdLst>
              <a:gd name="T0" fmla="*/ 417 w 544"/>
              <a:gd name="T1" fmla="*/ 120 h 377"/>
              <a:gd name="T2" fmla="*/ 435 w 544"/>
              <a:gd name="T3" fmla="*/ 118 h 377"/>
              <a:gd name="T4" fmla="*/ 454 w 544"/>
              <a:gd name="T5" fmla="*/ 122 h 377"/>
              <a:gd name="T6" fmla="*/ 473 w 544"/>
              <a:gd name="T7" fmla="*/ 118 h 377"/>
              <a:gd name="T8" fmla="*/ 478 w 544"/>
              <a:gd name="T9" fmla="*/ 124 h 377"/>
              <a:gd name="T10" fmla="*/ 482 w 544"/>
              <a:gd name="T11" fmla="*/ 132 h 377"/>
              <a:gd name="T12" fmla="*/ 494 w 544"/>
              <a:gd name="T13" fmla="*/ 131 h 377"/>
              <a:gd name="T14" fmla="*/ 503 w 544"/>
              <a:gd name="T15" fmla="*/ 147 h 377"/>
              <a:gd name="T16" fmla="*/ 537 w 544"/>
              <a:gd name="T17" fmla="*/ 154 h 377"/>
              <a:gd name="T18" fmla="*/ 543 w 544"/>
              <a:gd name="T19" fmla="*/ 164 h 377"/>
              <a:gd name="T20" fmla="*/ 544 w 544"/>
              <a:gd name="T21" fmla="*/ 253 h 377"/>
              <a:gd name="T22" fmla="*/ 540 w 544"/>
              <a:gd name="T23" fmla="*/ 274 h 377"/>
              <a:gd name="T24" fmla="*/ 505 w 544"/>
              <a:gd name="T25" fmla="*/ 324 h 377"/>
              <a:gd name="T26" fmla="*/ 486 w 544"/>
              <a:gd name="T27" fmla="*/ 342 h 377"/>
              <a:gd name="T28" fmla="*/ 465 w 544"/>
              <a:gd name="T29" fmla="*/ 350 h 377"/>
              <a:gd name="T30" fmla="*/ 425 w 544"/>
              <a:gd name="T31" fmla="*/ 346 h 377"/>
              <a:gd name="T32" fmla="*/ 403 w 544"/>
              <a:gd name="T33" fmla="*/ 356 h 377"/>
              <a:gd name="T34" fmla="*/ 385 w 544"/>
              <a:gd name="T35" fmla="*/ 377 h 377"/>
              <a:gd name="T36" fmla="*/ 377 w 544"/>
              <a:gd name="T37" fmla="*/ 357 h 377"/>
              <a:gd name="T38" fmla="*/ 370 w 544"/>
              <a:gd name="T39" fmla="*/ 352 h 377"/>
              <a:gd name="T40" fmla="*/ 354 w 544"/>
              <a:gd name="T41" fmla="*/ 344 h 377"/>
              <a:gd name="T42" fmla="*/ 333 w 544"/>
              <a:gd name="T43" fmla="*/ 338 h 377"/>
              <a:gd name="T44" fmla="*/ 308 w 544"/>
              <a:gd name="T45" fmla="*/ 324 h 377"/>
              <a:gd name="T46" fmla="*/ 293 w 544"/>
              <a:gd name="T47" fmla="*/ 320 h 377"/>
              <a:gd name="T48" fmla="*/ 282 w 544"/>
              <a:gd name="T49" fmla="*/ 338 h 377"/>
              <a:gd name="T50" fmla="*/ 268 w 544"/>
              <a:gd name="T51" fmla="*/ 347 h 377"/>
              <a:gd name="T52" fmla="*/ 246 w 544"/>
              <a:gd name="T53" fmla="*/ 344 h 377"/>
              <a:gd name="T54" fmla="*/ 222 w 544"/>
              <a:gd name="T55" fmla="*/ 350 h 377"/>
              <a:gd name="T56" fmla="*/ 189 w 544"/>
              <a:gd name="T57" fmla="*/ 352 h 377"/>
              <a:gd name="T58" fmla="*/ 137 w 544"/>
              <a:gd name="T59" fmla="*/ 338 h 377"/>
              <a:gd name="T60" fmla="*/ 103 w 544"/>
              <a:gd name="T61" fmla="*/ 315 h 377"/>
              <a:gd name="T62" fmla="*/ 86 w 544"/>
              <a:gd name="T63" fmla="*/ 308 h 377"/>
              <a:gd name="T64" fmla="*/ 68 w 544"/>
              <a:gd name="T65" fmla="*/ 313 h 377"/>
              <a:gd name="T66" fmla="*/ 32 w 544"/>
              <a:gd name="T67" fmla="*/ 331 h 377"/>
              <a:gd name="T68" fmla="*/ 19 w 544"/>
              <a:gd name="T69" fmla="*/ 314 h 377"/>
              <a:gd name="T70" fmla="*/ 0 w 544"/>
              <a:gd name="T71" fmla="*/ 280 h 377"/>
              <a:gd name="T72" fmla="*/ 12 w 544"/>
              <a:gd name="T73" fmla="*/ 235 h 377"/>
              <a:gd name="T74" fmla="*/ 24 w 544"/>
              <a:gd name="T75" fmla="*/ 204 h 377"/>
              <a:gd name="T76" fmla="*/ 26 w 544"/>
              <a:gd name="T77" fmla="*/ 170 h 377"/>
              <a:gd name="T78" fmla="*/ 60 w 544"/>
              <a:gd name="T79" fmla="*/ 136 h 377"/>
              <a:gd name="T80" fmla="*/ 95 w 544"/>
              <a:gd name="T81" fmla="*/ 115 h 377"/>
              <a:gd name="T82" fmla="*/ 120 w 544"/>
              <a:gd name="T83" fmla="*/ 112 h 377"/>
              <a:gd name="T84" fmla="*/ 167 w 544"/>
              <a:gd name="T85" fmla="*/ 120 h 377"/>
              <a:gd name="T86" fmla="*/ 190 w 544"/>
              <a:gd name="T87" fmla="*/ 111 h 377"/>
              <a:gd name="T88" fmla="*/ 213 w 544"/>
              <a:gd name="T89" fmla="*/ 96 h 377"/>
              <a:gd name="T90" fmla="*/ 237 w 544"/>
              <a:gd name="T91" fmla="*/ 93 h 377"/>
              <a:gd name="T92" fmla="*/ 243 w 544"/>
              <a:gd name="T93" fmla="*/ 84 h 377"/>
              <a:gd name="T94" fmla="*/ 244 w 544"/>
              <a:gd name="T95" fmla="*/ 71 h 377"/>
              <a:gd name="T96" fmla="*/ 257 w 544"/>
              <a:gd name="T97" fmla="*/ 64 h 377"/>
              <a:gd name="T98" fmla="*/ 269 w 544"/>
              <a:gd name="T99" fmla="*/ 66 h 377"/>
              <a:gd name="T100" fmla="*/ 278 w 544"/>
              <a:gd name="T101" fmla="*/ 72 h 377"/>
              <a:gd name="T102" fmla="*/ 292 w 544"/>
              <a:gd name="T103" fmla="*/ 79 h 377"/>
              <a:gd name="T104" fmla="*/ 317 w 544"/>
              <a:gd name="T105" fmla="*/ 74 h 377"/>
              <a:gd name="T106" fmla="*/ 331 w 544"/>
              <a:gd name="T107" fmla="*/ 54 h 377"/>
              <a:gd name="T108" fmla="*/ 331 w 544"/>
              <a:gd name="T109" fmla="*/ 35 h 377"/>
              <a:gd name="T110" fmla="*/ 337 w 544"/>
              <a:gd name="T111" fmla="*/ 21 h 377"/>
              <a:gd name="T112" fmla="*/ 359 w 544"/>
              <a:gd name="T113" fmla="*/ 0 h 377"/>
              <a:gd name="T114" fmla="*/ 390 w 544"/>
              <a:gd name="T115" fmla="*/ 43 h 377"/>
              <a:gd name="T116" fmla="*/ 399 w 544"/>
              <a:gd name="T117" fmla="*/ 64 h 377"/>
              <a:gd name="T118" fmla="*/ 398 w 544"/>
              <a:gd name="T119" fmla="*/ 105 h 377"/>
              <a:gd name="T120" fmla="*/ 390 w 544"/>
              <a:gd name="T121" fmla="*/ 123 h 377"/>
              <a:gd name="T122" fmla="*/ 390 w 544"/>
              <a:gd name="T123" fmla="*/ 134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" h="377">
                <a:moveTo>
                  <a:pt x="395" y="134"/>
                </a:moveTo>
                <a:lnTo>
                  <a:pt x="417" y="120"/>
                </a:lnTo>
                <a:lnTo>
                  <a:pt x="426" y="118"/>
                </a:lnTo>
                <a:lnTo>
                  <a:pt x="435" y="118"/>
                </a:lnTo>
                <a:lnTo>
                  <a:pt x="449" y="121"/>
                </a:lnTo>
                <a:lnTo>
                  <a:pt x="454" y="122"/>
                </a:lnTo>
                <a:lnTo>
                  <a:pt x="466" y="119"/>
                </a:lnTo>
                <a:lnTo>
                  <a:pt x="473" y="118"/>
                </a:lnTo>
                <a:lnTo>
                  <a:pt x="476" y="120"/>
                </a:lnTo>
                <a:lnTo>
                  <a:pt x="478" y="124"/>
                </a:lnTo>
                <a:lnTo>
                  <a:pt x="479" y="131"/>
                </a:lnTo>
                <a:lnTo>
                  <a:pt x="482" y="132"/>
                </a:lnTo>
                <a:lnTo>
                  <a:pt x="490" y="131"/>
                </a:lnTo>
                <a:lnTo>
                  <a:pt x="494" y="131"/>
                </a:lnTo>
                <a:lnTo>
                  <a:pt x="497" y="134"/>
                </a:lnTo>
                <a:lnTo>
                  <a:pt x="503" y="147"/>
                </a:lnTo>
                <a:lnTo>
                  <a:pt x="514" y="150"/>
                </a:lnTo>
                <a:lnTo>
                  <a:pt x="537" y="154"/>
                </a:lnTo>
                <a:lnTo>
                  <a:pt x="541" y="158"/>
                </a:lnTo>
                <a:lnTo>
                  <a:pt x="543" y="164"/>
                </a:lnTo>
                <a:lnTo>
                  <a:pt x="543" y="181"/>
                </a:lnTo>
                <a:lnTo>
                  <a:pt x="544" y="253"/>
                </a:lnTo>
                <a:lnTo>
                  <a:pt x="543" y="264"/>
                </a:lnTo>
                <a:lnTo>
                  <a:pt x="540" y="274"/>
                </a:lnTo>
                <a:lnTo>
                  <a:pt x="521" y="308"/>
                </a:lnTo>
                <a:lnTo>
                  <a:pt x="505" y="324"/>
                </a:lnTo>
                <a:lnTo>
                  <a:pt x="492" y="337"/>
                </a:lnTo>
                <a:lnTo>
                  <a:pt x="486" y="342"/>
                </a:lnTo>
                <a:lnTo>
                  <a:pt x="475" y="346"/>
                </a:lnTo>
                <a:lnTo>
                  <a:pt x="465" y="350"/>
                </a:lnTo>
                <a:lnTo>
                  <a:pt x="448" y="351"/>
                </a:lnTo>
                <a:lnTo>
                  <a:pt x="425" y="346"/>
                </a:lnTo>
                <a:lnTo>
                  <a:pt x="416" y="349"/>
                </a:lnTo>
                <a:lnTo>
                  <a:pt x="403" y="356"/>
                </a:lnTo>
                <a:lnTo>
                  <a:pt x="396" y="362"/>
                </a:lnTo>
                <a:lnTo>
                  <a:pt x="385" y="377"/>
                </a:lnTo>
                <a:lnTo>
                  <a:pt x="380" y="369"/>
                </a:lnTo>
                <a:lnTo>
                  <a:pt x="377" y="357"/>
                </a:lnTo>
                <a:lnTo>
                  <a:pt x="374" y="354"/>
                </a:lnTo>
                <a:lnTo>
                  <a:pt x="370" y="352"/>
                </a:lnTo>
                <a:lnTo>
                  <a:pt x="361" y="349"/>
                </a:lnTo>
                <a:lnTo>
                  <a:pt x="354" y="344"/>
                </a:lnTo>
                <a:lnTo>
                  <a:pt x="346" y="341"/>
                </a:lnTo>
                <a:lnTo>
                  <a:pt x="333" y="338"/>
                </a:lnTo>
                <a:lnTo>
                  <a:pt x="324" y="333"/>
                </a:lnTo>
                <a:lnTo>
                  <a:pt x="308" y="324"/>
                </a:lnTo>
                <a:lnTo>
                  <a:pt x="299" y="319"/>
                </a:lnTo>
                <a:lnTo>
                  <a:pt x="293" y="320"/>
                </a:lnTo>
                <a:lnTo>
                  <a:pt x="286" y="327"/>
                </a:lnTo>
                <a:lnTo>
                  <a:pt x="282" y="338"/>
                </a:lnTo>
                <a:lnTo>
                  <a:pt x="277" y="345"/>
                </a:lnTo>
                <a:lnTo>
                  <a:pt x="268" y="347"/>
                </a:lnTo>
                <a:lnTo>
                  <a:pt x="257" y="345"/>
                </a:lnTo>
                <a:lnTo>
                  <a:pt x="246" y="344"/>
                </a:lnTo>
                <a:lnTo>
                  <a:pt x="234" y="345"/>
                </a:lnTo>
                <a:lnTo>
                  <a:pt x="222" y="350"/>
                </a:lnTo>
                <a:lnTo>
                  <a:pt x="206" y="352"/>
                </a:lnTo>
                <a:lnTo>
                  <a:pt x="189" y="352"/>
                </a:lnTo>
                <a:lnTo>
                  <a:pt x="153" y="344"/>
                </a:lnTo>
                <a:lnTo>
                  <a:pt x="137" y="338"/>
                </a:lnTo>
                <a:lnTo>
                  <a:pt x="124" y="330"/>
                </a:lnTo>
                <a:lnTo>
                  <a:pt x="103" y="315"/>
                </a:lnTo>
                <a:lnTo>
                  <a:pt x="95" y="311"/>
                </a:lnTo>
                <a:lnTo>
                  <a:pt x="86" y="308"/>
                </a:lnTo>
                <a:lnTo>
                  <a:pt x="76" y="308"/>
                </a:lnTo>
                <a:lnTo>
                  <a:pt x="68" y="313"/>
                </a:lnTo>
                <a:lnTo>
                  <a:pt x="46" y="327"/>
                </a:lnTo>
                <a:lnTo>
                  <a:pt x="32" y="331"/>
                </a:lnTo>
                <a:lnTo>
                  <a:pt x="26" y="323"/>
                </a:lnTo>
                <a:lnTo>
                  <a:pt x="19" y="314"/>
                </a:lnTo>
                <a:lnTo>
                  <a:pt x="3" y="290"/>
                </a:lnTo>
                <a:lnTo>
                  <a:pt x="0" y="280"/>
                </a:lnTo>
                <a:lnTo>
                  <a:pt x="8" y="247"/>
                </a:lnTo>
                <a:lnTo>
                  <a:pt x="12" y="235"/>
                </a:lnTo>
                <a:lnTo>
                  <a:pt x="21" y="215"/>
                </a:lnTo>
                <a:lnTo>
                  <a:pt x="24" y="204"/>
                </a:lnTo>
                <a:lnTo>
                  <a:pt x="25" y="178"/>
                </a:lnTo>
                <a:lnTo>
                  <a:pt x="26" y="170"/>
                </a:lnTo>
                <a:lnTo>
                  <a:pt x="42" y="144"/>
                </a:lnTo>
                <a:lnTo>
                  <a:pt x="60" y="136"/>
                </a:lnTo>
                <a:lnTo>
                  <a:pt x="78" y="120"/>
                </a:lnTo>
                <a:lnTo>
                  <a:pt x="95" y="115"/>
                </a:lnTo>
                <a:lnTo>
                  <a:pt x="108" y="112"/>
                </a:lnTo>
                <a:lnTo>
                  <a:pt x="120" y="112"/>
                </a:lnTo>
                <a:lnTo>
                  <a:pt x="151" y="119"/>
                </a:lnTo>
                <a:lnTo>
                  <a:pt x="167" y="120"/>
                </a:lnTo>
                <a:lnTo>
                  <a:pt x="178" y="117"/>
                </a:lnTo>
                <a:lnTo>
                  <a:pt x="190" y="111"/>
                </a:lnTo>
                <a:lnTo>
                  <a:pt x="205" y="98"/>
                </a:lnTo>
                <a:lnTo>
                  <a:pt x="213" y="96"/>
                </a:lnTo>
                <a:lnTo>
                  <a:pt x="230" y="95"/>
                </a:lnTo>
                <a:lnTo>
                  <a:pt x="237" y="93"/>
                </a:lnTo>
                <a:lnTo>
                  <a:pt x="241" y="89"/>
                </a:lnTo>
                <a:lnTo>
                  <a:pt x="243" y="84"/>
                </a:lnTo>
                <a:lnTo>
                  <a:pt x="243" y="74"/>
                </a:lnTo>
                <a:lnTo>
                  <a:pt x="244" y="71"/>
                </a:lnTo>
                <a:lnTo>
                  <a:pt x="251" y="65"/>
                </a:lnTo>
                <a:lnTo>
                  <a:pt x="257" y="64"/>
                </a:lnTo>
                <a:lnTo>
                  <a:pt x="265" y="64"/>
                </a:lnTo>
                <a:lnTo>
                  <a:pt x="269" y="66"/>
                </a:lnTo>
                <a:lnTo>
                  <a:pt x="274" y="68"/>
                </a:lnTo>
                <a:lnTo>
                  <a:pt x="278" y="72"/>
                </a:lnTo>
                <a:lnTo>
                  <a:pt x="283" y="77"/>
                </a:lnTo>
                <a:lnTo>
                  <a:pt x="292" y="79"/>
                </a:lnTo>
                <a:lnTo>
                  <a:pt x="308" y="78"/>
                </a:lnTo>
                <a:lnTo>
                  <a:pt x="317" y="74"/>
                </a:lnTo>
                <a:lnTo>
                  <a:pt x="322" y="67"/>
                </a:lnTo>
                <a:lnTo>
                  <a:pt x="331" y="54"/>
                </a:lnTo>
                <a:lnTo>
                  <a:pt x="331" y="42"/>
                </a:lnTo>
                <a:lnTo>
                  <a:pt x="331" y="35"/>
                </a:lnTo>
                <a:lnTo>
                  <a:pt x="333" y="28"/>
                </a:lnTo>
                <a:lnTo>
                  <a:pt x="337" y="21"/>
                </a:lnTo>
                <a:lnTo>
                  <a:pt x="339" y="16"/>
                </a:lnTo>
                <a:lnTo>
                  <a:pt x="359" y="0"/>
                </a:lnTo>
                <a:lnTo>
                  <a:pt x="373" y="22"/>
                </a:lnTo>
                <a:lnTo>
                  <a:pt x="390" y="43"/>
                </a:lnTo>
                <a:lnTo>
                  <a:pt x="397" y="54"/>
                </a:lnTo>
                <a:lnTo>
                  <a:pt x="399" y="64"/>
                </a:lnTo>
                <a:lnTo>
                  <a:pt x="399" y="96"/>
                </a:lnTo>
                <a:lnTo>
                  <a:pt x="398" y="105"/>
                </a:lnTo>
                <a:lnTo>
                  <a:pt x="396" y="112"/>
                </a:lnTo>
                <a:lnTo>
                  <a:pt x="390" y="123"/>
                </a:lnTo>
                <a:lnTo>
                  <a:pt x="388" y="131"/>
                </a:lnTo>
                <a:lnTo>
                  <a:pt x="390" y="134"/>
                </a:lnTo>
                <a:lnTo>
                  <a:pt x="395" y="13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215F3EAF-7A0A-9C40-8FCA-E21DC812F3DA}"/>
              </a:ext>
            </a:extLst>
          </p:cNvPr>
          <p:cNvSpPr>
            <a:spLocks/>
          </p:cNvSpPr>
          <p:nvPr/>
        </p:nvSpPr>
        <p:spPr bwMode="auto">
          <a:xfrm>
            <a:off x="8119323" y="2065232"/>
            <a:ext cx="2153759" cy="978693"/>
          </a:xfrm>
          <a:custGeom>
            <a:avLst/>
            <a:gdLst>
              <a:gd name="T0" fmla="*/ 619 w 1818"/>
              <a:gd name="T1" fmla="*/ 238 h 873"/>
              <a:gd name="T2" fmla="*/ 719 w 1818"/>
              <a:gd name="T3" fmla="*/ 278 h 873"/>
              <a:gd name="T4" fmla="*/ 826 w 1818"/>
              <a:gd name="T5" fmla="*/ 260 h 873"/>
              <a:gd name="T6" fmla="*/ 940 w 1818"/>
              <a:gd name="T7" fmla="*/ 298 h 873"/>
              <a:gd name="T8" fmla="*/ 1041 w 1818"/>
              <a:gd name="T9" fmla="*/ 173 h 873"/>
              <a:gd name="T10" fmla="*/ 1098 w 1818"/>
              <a:gd name="T11" fmla="*/ 145 h 873"/>
              <a:gd name="T12" fmla="*/ 1184 w 1818"/>
              <a:gd name="T13" fmla="*/ 173 h 873"/>
              <a:gd name="T14" fmla="*/ 1239 w 1818"/>
              <a:gd name="T15" fmla="*/ 207 h 873"/>
              <a:gd name="T16" fmla="*/ 1341 w 1818"/>
              <a:gd name="T17" fmla="*/ 283 h 873"/>
              <a:gd name="T18" fmla="*/ 1460 w 1818"/>
              <a:gd name="T19" fmla="*/ 386 h 873"/>
              <a:gd name="T20" fmla="*/ 1569 w 1818"/>
              <a:gd name="T21" fmla="*/ 390 h 873"/>
              <a:gd name="T22" fmla="*/ 1693 w 1818"/>
              <a:gd name="T23" fmla="*/ 474 h 873"/>
              <a:gd name="T24" fmla="*/ 1767 w 1818"/>
              <a:gd name="T25" fmla="*/ 539 h 873"/>
              <a:gd name="T26" fmla="*/ 1637 w 1818"/>
              <a:gd name="T27" fmla="*/ 525 h 873"/>
              <a:gd name="T28" fmla="*/ 1562 w 1818"/>
              <a:gd name="T29" fmla="*/ 517 h 873"/>
              <a:gd name="T30" fmla="*/ 1601 w 1818"/>
              <a:gd name="T31" fmla="*/ 564 h 873"/>
              <a:gd name="T32" fmla="*/ 1685 w 1818"/>
              <a:gd name="T33" fmla="*/ 684 h 873"/>
              <a:gd name="T34" fmla="*/ 1756 w 1818"/>
              <a:gd name="T35" fmla="*/ 758 h 873"/>
              <a:gd name="T36" fmla="*/ 1804 w 1818"/>
              <a:gd name="T37" fmla="*/ 793 h 873"/>
              <a:gd name="T38" fmla="*/ 1818 w 1818"/>
              <a:gd name="T39" fmla="*/ 860 h 873"/>
              <a:gd name="T40" fmla="*/ 1798 w 1818"/>
              <a:gd name="T41" fmla="*/ 860 h 873"/>
              <a:gd name="T42" fmla="*/ 1744 w 1818"/>
              <a:gd name="T43" fmla="*/ 848 h 873"/>
              <a:gd name="T44" fmla="*/ 1719 w 1818"/>
              <a:gd name="T45" fmla="*/ 821 h 873"/>
              <a:gd name="T46" fmla="*/ 1646 w 1818"/>
              <a:gd name="T47" fmla="*/ 812 h 873"/>
              <a:gd name="T48" fmla="*/ 1606 w 1818"/>
              <a:gd name="T49" fmla="*/ 776 h 873"/>
              <a:gd name="T50" fmla="*/ 1579 w 1818"/>
              <a:gd name="T51" fmla="*/ 762 h 873"/>
              <a:gd name="T52" fmla="*/ 1521 w 1818"/>
              <a:gd name="T53" fmla="*/ 753 h 873"/>
              <a:gd name="T54" fmla="*/ 1481 w 1818"/>
              <a:gd name="T55" fmla="*/ 727 h 873"/>
              <a:gd name="T56" fmla="*/ 1424 w 1818"/>
              <a:gd name="T57" fmla="*/ 733 h 873"/>
              <a:gd name="T58" fmla="*/ 1352 w 1818"/>
              <a:gd name="T59" fmla="*/ 732 h 873"/>
              <a:gd name="T60" fmla="*/ 1361 w 1818"/>
              <a:gd name="T61" fmla="*/ 819 h 873"/>
              <a:gd name="T62" fmla="*/ 1263 w 1818"/>
              <a:gd name="T63" fmla="*/ 773 h 873"/>
              <a:gd name="T64" fmla="*/ 1129 w 1818"/>
              <a:gd name="T65" fmla="*/ 741 h 873"/>
              <a:gd name="T66" fmla="*/ 1033 w 1818"/>
              <a:gd name="T67" fmla="*/ 768 h 873"/>
              <a:gd name="T68" fmla="*/ 903 w 1818"/>
              <a:gd name="T69" fmla="*/ 727 h 873"/>
              <a:gd name="T70" fmla="*/ 835 w 1818"/>
              <a:gd name="T71" fmla="*/ 663 h 873"/>
              <a:gd name="T72" fmla="*/ 806 w 1818"/>
              <a:gd name="T73" fmla="*/ 612 h 873"/>
              <a:gd name="T74" fmla="*/ 668 w 1818"/>
              <a:gd name="T75" fmla="*/ 490 h 873"/>
              <a:gd name="T76" fmla="*/ 563 w 1818"/>
              <a:gd name="T77" fmla="*/ 500 h 873"/>
              <a:gd name="T78" fmla="*/ 480 w 1818"/>
              <a:gd name="T79" fmla="*/ 481 h 873"/>
              <a:gd name="T80" fmla="*/ 416 w 1818"/>
              <a:gd name="T81" fmla="*/ 531 h 873"/>
              <a:gd name="T82" fmla="*/ 350 w 1818"/>
              <a:gd name="T83" fmla="*/ 522 h 873"/>
              <a:gd name="T84" fmla="*/ 349 w 1818"/>
              <a:gd name="T85" fmla="*/ 493 h 873"/>
              <a:gd name="T86" fmla="*/ 345 w 1818"/>
              <a:gd name="T87" fmla="*/ 465 h 873"/>
              <a:gd name="T88" fmla="*/ 313 w 1818"/>
              <a:gd name="T89" fmla="*/ 473 h 873"/>
              <a:gd name="T90" fmla="*/ 260 w 1818"/>
              <a:gd name="T91" fmla="*/ 508 h 873"/>
              <a:gd name="T92" fmla="*/ 133 w 1818"/>
              <a:gd name="T93" fmla="*/ 486 h 873"/>
              <a:gd name="T94" fmla="*/ 126 w 1818"/>
              <a:gd name="T95" fmla="*/ 439 h 873"/>
              <a:gd name="T96" fmla="*/ 92 w 1818"/>
              <a:gd name="T97" fmla="*/ 421 h 873"/>
              <a:gd name="T98" fmla="*/ 74 w 1818"/>
              <a:gd name="T99" fmla="*/ 396 h 873"/>
              <a:gd name="T100" fmla="*/ 26 w 1818"/>
              <a:gd name="T101" fmla="*/ 373 h 873"/>
              <a:gd name="T102" fmla="*/ 2 w 1818"/>
              <a:gd name="T103" fmla="*/ 366 h 873"/>
              <a:gd name="T104" fmla="*/ 49 w 1818"/>
              <a:gd name="T105" fmla="*/ 303 h 873"/>
              <a:gd name="T106" fmla="*/ 85 w 1818"/>
              <a:gd name="T107" fmla="*/ 266 h 873"/>
              <a:gd name="T108" fmla="*/ 84 w 1818"/>
              <a:gd name="T109" fmla="*/ 256 h 873"/>
              <a:gd name="T110" fmla="*/ 83 w 1818"/>
              <a:gd name="T111" fmla="*/ 238 h 873"/>
              <a:gd name="T112" fmla="*/ 125 w 1818"/>
              <a:gd name="T113" fmla="*/ 152 h 873"/>
              <a:gd name="T114" fmla="*/ 214 w 1818"/>
              <a:gd name="T115" fmla="*/ 49 h 873"/>
              <a:gd name="T116" fmla="*/ 199 w 1818"/>
              <a:gd name="T117" fmla="*/ 18 h 873"/>
              <a:gd name="T118" fmla="*/ 233 w 1818"/>
              <a:gd name="T119" fmla="*/ 18 h 873"/>
              <a:gd name="T120" fmla="*/ 308 w 1818"/>
              <a:gd name="T121" fmla="*/ 0 h 873"/>
              <a:gd name="T122" fmla="*/ 383 w 1818"/>
              <a:gd name="T123" fmla="*/ 18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18" h="873">
                <a:moveTo>
                  <a:pt x="511" y="219"/>
                </a:moveTo>
                <a:lnTo>
                  <a:pt x="526" y="218"/>
                </a:lnTo>
                <a:lnTo>
                  <a:pt x="560" y="206"/>
                </a:lnTo>
                <a:lnTo>
                  <a:pt x="571" y="204"/>
                </a:lnTo>
                <a:lnTo>
                  <a:pt x="580" y="206"/>
                </a:lnTo>
                <a:lnTo>
                  <a:pt x="594" y="209"/>
                </a:lnTo>
                <a:lnTo>
                  <a:pt x="619" y="238"/>
                </a:lnTo>
                <a:lnTo>
                  <a:pt x="640" y="245"/>
                </a:lnTo>
                <a:lnTo>
                  <a:pt x="666" y="245"/>
                </a:lnTo>
                <a:lnTo>
                  <a:pt x="675" y="247"/>
                </a:lnTo>
                <a:lnTo>
                  <a:pt x="685" y="250"/>
                </a:lnTo>
                <a:lnTo>
                  <a:pt x="693" y="256"/>
                </a:lnTo>
                <a:lnTo>
                  <a:pt x="707" y="270"/>
                </a:lnTo>
                <a:lnTo>
                  <a:pt x="719" y="278"/>
                </a:lnTo>
                <a:lnTo>
                  <a:pt x="729" y="282"/>
                </a:lnTo>
                <a:lnTo>
                  <a:pt x="739" y="283"/>
                </a:lnTo>
                <a:lnTo>
                  <a:pt x="785" y="275"/>
                </a:lnTo>
                <a:lnTo>
                  <a:pt x="794" y="276"/>
                </a:lnTo>
                <a:lnTo>
                  <a:pt x="818" y="287"/>
                </a:lnTo>
                <a:lnTo>
                  <a:pt x="827" y="286"/>
                </a:lnTo>
                <a:lnTo>
                  <a:pt x="826" y="260"/>
                </a:lnTo>
                <a:lnTo>
                  <a:pt x="834" y="257"/>
                </a:lnTo>
                <a:lnTo>
                  <a:pt x="858" y="263"/>
                </a:lnTo>
                <a:lnTo>
                  <a:pt x="890" y="266"/>
                </a:lnTo>
                <a:lnTo>
                  <a:pt x="900" y="270"/>
                </a:lnTo>
                <a:lnTo>
                  <a:pt x="910" y="277"/>
                </a:lnTo>
                <a:lnTo>
                  <a:pt x="928" y="293"/>
                </a:lnTo>
                <a:lnTo>
                  <a:pt x="940" y="298"/>
                </a:lnTo>
                <a:lnTo>
                  <a:pt x="951" y="297"/>
                </a:lnTo>
                <a:lnTo>
                  <a:pt x="968" y="288"/>
                </a:lnTo>
                <a:lnTo>
                  <a:pt x="1034" y="280"/>
                </a:lnTo>
                <a:lnTo>
                  <a:pt x="1046" y="272"/>
                </a:lnTo>
                <a:lnTo>
                  <a:pt x="1039" y="227"/>
                </a:lnTo>
                <a:lnTo>
                  <a:pt x="1041" y="178"/>
                </a:lnTo>
                <a:lnTo>
                  <a:pt x="1041" y="173"/>
                </a:lnTo>
                <a:lnTo>
                  <a:pt x="1046" y="174"/>
                </a:lnTo>
                <a:lnTo>
                  <a:pt x="1061" y="173"/>
                </a:lnTo>
                <a:lnTo>
                  <a:pt x="1068" y="172"/>
                </a:lnTo>
                <a:lnTo>
                  <a:pt x="1074" y="170"/>
                </a:lnTo>
                <a:lnTo>
                  <a:pt x="1091" y="150"/>
                </a:lnTo>
                <a:lnTo>
                  <a:pt x="1095" y="147"/>
                </a:lnTo>
                <a:lnTo>
                  <a:pt x="1098" y="145"/>
                </a:lnTo>
                <a:lnTo>
                  <a:pt x="1110" y="135"/>
                </a:lnTo>
                <a:lnTo>
                  <a:pt x="1118" y="133"/>
                </a:lnTo>
                <a:lnTo>
                  <a:pt x="1124" y="136"/>
                </a:lnTo>
                <a:lnTo>
                  <a:pt x="1143" y="156"/>
                </a:lnTo>
                <a:lnTo>
                  <a:pt x="1156" y="165"/>
                </a:lnTo>
                <a:lnTo>
                  <a:pt x="1170" y="170"/>
                </a:lnTo>
                <a:lnTo>
                  <a:pt x="1184" y="173"/>
                </a:lnTo>
                <a:lnTo>
                  <a:pt x="1200" y="174"/>
                </a:lnTo>
                <a:lnTo>
                  <a:pt x="1215" y="174"/>
                </a:lnTo>
                <a:lnTo>
                  <a:pt x="1222" y="174"/>
                </a:lnTo>
                <a:lnTo>
                  <a:pt x="1228" y="176"/>
                </a:lnTo>
                <a:lnTo>
                  <a:pt x="1231" y="184"/>
                </a:lnTo>
                <a:lnTo>
                  <a:pt x="1236" y="201"/>
                </a:lnTo>
                <a:lnTo>
                  <a:pt x="1239" y="207"/>
                </a:lnTo>
                <a:lnTo>
                  <a:pt x="1251" y="207"/>
                </a:lnTo>
                <a:lnTo>
                  <a:pt x="1268" y="201"/>
                </a:lnTo>
                <a:lnTo>
                  <a:pt x="1283" y="199"/>
                </a:lnTo>
                <a:lnTo>
                  <a:pt x="1290" y="209"/>
                </a:lnTo>
                <a:lnTo>
                  <a:pt x="1292" y="217"/>
                </a:lnTo>
                <a:lnTo>
                  <a:pt x="1338" y="274"/>
                </a:lnTo>
                <a:lnTo>
                  <a:pt x="1341" y="283"/>
                </a:lnTo>
                <a:lnTo>
                  <a:pt x="1344" y="295"/>
                </a:lnTo>
                <a:lnTo>
                  <a:pt x="1352" y="305"/>
                </a:lnTo>
                <a:lnTo>
                  <a:pt x="1368" y="322"/>
                </a:lnTo>
                <a:lnTo>
                  <a:pt x="1408" y="347"/>
                </a:lnTo>
                <a:lnTo>
                  <a:pt x="1415" y="355"/>
                </a:lnTo>
                <a:lnTo>
                  <a:pt x="1441" y="376"/>
                </a:lnTo>
                <a:lnTo>
                  <a:pt x="1460" y="386"/>
                </a:lnTo>
                <a:lnTo>
                  <a:pt x="1471" y="390"/>
                </a:lnTo>
                <a:lnTo>
                  <a:pt x="1484" y="393"/>
                </a:lnTo>
                <a:lnTo>
                  <a:pt x="1499" y="395"/>
                </a:lnTo>
                <a:lnTo>
                  <a:pt x="1514" y="393"/>
                </a:lnTo>
                <a:lnTo>
                  <a:pt x="1543" y="387"/>
                </a:lnTo>
                <a:lnTo>
                  <a:pt x="1555" y="386"/>
                </a:lnTo>
                <a:lnTo>
                  <a:pt x="1569" y="390"/>
                </a:lnTo>
                <a:lnTo>
                  <a:pt x="1579" y="400"/>
                </a:lnTo>
                <a:lnTo>
                  <a:pt x="1588" y="408"/>
                </a:lnTo>
                <a:lnTo>
                  <a:pt x="1595" y="413"/>
                </a:lnTo>
                <a:lnTo>
                  <a:pt x="1607" y="417"/>
                </a:lnTo>
                <a:lnTo>
                  <a:pt x="1639" y="445"/>
                </a:lnTo>
                <a:lnTo>
                  <a:pt x="1678" y="469"/>
                </a:lnTo>
                <a:lnTo>
                  <a:pt x="1693" y="474"/>
                </a:lnTo>
                <a:lnTo>
                  <a:pt x="1706" y="484"/>
                </a:lnTo>
                <a:lnTo>
                  <a:pt x="1744" y="491"/>
                </a:lnTo>
                <a:lnTo>
                  <a:pt x="1786" y="507"/>
                </a:lnTo>
                <a:lnTo>
                  <a:pt x="1799" y="514"/>
                </a:lnTo>
                <a:lnTo>
                  <a:pt x="1791" y="524"/>
                </a:lnTo>
                <a:lnTo>
                  <a:pt x="1775" y="535"/>
                </a:lnTo>
                <a:lnTo>
                  <a:pt x="1767" y="539"/>
                </a:lnTo>
                <a:lnTo>
                  <a:pt x="1758" y="543"/>
                </a:lnTo>
                <a:lnTo>
                  <a:pt x="1747" y="543"/>
                </a:lnTo>
                <a:lnTo>
                  <a:pt x="1724" y="539"/>
                </a:lnTo>
                <a:lnTo>
                  <a:pt x="1719" y="540"/>
                </a:lnTo>
                <a:lnTo>
                  <a:pt x="1701" y="552"/>
                </a:lnTo>
                <a:lnTo>
                  <a:pt x="1683" y="550"/>
                </a:lnTo>
                <a:lnTo>
                  <a:pt x="1637" y="525"/>
                </a:lnTo>
                <a:lnTo>
                  <a:pt x="1628" y="523"/>
                </a:lnTo>
                <a:lnTo>
                  <a:pt x="1618" y="523"/>
                </a:lnTo>
                <a:lnTo>
                  <a:pt x="1606" y="524"/>
                </a:lnTo>
                <a:lnTo>
                  <a:pt x="1595" y="522"/>
                </a:lnTo>
                <a:lnTo>
                  <a:pt x="1584" y="517"/>
                </a:lnTo>
                <a:lnTo>
                  <a:pt x="1572" y="513"/>
                </a:lnTo>
                <a:lnTo>
                  <a:pt x="1562" y="517"/>
                </a:lnTo>
                <a:lnTo>
                  <a:pt x="1558" y="529"/>
                </a:lnTo>
                <a:lnTo>
                  <a:pt x="1561" y="544"/>
                </a:lnTo>
                <a:lnTo>
                  <a:pt x="1567" y="557"/>
                </a:lnTo>
                <a:lnTo>
                  <a:pt x="1574" y="563"/>
                </a:lnTo>
                <a:lnTo>
                  <a:pt x="1580" y="565"/>
                </a:lnTo>
                <a:lnTo>
                  <a:pt x="1594" y="564"/>
                </a:lnTo>
                <a:lnTo>
                  <a:pt x="1601" y="564"/>
                </a:lnTo>
                <a:lnTo>
                  <a:pt x="1610" y="570"/>
                </a:lnTo>
                <a:lnTo>
                  <a:pt x="1623" y="583"/>
                </a:lnTo>
                <a:lnTo>
                  <a:pt x="1631" y="587"/>
                </a:lnTo>
                <a:lnTo>
                  <a:pt x="1645" y="591"/>
                </a:lnTo>
                <a:lnTo>
                  <a:pt x="1656" y="599"/>
                </a:lnTo>
                <a:lnTo>
                  <a:pt x="1664" y="609"/>
                </a:lnTo>
                <a:lnTo>
                  <a:pt x="1685" y="684"/>
                </a:lnTo>
                <a:lnTo>
                  <a:pt x="1697" y="713"/>
                </a:lnTo>
                <a:lnTo>
                  <a:pt x="1717" y="739"/>
                </a:lnTo>
                <a:lnTo>
                  <a:pt x="1730" y="751"/>
                </a:lnTo>
                <a:lnTo>
                  <a:pt x="1737" y="755"/>
                </a:lnTo>
                <a:lnTo>
                  <a:pt x="1744" y="756"/>
                </a:lnTo>
                <a:lnTo>
                  <a:pt x="1753" y="756"/>
                </a:lnTo>
                <a:lnTo>
                  <a:pt x="1756" y="758"/>
                </a:lnTo>
                <a:lnTo>
                  <a:pt x="1759" y="762"/>
                </a:lnTo>
                <a:lnTo>
                  <a:pt x="1785" y="782"/>
                </a:lnTo>
                <a:lnTo>
                  <a:pt x="1787" y="785"/>
                </a:lnTo>
                <a:lnTo>
                  <a:pt x="1792" y="793"/>
                </a:lnTo>
                <a:lnTo>
                  <a:pt x="1794" y="796"/>
                </a:lnTo>
                <a:lnTo>
                  <a:pt x="1797" y="796"/>
                </a:lnTo>
                <a:lnTo>
                  <a:pt x="1804" y="793"/>
                </a:lnTo>
                <a:lnTo>
                  <a:pt x="1807" y="794"/>
                </a:lnTo>
                <a:lnTo>
                  <a:pt x="1814" y="806"/>
                </a:lnTo>
                <a:lnTo>
                  <a:pt x="1817" y="819"/>
                </a:lnTo>
                <a:lnTo>
                  <a:pt x="1814" y="845"/>
                </a:lnTo>
                <a:lnTo>
                  <a:pt x="1815" y="850"/>
                </a:lnTo>
                <a:lnTo>
                  <a:pt x="1817" y="856"/>
                </a:lnTo>
                <a:lnTo>
                  <a:pt x="1818" y="860"/>
                </a:lnTo>
                <a:lnTo>
                  <a:pt x="1817" y="867"/>
                </a:lnTo>
                <a:lnTo>
                  <a:pt x="1810" y="873"/>
                </a:lnTo>
                <a:lnTo>
                  <a:pt x="1809" y="873"/>
                </a:lnTo>
                <a:lnTo>
                  <a:pt x="1800" y="873"/>
                </a:lnTo>
                <a:lnTo>
                  <a:pt x="1798" y="872"/>
                </a:lnTo>
                <a:lnTo>
                  <a:pt x="1797" y="868"/>
                </a:lnTo>
                <a:lnTo>
                  <a:pt x="1798" y="860"/>
                </a:lnTo>
                <a:lnTo>
                  <a:pt x="1797" y="858"/>
                </a:lnTo>
                <a:lnTo>
                  <a:pt x="1795" y="857"/>
                </a:lnTo>
                <a:lnTo>
                  <a:pt x="1791" y="858"/>
                </a:lnTo>
                <a:lnTo>
                  <a:pt x="1785" y="859"/>
                </a:lnTo>
                <a:lnTo>
                  <a:pt x="1778" y="859"/>
                </a:lnTo>
                <a:lnTo>
                  <a:pt x="1755" y="853"/>
                </a:lnTo>
                <a:lnTo>
                  <a:pt x="1744" y="848"/>
                </a:lnTo>
                <a:lnTo>
                  <a:pt x="1737" y="847"/>
                </a:lnTo>
                <a:lnTo>
                  <a:pt x="1732" y="845"/>
                </a:lnTo>
                <a:lnTo>
                  <a:pt x="1729" y="842"/>
                </a:lnTo>
                <a:lnTo>
                  <a:pt x="1727" y="835"/>
                </a:lnTo>
                <a:lnTo>
                  <a:pt x="1724" y="829"/>
                </a:lnTo>
                <a:lnTo>
                  <a:pt x="1722" y="823"/>
                </a:lnTo>
                <a:lnTo>
                  <a:pt x="1719" y="821"/>
                </a:lnTo>
                <a:lnTo>
                  <a:pt x="1708" y="821"/>
                </a:lnTo>
                <a:lnTo>
                  <a:pt x="1703" y="819"/>
                </a:lnTo>
                <a:lnTo>
                  <a:pt x="1695" y="815"/>
                </a:lnTo>
                <a:lnTo>
                  <a:pt x="1688" y="812"/>
                </a:lnTo>
                <a:lnTo>
                  <a:pt x="1657" y="811"/>
                </a:lnTo>
                <a:lnTo>
                  <a:pt x="1653" y="812"/>
                </a:lnTo>
                <a:lnTo>
                  <a:pt x="1646" y="812"/>
                </a:lnTo>
                <a:lnTo>
                  <a:pt x="1626" y="806"/>
                </a:lnTo>
                <a:lnTo>
                  <a:pt x="1617" y="799"/>
                </a:lnTo>
                <a:lnTo>
                  <a:pt x="1614" y="795"/>
                </a:lnTo>
                <a:lnTo>
                  <a:pt x="1611" y="791"/>
                </a:lnTo>
                <a:lnTo>
                  <a:pt x="1608" y="786"/>
                </a:lnTo>
                <a:lnTo>
                  <a:pt x="1607" y="779"/>
                </a:lnTo>
                <a:lnTo>
                  <a:pt x="1606" y="776"/>
                </a:lnTo>
                <a:lnTo>
                  <a:pt x="1604" y="773"/>
                </a:lnTo>
                <a:lnTo>
                  <a:pt x="1598" y="778"/>
                </a:lnTo>
                <a:lnTo>
                  <a:pt x="1594" y="777"/>
                </a:lnTo>
                <a:lnTo>
                  <a:pt x="1592" y="773"/>
                </a:lnTo>
                <a:lnTo>
                  <a:pt x="1591" y="769"/>
                </a:lnTo>
                <a:lnTo>
                  <a:pt x="1587" y="766"/>
                </a:lnTo>
                <a:lnTo>
                  <a:pt x="1579" y="762"/>
                </a:lnTo>
                <a:lnTo>
                  <a:pt x="1564" y="755"/>
                </a:lnTo>
                <a:lnTo>
                  <a:pt x="1556" y="750"/>
                </a:lnTo>
                <a:lnTo>
                  <a:pt x="1550" y="747"/>
                </a:lnTo>
                <a:lnTo>
                  <a:pt x="1545" y="747"/>
                </a:lnTo>
                <a:lnTo>
                  <a:pt x="1538" y="751"/>
                </a:lnTo>
                <a:lnTo>
                  <a:pt x="1528" y="753"/>
                </a:lnTo>
                <a:lnTo>
                  <a:pt x="1521" y="753"/>
                </a:lnTo>
                <a:lnTo>
                  <a:pt x="1512" y="750"/>
                </a:lnTo>
                <a:lnTo>
                  <a:pt x="1508" y="744"/>
                </a:lnTo>
                <a:lnTo>
                  <a:pt x="1502" y="734"/>
                </a:lnTo>
                <a:lnTo>
                  <a:pt x="1499" y="730"/>
                </a:lnTo>
                <a:lnTo>
                  <a:pt x="1493" y="727"/>
                </a:lnTo>
                <a:lnTo>
                  <a:pt x="1487" y="726"/>
                </a:lnTo>
                <a:lnTo>
                  <a:pt x="1481" y="727"/>
                </a:lnTo>
                <a:lnTo>
                  <a:pt x="1474" y="729"/>
                </a:lnTo>
                <a:lnTo>
                  <a:pt x="1467" y="731"/>
                </a:lnTo>
                <a:lnTo>
                  <a:pt x="1450" y="731"/>
                </a:lnTo>
                <a:lnTo>
                  <a:pt x="1444" y="732"/>
                </a:lnTo>
                <a:lnTo>
                  <a:pt x="1437" y="734"/>
                </a:lnTo>
                <a:lnTo>
                  <a:pt x="1432" y="734"/>
                </a:lnTo>
                <a:lnTo>
                  <a:pt x="1424" y="733"/>
                </a:lnTo>
                <a:lnTo>
                  <a:pt x="1417" y="728"/>
                </a:lnTo>
                <a:lnTo>
                  <a:pt x="1407" y="723"/>
                </a:lnTo>
                <a:lnTo>
                  <a:pt x="1395" y="719"/>
                </a:lnTo>
                <a:lnTo>
                  <a:pt x="1373" y="719"/>
                </a:lnTo>
                <a:lnTo>
                  <a:pt x="1363" y="721"/>
                </a:lnTo>
                <a:lnTo>
                  <a:pt x="1354" y="726"/>
                </a:lnTo>
                <a:lnTo>
                  <a:pt x="1352" y="732"/>
                </a:lnTo>
                <a:lnTo>
                  <a:pt x="1352" y="743"/>
                </a:lnTo>
                <a:lnTo>
                  <a:pt x="1358" y="798"/>
                </a:lnTo>
                <a:lnTo>
                  <a:pt x="1361" y="806"/>
                </a:lnTo>
                <a:lnTo>
                  <a:pt x="1365" y="811"/>
                </a:lnTo>
                <a:lnTo>
                  <a:pt x="1366" y="814"/>
                </a:lnTo>
                <a:lnTo>
                  <a:pt x="1365" y="817"/>
                </a:lnTo>
                <a:lnTo>
                  <a:pt x="1361" y="819"/>
                </a:lnTo>
                <a:lnTo>
                  <a:pt x="1354" y="818"/>
                </a:lnTo>
                <a:lnTo>
                  <a:pt x="1338" y="817"/>
                </a:lnTo>
                <a:lnTo>
                  <a:pt x="1322" y="812"/>
                </a:lnTo>
                <a:lnTo>
                  <a:pt x="1307" y="804"/>
                </a:lnTo>
                <a:lnTo>
                  <a:pt x="1280" y="784"/>
                </a:lnTo>
                <a:lnTo>
                  <a:pt x="1267" y="778"/>
                </a:lnTo>
                <a:lnTo>
                  <a:pt x="1263" y="773"/>
                </a:lnTo>
                <a:lnTo>
                  <a:pt x="1261" y="757"/>
                </a:lnTo>
                <a:lnTo>
                  <a:pt x="1257" y="750"/>
                </a:lnTo>
                <a:lnTo>
                  <a:pt x="1253" y="742"/>
                </a:lnTo>
                <a:lnTo>
                  <a:pt x="1250" y="739"/>
                </a:lnTo>
                <a:lnTo>
                  <a:pt x="1187" y="734"/>
                </a:lnTo>
                <a:lnTo>
                  <a:pt x="1135" y="739"/>
                </a:lnTo>
                <a:lnTo>
                  <a:pt x="1129" y="741"/>
                </a:lnTo>
                <a:lnTo>
                  <a:pt x="1116" y="747"/>
                </a:lnTo>
                <a:lnTo>
                  <a:pt x="1094" y="755"/>
                </a:lnTo>
                <a:lnTo>
                  <a:pt x="1087" y="757"/>
                </a:lnTo>
                <a:lnTo>
                  <a:pt x="1060" y="777"/>
                </a:lnTo>
                <a:lnTo>
                  <a:pt x="1044" y="784"/>
                </a:lnTo>
                <a:lnTo>
                  <a:pt x="1038" y="778"/>
                </a:lnTo>
                <a:lnTo>
                  <a:pt x="1033" y="768"/>
                </a:lnTo>
                <a:lnTo>
                  <a:pt x="1022" y="765"/>
                </a:lnTo>
                <a:lnTo>
                  <a:pt x="995" y="766"/>
                </a:lnTo>
                <a:lnTo>
                  <a:pt x="983" y="759"/>
                </a:lnTo>
                <a:lnTo>
                  <a:pt x="948" y="733"/>
                </a:lnTo>
                <a:lnTo>
                  <a:pt x="934" y="714"/>
                </a:lnTo>
                <a:lnTo>
                  <a:pt x="917" y="718"/>
                </a:lnTo>
                <a:lnTo>
                  <a:pt x="903" y="727"/>
                </a:lnTo>
                <a:lnTo>
                  <a:pt x="896" y="717"/>
                </a:lnTo>
                <a:lnTo>
                  <a:pt x="892" y="712"/>
                </a:lnTo>
                <a:lnTo>
                  <a:pt x="886" y="704"/>
                </a:lnTo>
                <a:lnTo>
                  <a:pt x="849" y="678"/>
                </a:lnTo>
                <a:lnTo>
                  <a:pt x="841" y="672"/>
                </a:lnTo>
                <a:lnTo>
                  <a:pt x="837" y="666"/>
                </a:lnTo>
                <a:lnTo>
                  <a:pt x="835" y="663"/>
                </a:lnTo>
                <a:lnTo>
                  <a:pt x="828" y="652"/>
                </a:lnTo>
                <a:lnTo>
                  <a:pt x="823" y="646"/>
                </a:lnTo>
                <a:lnTo>
                  <a:pt x="810" y="627"/>
                </a:lnTo>
                <a:lnTo>
                  <a:pt x="809" y="623"/>
                </a:lnTo>
                <a:lnTo>
                  <a:pt x="809" y="617"/>
                </a:lnTo>
                <a:lnTo>
                  <a:pt x="808" y="615"/>
                </a:lnTo>
                <a:lnTo>
                  <a:pt x="806" y="612"/>
                </a:lnTo>
                <a:lnTo>
                  <a:pt x="785" y="594"/>
                </a:lnTo>
                <a:lnTo>
                  <a:pt x="716" y="512"/>
                </a:lnTo>
                <a:lnTo>
                  <a:pt x="709" y="500"/>
                </a:lnTo>
                <a:lnTo>
                  <a:pt x="705" y="495"/>
                </a:lnTo>
                <a:lnTo>
                  <a:pt x="695" y="490"/>
                </a:lnTo>
                <a:lnTo>
                  <a:pt x="687" y="486"/>
                </a:lnTo>
                <a:lnTo>
                  <a:pt x="668" y="490"/>
                </a:lnTo>
                <a:lnTo>
                  <a:pt x="658" y="494"/>
                </a:lnTo>
                <a:lnTo>
                  <a:pt x="649" y="498"/>
                </a:lnTo>
                <a:lnTo>
                  <a:pt x="641" y="504"/>
                </a:lnTo>
                <a:lnTo>
                  <a:pt x="631" y="509"/>
                </a:lnTo>
                <a:lnTo>
                  <a:pt x="617" y="511"/>
                </a:lnTo>
                <a:lnTo>
                  <a:pt x="600" y="511"/>
                </a:lnTo>
                <a:lnTo>
                  <a:pt x="563" y="500"/>
                </a:lnTo>
                <a:lnTo>
                  <a:pt x="551" y="498"/>
                </a:lnTo>
                <a:lnTo>
                  <a:pt x="540" y="500"/>
                </a:lnTo>
                <a:lnTo>
                  <a:pt x="533" y="504"/>
                </a:lnTo>
                <a:lnTo>
                  <a:pt x="525" y="505"/>
                </a:lnTo>
                <a:lnTo>
                  <a:pt x="518" y="503"/>
                </a:lnTo>
                <a:lnTo>
                  <a:pt x="498" y="490"/>
                </a:lnTo>
                <a:lnTo>
                  <a:pt x="480" y="481"/>
                </a:lnTo>
                <a:lnTo>
                  <a:pt x="469" y="477"/>
                </a:lnTo>
                <a:lnTo>
                  <a:pt x="459" y="474"/>
                </a:lnTo>
                <a:lnTo>
                  <a:pt x="449" y="482"/>
                </a:lnTo>
                <a:lnTo>
                  <a:pt x="432" y="501"/>
                </a:lnTo>
                <a:lnTo>
                  <a:pt x="427" y="510"/>
                </a:lnTo>
                <a:lnTo>
                  <a:pt x="419" y="525"/>
                </a:lnTo>
                <a:lnTo>
                  <a:pt x="416" y="531"/>
                </a:lnTo>
                <a:lnTo>
                  <a:pt x="411" y="534"/>
                </a:lnTo>
                <a:lnTo>
                  <a:pt x="407" y="536"/>
                </a:lnTo>
                <a:lnTo>
                  <a:pt x="399" y="537"/>
                </a:lnTo>
                <a:lnTo>
                  <a:pt x="388" y="536"/>
                </a:lnTo>
                <a:lnTo>
                  <a:pt x="356" y="529"/>
                </a:lnTo>
                <a:lnTo>
                  <a:pt x="351" y="526"/>
                </a:lnTo>
                <a:lnTo>
                  <a:pt x="350" y="522"/>
                </a:lnTo>
                <a:lnTo>
                  <a:pt x="350" y="518"/>
                </a:lnTo>
                <a:lnTo>
                  <a:pt x="350" y="513"/>
                </a:lnTo>
                <a:lnTo>
                  <a:pt x="351" y="509"/>
                </a:lnTo>
                <a:lnTo>
                  <a:pt x="352" y="506"/>
                </a:lnTo>
                <a:lnTo>
                  <a:pt x="352" y="503"/>
                </a:lnTo>
                <a:lnTo>
                  <a:pt x="349" y="496"/>
                </a:lnTo>
                <a:lnTo>
                  <a:pt x="349" y="493"/>
                </a:lnTo>
                <a:lnTo>
                  <a:pt x="350" y="490"/>
                </a:lnTo>
                <a:lnTo>
                  <a:pt x="352" y="486"/>
                </a:lnTo>
                <a:lnTo>
                  <a:pt x="353" y="483"/>
                </a:lnTo>
                <a:lnTo>
                  <a:pt x="352" y="480"/>
                </a:lnTo>
                <a:lnTo>
                  <a:pt x="350" y="477"/>
                </a:lnTo>
                <a:lnTo>
                  <a:pt x="347" y="472"/>
                </a:lnTo>
                <a:lnTo>
                  <a:pt x="345" y="465"/>
                </a:lnTo>
                <a:lnTo>
                  <a:pt x="342" y="460"/>
                </a:lnTo>
                <a:lnTo>
                  <a:pt x="339" y="458"/>
                </a:lnTo>
                <a:lnTo>
                  <a:pt x="330" y="461"/>
                </a:lnTo>
                <a:lnTo>
                  <a:pt x="321" y="468"/>
                </a:lnTo>
                <a:lnTo>
                  <a:pt x="318" y="469"/>
                </a:lnTo>
                <a:lnTo>
                  <a:pt x="315" y="470"/>
                </a:lnTo>
                <a:lnTo>
                  <a:pt x="313" y="473"/>
                </a:lnTo>
                <a:lnTo>
                  <a:pt x="311" y="477"/>
                </a:lnTo>
                <a:lnTo>
                  <a:pt x="306" y="480"/>
                </a:lnTo>
                <a:lnTo>
                  <a:pt x="300" y="482"/>
                </a:lnTo>
                <a:lnTo>
                  <a:pt x="289" y="484"/>
                </a:lnTo>
                <a:lnTo>
                  <a:pt x="281" y="488"/>
                </a:lnTo>
                <a:lnTo>
                  <a:pt x="267" y="504"/>
                </a:lnTo>
                <a:lnTo>
                  <a:pt x="260" y="508"/>
                </a:lnTo>
                <a:lnTo>
                  <a:pt x="255" y="509"/>
                </a:lnTo>
                <a:lnTo>
                  <a:pt x="248" y="505"/>
                </a:lnTo>
                <a:lnTo>
                  <a:pt x="239" y="501"/>
                </a:lnTo>
                <a:lnTo>
                  <a:pt x="221" y="497"/>
                </a:lnTo>
                <a:lnTo>
                  <a:pt x="154" y="495"/>
                </a:lnTo>
                <a:lnTo>
                  <a:pt x="142" y="493"/>
                </a:lnTo>
                <a:lnTo>
                  <a:pt x="133" y="486"/>
                </a:lnTo>
                <a:lnTo>
                  <a:pt x="129" y="473"/>
                </a:lnTo>
                <a:lnTo>
                  <a:pt x="124" y="452"/>
                </a:lnTo>
                <a:lnTo>
                  <a:pt x="124" y="445"/>
                </a:lnTo>
                <a:lnTo>
                  <a:pt x="124" y="442"/>
                </a:lnTo>
                <a:lnTo>
                  <a:pt x="125" y="441"/>
                </a:lnTo>
                <a:lnTo>
                  <a:pt x="126" y="440"/>
                </a:lnTo>
                <a:lnTo>
                  <a:pt x="126" y="439"/>
                </a:lnTo>
                <a:lnTo>
                  <a:pt x="128" y="438"/>
                </a:lnTo>
                <a:lnTo>
                  <a:pt x="128" y="436"/>
                </a:lnTo>
                <a:lnTo>
                  <a:pt x="129" y="434"/>
                </a:lnTo>
                <a:lnTo>
                  <a:pt x="129" y="433"/>
                </a:lnTo>
                <a:lnTo>
                  <a:pt x="129" y="432"/>
                </a:lnTo>
                <a:lnTo>
                  <a:pt x="122" y="428"/>
                </a:lnTo>
                <a:lnTo>
                  <a:pt x="92" y="421"/>
                </a:lnTo>
                <a:lnTo>
                  <a:pt x="84" y="418"/>
                </a:lnTo>
                <a:lnTo>
                  <a:pt x="81" y="416"/>
                </a:lnTo>
                <a:lnTo>
                  <a:pt x="80" y="415"/>
                </a:lnTo>
                <a:lnTo>
                  <a:pt x="80" y="413"/>
                </a:lnTo>
                <a:lnTo>
                  <a:pt x="79" y="405"/>
                </a:lnTo>
                <a:lnTo>
                  <a:pt x="77" y="400"/>
                </a:lnTo>
                <a:lnTo>
                  <a:pt x="74" y="396"/>
                </a:lnTo>
                <a:lnTo>
                  <a:pt x="71" y="393"/>
                </a:lnTo>
                <a:lnTo>
                  <a:pt x="61" y="387"/>
                </a:lnTo>
                <a:lnTo>
                  <a:pt x="58" y="386"/>
                </a:lnTo>
                <a:lnTo>
                  <a:pt x="56" y="386"/>
                </a:lnTo>
                <a:lnTo>
                  <a:pt x="53" y="384"/>
                </a:lnTo>
                <a:lnTo>
                  <a:pt x="43" y="381"/>
                </a:lnTo>
                <a:lnTo>
                  <a:pt x="26" y="373"/>
                </a:lnTo>
                <a:lnTo>
                  <a:pt x="25" y="373"/>
                </a:lnTo>
                <a:lnTo>
                  <a:pt x="21" y="373"/>
                </a:lnTo>
                <a:lnTo>
                  <a:pt x="20" y="373"/>
                </a:lnTo>
                <a:lnTo>
                  <a:pt x="19" y="373"/>
                </a:lnTo>
                <a:lnTo>
                  <a:pt x="12" y="369"/>
                </a:lnTo>
                <a:lnTo>
                  <a:pt x="4" y="367"/>
                </a:lnTo>
                <a:lnTo>
                  <a:pt x="2" y="366"/>
                </a:lnTo>
                <a:lnTo>
                  <a:pt x="0" y="365"/>
                </a:lnTo>
                <a:lnTo>
                  <a:pt x="0" y="364"/>
                </a:lnTo>
                <a:lnTo>
                  <a:pt x="0" y="363"/>
                </a:lnTo>
                <a:lnTo>
                  <a:pt x="0" y="363"/>
                </a:lnTo>
                <a:lnTo>
                  <a:pt x="17" y="335"/>
                </a:lnTo>
                <a:lnTo>
                  <a:pt x="40" y="310"/>
                </a:lnTo>
                <a:lnTo>
                  <a:pt x="49" y="303"/>
                </a:lnTo>
                <a:lnTo>
                  <a:pt x="53" y="302"/>
                </a:lnTo>
                <a:lnTo>
                  <a:pt x="56" y="301"/>
                </a:lnTo>
                <a:lnTo>
                  <a:pt x="59" y="299"/>
                </a:lnTo>
                <a:lnTo>
                  <a:pt x="61" y="298"/>
                </a:lnTo>
                <a:lnTo>
                  <a:pt x="65" y="293"/>
                </a:lnTo>
                <a:lnTo>
                  <a:pt x="78" y="276"/>
                </a:lnTo>
                <a:lnTo>
                  <a:pt x="85" y="266"/>
                </a:lnTo>
                <a:lnTo>
                  <a:pt x="88" y="264"/>
                </a:lnTo>
                <a:lnTo>
                  <a:pt x="91" y="262"/>
                </a:lnTo>
                <a:lnTo>
                  <a:pt x="91" y="260"/>
                </a:lnTo>
                <a:lnTo>
                  <a:pt x="90" y="258"/>
                </a:lnTo>
                <a:lnTo>
                  <a:pt x="87" y="257"/>
                </a:lnTo>
                <a:lnTo>
                  <a:pt x="86" y="256"/>
                </a:lnTo>
                <a:lnTo>
                  <a:pt x="84" y="256"/>
                </a:lnTo>
                <a:lnTo>
                  <a:pt x="83" y="256"/>
                </a:lnTo>
                <a:lnTo>
                  <a:pt x="82" y="254"/>
                </a:lnTo>
                <a:lnTo>
                  <a:pt x="81" y="253"/>
                </a:lnTo>
                <a:lnTo>
                  <a:pt x="80" y="252"/>
                </a:lnTo>
                <a:lnTo>
                  <a:pt x="79" y="251"/>
                </a:lnTo>
                <a:lnTo>
                  <a:pt x="79" y="247"/>
                </a:lnTo>
                <a:lnTo>
                  <a:pt x="83" y="238"/>
                </a:lnTo>
                <a:lnTo>
                  <a:pt x="105" y="211"/>
                </a:lnTo>
                <a:lnTo>
                  <a:pt x="120" y="194"/>
                </a:lnTo>
                <a:lnTo>
                  <a:pt x="122" y="186"/>
                </a:lnTo>
                <a:lnTo>
                  <a:pt x="121" y="178"/>
                </a:lnTo>
                <a:lnTo>
                  <a:pt x="120" y="171"/>
                </a:lnTo>
                <a:lnTo>
                  <a:pt x="121" y="159"/>
                </a:lnTo>
                <a:lnTo>
                  <a:pt x="125" y="152"/>
                </a:lnTo>
                <a:lnTo>
                  <a:pt x="131" y="142"/>
                </a:lnTo>
                <a:lnTo>
                  <a:pt x="177" y="83"/>
                </a:lnTo>
                <a:lnTo>
                  <a:pt x="182" y="78"/>
                </a:lnTo>
                <a:lnTo>
                  <a:pt x="208" y="59"/>
                </a:lnTo>
                <a:lnTo>
                  <a:pt x="212" y="55"/>
                </a:lnTo>
                <a:lnTo>
                  <a:pt x="214" y="51"/>
                </a:lnTo>
                <a:lnTo>
                  <a:pt x="214" y="49"/>
                </a:lnTo>
                <a:lnTo>
                  <a:pt x="213" y="45"/>
                </a:lnTo>
                <a:lnTo>
                  <a:pt x="211" y="42"/>
                </a:lnTo>
                <a:lnTo>
                  <a:pt x="209" y="39"/>
                </a:lnTo>
                <a:lnTo>
                  <a:pt x="201" y="32"/>
                </a:lnTo>
                <a:lnTo>
                  <a:pt x="199" y="29"/>
                </a:lnTo>
                <a:lnTo>
                  <a:pt x="198" y="25"/>
                </a:lnTo>
                <a:lnTo>
                  <a:pt x="199" y="18"/>
                </a:lnTo>
                <a:lnTo>
                  <a:pt x="201" y="15"/>
                </a:lnTo>
                <a:lnTo>
                  <a:pt x="203" y="13"/>
                </a:lnTo>
                <a:lnTo>
                  <a:pt x="207" y="13"/>
                </a:lnTo>
                <a:lnTo>
                  <a:pt x="211" y="13"/>
                </a:lnTo>
                <a:lnTo>
                  <a:pt x="216" y="14"/>
                </a:lnTo>
                <a:lnTo>
                  <a:pt x="227" y="17"/>
                </a:lnTo>
                <a:lnTo>
                  <a:pt x="233" y="18"/>
                </a:lnTo>
                <a:lnTo>
                  <a:pt x="251" y="18"/>
                </a:lnTo>
                <a:lnTo>
                  <a:pt x="254" y="18"/>
                </a:lnTo>
                <a:lnTo>
                  <a:pt x="268" y="24"/>
                </a:lnTo>
                <a:lnTo>
                  <a:pt x="279" y="21"/>
                </a:lnTo>
                <a:lnTo>
                  <a:pt x="303" y="3"/>
                </a:lnTo>
                <a:lnTo>
                  <a:pt x="305" y="0"/>
                </a:lnTo>
                <a:lnTo>
                  <a:pt x="308" y="0"/>
                </a:lnTo>
                <a:lnTo>
                  <a:pt x="337" y="6"/>
                </a:lnTo>
                <a:lnTo>
                  <a:pt x="345" y="39"/>
                </a:lnTo>
                <a:lnTo>
                  <a:pt x="350" y="109"/>
                </a:lnTo>
                <a:lnTo>
                  <a:pt x="356" y="132"/>
                </a:lnTo>
                <a:lnTo>
                  <a:pt x="358" y="152"/>
                </a:lnTo>
                <a:lnTo>
                  <a:pt x="366" y="169"/>
                </a:lnTo>
                <a:lnTo>
                  <a:pt x="383" y="183"/>
                </a:lnTo>
                <a:lnTo>
                  <a:pt x="407" y="192"/>
                </a:lnTo>
                <a:lnTo>
                  <a:pt x="479" y="206"/>
                </a:lnTo>
                <a:lnTo>
                  <a:pt x="490" y="210"/>
                </a:lnTo>
                <a:lnTo>
                  <a:pt x="500" y="215"/>
                </a:lnTo>
                <a:lnTo>
                  <a:pt x="511" y="21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1F3872A7-FB15-8EA0-1BC9-4F756F488FDF}"/>
              </a:ext>
            </a:extLst>
          </p:cNvPr>
          <p:cNvSpPr>
            <a:spLocks/>
          </p:cNvSpPr>
          <p:nvPr/>
        </p:nvSpPr>
        <p:spPr bwMode="auto">
          <a:xfrm>
            <a:off x="5706118" y="3804011"/>
            <a:ext cx="633807" cy="656946"/>
          </a:xfrm>
          <a:custGeom>
            <a:avLst/>
            <a:gdLst>
              <a:gd name="T0" fmla="*/ 339 w 535"/>
              <a:gd name="T1" fmla="*/ 153 h 586"/>
              <a:gd name="T2" fmla="*/ 393 w 535"/>
              <a:gd name="T3" fmla="*/ 205 h 586"/>
              <a:gd name="T4" fmla="*/ 485 w 535"/>
              <a:gd name="T5" fmla="*/ 242 h 586"/>
              <a:gd name="T6" fmla="*/ 535 w 535"/>
              <a:gd name="T7" fmla="*/ 305 h 586"/>
              <a:gd name="T8" fmla="*/ 523 w 535"/>
              <a:gd name="T9" fmla="*/ 432 h 586"/>
              <a:gd name="T10" fmla="*/ 460 w 535"/>
              <a:gd name="T11" fmla="*/ 496 h 586"/>
              <a:gd name="T12" fmla="*/ 363 w 535"/>
              <a:gd name="T13" fmla="*/ 540 h 586"/>
              <a:gd name="T14" fmla="*/ 293 w 535"/>
              <a:gd name="T15" fmla="*/ 561 h 586"/>
              <a:gd name="T16" fmla="*/ 217 w 535"/>
              <a:gd name="T17" fmla="*/ 502 h 586"/>
              <a:gd name="T18" fmla="*/ 175 w 535"/>
              <a:gd name="T19" fmla="*/ 493 h 586"/>
              <a:gd name="T20" fmla="*/ 128 w 535"/>
              <a:gd name="T21" fmla="*/ 476 h 586"/>
              <a:gd name="T22" fmla="*/ 85 w 535"/>
              <a:gd name="T23" fmla="*/ 446 h 586"/>
              <a:gd name="T24" fmla="*/ 67 w 535"/>
              <a:gd name="T25" fmla="*/ 445 h 586"/>
              <a:gd name="T26" fmla="*/ 57 w 535"/>
              <a:gd name="T27" fmla="*/ 415 h 586"/>
              <a:gd name="T28" fmla="*/ 41 w 535"/>
              <a:gd name="T29" fmla="*/ 390 h 586"/>
              <a:gd name="T30" fmla="*/ 7 w 535"/>
              <a:gd name="T31" fmla="*/ 360 h 586"/>
              <a:gd name="T32" fmla="*/ 1 w 535"/>
              <a:gd name="T33" fmla="*/ 349 h 586"/>
              <a:gd name="T34" fmla="*/ 3 w 535"/>
              <a:gd name="T35" fmla="*/ 340 h 586"/>
              <a:gd name="T36" fmla="*/ 11 w 535"/>
              <a:gd name="T37" fmla="*/ 344 h 586"/>
              <a:gd name="T38" fmla="*/ 14 w 535"/>
              <a:gd name="T39" fmla="*/ 349 h 586"/>
              <a:gd name="T40" fmla="*/ 39 w 535"/>
              <a:gd name="T41" fmla="*/ 354 h 586"/>
              <a:gd name="T42" fmla="*/ 46 w 535"/>
              <a:gd name="T43" fmla="*/ 367 h 586"/>
              <a:gd name="T44" fmla="*/ 71 w 535"/>
              <a:gd name="T45" fmla="*/ 375 h 586"/>
              <a:gd name="T46" fmla="*/ 130 w 535"/>
              <a:gd name="T47" fmla="*/ 340 h 586"/>
              <a:gd name="T48" fmla="*/ 180 w 535"/>
              <a:gd name="T49" fmla="*/ 299 h 586"/>
              <a:gd name="T50" fmla="*/ 175 w 535"/>
              <a:gd name="T51" fmla="*/ 240 h 586"/>
              <a:gd name="T52" fmla="*/ 168 w 535"/>
              <a:gd name="T53" fmla="*/ 213 h 586"/>
              <a:gd name="T54" fmla="*/ 178 w 535"/>
              <a:gd name="T55" fmla="*/ 205 h 586"/>
              <a:gd name="T56" fmla="*/ 189 w 535"/>
              <a:gd name="T57" fmla="*/ 184 h 586"/>
              <a:gd name="T58" fmla="*/ 169 w 535"/>
              <a:gd name="T59" fmla="*/ 95 h 586"/>
              <a:gd name="T60" fmla="*/ 155 w 535"/>
              <a:gd name="T61" fmla="*/ 55 h 586"/>
              <a:gd name="T62" fmla="*/ 143 w 535"/>
              <a:gd name="T63" fmla="*/ 36 h 586"/>
              <a:gd name="T64" fmla="*/ 131 w 535"/>
              <a:gd name="T65" fmla="*/ 15 h 586"/>
              <a:gd name="T66" fmla="*/ 148 w 535"/>
              <a:gd name="T67" fmla="*/ 10 h 586"/>
              <a:gd name="T68" fmla="*/ 166 w 535"/>
              <a:gd name="T69" fmla="*/ 11 h 586"/>
              <a:gd name="T70" fmla="*/ 223 w 535"/>
              <a:gd name="T71" fmla="*/ 11 h 586"/>
              <a:gd name="T72" fmla="*/ 260 w 535"/>
              <a:gd name="T73" fmla="*/ 0 h 586"/>
              <a:gd name="T74" fmla="*/ 291 w 535"/>
              <a:gd name="T75" fmla="*/ 3 h 586"/>
              <a:gd name="T76" fmla="*/ 304 w 535"/>
              <a:gd name="T77" fmla="*/ 13 h 586"/>
              <a:gd name="T78" fmla="*/ 303 w 535"/>
              <a:gd name="T79" fmla="*/ 24 h 586"/>
              <a:gd name="T80" fmla="*/ 313 w 535"/>
              <a:gd name="T81" fmla="*/ 37 h 586"/>
              <a:gd name="T82" fmla="*/ 317 w 535"/>
              <a:gd name="T83" fmla="*/ 48 h 586"/>
              <a:gd name="T84" fmla="*/ 313 w 535"/>
              <a:gd name="T85" fmla="*/ 72 h 586"/>
              <a:gd name="T86" fmla="*/ 303 w 535"/>
              <a:gd name="T87" fmla="*/ 89 h 586"/>
              <a:gd name="T88" fmla="*/ 301 w 535"/>
              <a:gd name="T89" fmla="*/ 102 h 586"/>
              <a:gd name="T90" fmla="*/ 309 w 535"/>
              <a:gd name="T91" fmla="*/ 115 h 586"/>
              <a:gd name="T92" fmla="*/ 332 w 535"/>
              <a:gd name="T93" fmla="*/ 124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35" h="586">
                <a:moveTo>
                  <a:pt x="332" y="124"/>
                </a:moveTo>
                <a:lnTo>
                  <a:pt x="339" y="153"/>
                </a:lnTo>
                <a:lnTo>
                  <a:pt x="358" y="185"/>
                </a:lnTo>
                <a:lnTo>
                  <a:pt x="393" y="205"/>
                </a:lnTo>
                <a:lnTo>
                  <a:pt x="445" y="218"/>
                </a:lnTo>
                <a:lnTo>
                  <a:pt x="485" y="242"/>
                </a:lnTo>
                <a:lnTo>
                  <a:pt x="509" y="265"/>
                </a:lnTo>
                <a:lnTo>
                  <a:pt x="535" y="305"/>
                </a:lnTo>
                <a:lnTo>
                  <a:pt x="534" y="363"/>
                </a:lnTo>
                <a:lnTo>
                  <a:pt x="523" y="432"/>
                </a:lnTo>
                <a:lnTo>
                  <a:pt x="493" y="477"/>
                </a:lnTo>
                <a:lnTo>
                  <a:pt x="460" y="496"/>
                </a:lnTo>
                <a:lnTo>
                  <a:pt x="403" y="510"/>
                </a:lnTo>
                <a:lnTo>
                  <a:pt x="363" y="540"/>
                </a:lnTo>
                <a:lnTo>
                  <a:pt x="315" y="586"/>
                </a:lnTo>
                <a:lnTo>
                  <a:pt x="293" y="561"/>
                </a:lnTo>
                <a:lnTo>
                  <a:pt x="238" y="510"/>
                </a:lnTo>
                <a:lnTo>
                  <a:pt x="217" y="502"/>
                </a:lnTo>
                <a:lnTo>
                  <a:pt x="197" y="493"/>
                </a:lnTo>
                <a:lnTo>
                  <a:pt x="175" y="493"/>
                </a:lnTo>
                <a:lnTo>
                  <a:pt x="141" y="482"/>
                </a:lnTo>
                <a:lnTo>
                  <a:pt x="128" y="476"/>
                </a:lnTo>
                <a:lnTo>
                  <a:pt x="100" y="451"/>
                </a:lnTo>
                <a:lnTo>
                  <a:pt x="85" y="446"/>
                </a:lnTo>
                <a:lnTo>
                  <a:pt x="75" y="446"/>
                </a:lnTo>
                <a:lnTo>
                  <a:pt x="67" y="445"/>
                </a:lnTo>
                <a:lnTo>
                  <a:pt x="62" y="438"/>
                </a:lnTo>
                <a:lnTo>
                  <a:pt x="57" y="415"/>
                </a:lnTo>
                <a:lnTo>
                  <a:pt x="52" y="406"/>
                </a:lnTo>
                <a:lnTo>
                  <a:pt x="41" y="390"/>
                </a:lnTo>
                <a:lnTo>
                  <a:pt x="32" y="381"/>
                </a:lnTo>
                <a:lnTo>
                  <a:pt x="7" y="360"/>
                </a:lnTo>
                <a:lnTo>
                  <a:pt x="4" y="356"/>
                </a:lnTo>
                <a:lnTo>
                  <a:pt x="1" y="349"/>
                </a:lnTo>
                <a:lnTo>
                  <a:pt x="0" y="343"/>
                </a:lnTo>
                <a:lnTo>
                  <a:pt x="3" y="340"/>
                </a:lnTo>
                <a:lnTo>
                  <a:pt x="7" y="341"/>
                </a:lnTo>
                <a:lnTo>
                  <a:pt x="11" y="344"/>
                </a:lnTo>
                <a:lnTo>
                  <a:pt x="12" y="347"/>
                </a:lnTo>
                <a:lnTo>
                  <a:pt x="14" y="349"/>
                </a:lnTo>
                <a:lnTo>
                  <a:pt x="31" y="353"/>
                </a:lnTo>
                <a:lnTo>
                  <a:pt x="39" y="354"/>
                </a:lnTo>
                <a:lnTo>
                  <a:pt x="42" y="356"/>
                </a:lnTo>
                <a:lnTo>
                  <a:pt x="46" y="367"/>
                </a:lnTo>
                <a:lnTo>
                  <a:pt x="55" y="376"/>
                </a:lnTo>
                <a:lnTo>
                  <a:pt x="71" y="375"/>
                </a:lnTo>
                <a:lnTo>
                  <a:pt x="95" y="367"/>
                </a:lnTo>
                <a:lnTo>
                  <a:pt x="130" y="340"/>
                </a:lnTo>
                <a:lnTo>
                  <a:pt x="156" y="327"/>
                </a:lnTo>
                <a:lnTo>
                  <a:pt x="180" y="299"/>
                </a:lnTo>
                <a:lnTo>
                  <a:pt x="184" y="260"/>
                </a:lnTo>
                <a:lnTo>
                  <a:pt x="175" y="240"/>
                </a:lnTo>
                <a:lnTo>
                  <a:pt x="170" y="219"/>
                </a:lnTo>
                <a:lnTo>
                  <a:pt x="168" y="213"/>
                </a:lnTo>
                <a:lnTo>
                  <a:pt x="171" y="206"/>
                </a:lnTo>
                <a:lnTo>
                  <a:pt x="178" y="205"/>
                </a:lnTo>
                <a:lnTo>
                  <a:pt x="187" y="200"/>
                </a:lnTo>
                <a:lnTo>
                  <a:pt x="189" y="184"/>
                </a:lnTo>
                <a:lnTo>
                  <a:pt x="187" y="166"/>
                </a:lnTo>
                <a:lnTo>
                  <a:pt x="169" y="95"/>
                </a:lnTo>
                <a:lnTo>
                  <a:pt x="159" y="67"/>
                </a:lnTo>
                <a:lnTo>
                  <a:pt x="155" y="55"/>
                </a:lnTo>
                <a:lnTo>
                  <a:pt x="148" y="45"/>
                </a:lnTo>
                <a:lnTo>
                  <a:pt x="143" y="36"/>
                </a:lnTo>
                <a:lnTo>
                  <a:pt x="134" y="24"/>
                </a:lnTo>
                <a:lnTo>
                  <a:pt x="131" y="15"/>
                </a:lnTo>
                <a:lnTo>
                  <a:pt x="131" y="15"/>
                </a:lnTo>
                <a:lnTo>
                  <a:pt x="148" y="10"/>
                </a:lnTo>
                <a:lnTo>
                  <a:pt x="161" y="12"/>
                </a:lnTo>
                <a:lnTo>
                  <a:pt x="166" y="11"/>
                </a:lnTo>
                <a:lnTo>
                  <a:pt x="175" y="8"/>
                </a:lnTo>
                <a:lnTo>
                  <a:pt x="223" y="11"/>
                </a:lnTo>
                <a:lnTo>
                  <a:pt x="236" y="8"/>
                </a:lnTo>
                <a:lnTo>
                  <a:pt x="260" y="0"/>
                </a:lnTo>
                <a:lnTo>
                  <a:pt x="272" y="0"/>
                </a:lnTo>
                <a:lnTo>
                  <a:pt x="291" y="3"/>
                </a:lnTo>
                <a:lnTo>
                  <a:pt x="301" y="8"/>
                </a:lnTo>
                <a:lnTo>
                  <a:pt x="304" y="13"/>
                </a:lnTo>
                <a:lnTo>
                  <a:pt x="303" y="20"/>
                </a:lnTo>
                <a:lnTo>
                  <a:pt x="303" y="24"/>
                </a:lnTo>
                <a:lnTo>
                  <a:pt x="304" y="29"/>
                </a:lnTo>
                <a:lnTo>
                  <a:pt x="313" y="37"/>
                </a:lnTo>
                <a:lnTo>
                  <a:pt x="316" y="42"/>
                </a:lnTo>
                <a:lnTo>
                  <a:pt x="317" y="48"/>
                </a:lnTo>
                <a:lnTo>
                  <a:pt x="314" y="68"/>
                </a:lnTo>
                <a:lnTo>
                  <a:pt x="313" y="72"/>
                </a:lnTo>
                <a:lnTo>
                  <a:pt x="305" y="84"/>
                </a:lnTo>
                <a:lnTo>
                  <a:pt x="303" y="89"/>
                </a:lnTo>
                <a:lnTo>
                  <a:pt x="301" y="96"/>
                </a:lnTo>
                <a:lnTo>
                  <a:pt x="301" y="102"/>
                </a:lnTo>
                <a:lnTo>
                  <a:pt x="302" y="108"/>
                </a:lnTo>
                <a:lnTo>
                  <a:pt x="309" y="115"/>
                </a:lnTo>
                <a:lnTo>
                  <a:pt x="318" y="121"/>
                </a:lnTo>
                <a:lnTo>
                  <a:pt x="332" y="12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517819CC-F21F-F834-C966-0E81FE893B1D}"/>
              </a:ext>
            </a:extLst>
          </p:cNvPr>
          <p:cNvSpPr>
            <a:spLocks/>
          </p:cNvSpPr>
          <p:nvPr/>
        </p:nvSpPr>
        <p:spPr bwMode="auto">
          <a:xfrm>
            <a:off x="6820908" y="2527114"/>
            <a:ext cx="683563" cy="557171"/>
          </a:xfrm>
          <a:custGeom>
            <a:avLst/>
            <a:gdLst>
              <a:gd name="T0" fmla="*/ 479 w 577"/>
              <a:gd name="T1" fmla="*/ 102 h 497"/>
              <a:gd name="T2" fmla="*/ 565 w 577"/>
              <a:gd name="T3" fmla="*/ 222 h 497"/>
              <a:gd name="T4" fmla="*/ 455 w 577"/>
              <a:gd name="T5" fmla="*/ 263 h 497"/>
              <a:gd name="T6" fmla="*/ 449 w 577"/>
              <a:gd name="T7" fmla="*/ 270 h 497"/>
              <a:gd name="T8" fmla="*/ 435 w 577"/>
              <a:gd name="T9" fmla="*/ 276 h 497"/>
              <a:gd name="T10" fmla="*/ 428 w 577"/>
              <a:gd name="T11" fmla="*/ 291 h 497"/>
              <a:gd name="T12" fmla="*/ 422 w 577"/>
              <a:gd name="T13" fmla="*/ 301 h 497"/>
              <a:gd name="T14" fmla="*/ 404 w 577"/>
              <a:gd name="T15" fmla="*/ 311 h 497"/>
              <a:gd name="T16" fmla="*/ 388 w 577"/>
              <a:gd name="T17" fmla="*/ 345 h 497"/>
              <a:gd name="T18" fmla="*/ 386 w 577"/>
              <a:gd name="T19" fmla="*/ 355 h 497"/>
              <a:gd name="T20" fmla="*/ 406 w 577"/>
              <a:gd name="T21" fmla="*/ 367 h 497"/>
              <a:gd name="T22" fmla="*/ 413 w 577"/>
              <a:gd name="T23" fmla="*/ 383 h 497"/>
              <a:gd name="T24" fmla="*/ 406 w 577"/>
              <a:gd name="T25" fmla="*/ 391 h 497"/>
              <a:gd name="T26" fmla="*/ 390 w 577"/>
              <a:gd name="T27" fmla="*/ 399 h 497"/>
              <a:gd name="T28" fmla="*/ 382 w 577"/>
              <a:gd name="T29" fmla="*/ 419 h 497"/>
              <a:gd name="T30" fmla="*/ 365 w 577"/>
              <a:gd name="T31" fmla="*/ 420 h 497"/>
              <a:gd name="T32" fmla="*/ 348 w 577"/>
              <a:gd name="T33" fmla="*/ 400 h 497"/>
              <a:gd name="T34" fmla="*/ 319 w 577"/>
              <a:gd name="T35" fmla="*/ 403 h 497"/>
              <a:gd name="T36" fmla="*/ 244 w 577"/>
              <a:gd name="T37" fmla="*/ 465 h 497"/>
              <a:gd name="T38" fmla="*/ 219 w 577"/>
              <a:gd name="T39" fmla="*/ 489 h 497"/>
              <a:gd name="T40" fmla="*/ 195 w 577"/>
              <a:gd name="T41" fmla="*/ 497 h 497"/>
              <a:gd name="T42" fmla="*/ 172 w 577"/>
              <a:gd name="T43" fmla="*/ 487 h 497"/>
              <a:gd name="T44" fmla="*/ 165 w 577"/>
              <a:gd name="T45" fmla="*/ 470 h 497"/>
              <a:gd name="T46" fmla="*/ 175 w 577"/>
              <a:gd name="T47" fmla="*/ 447 h 497"/>
              <a:gd name="T48" fmla="*/ 167 w 577"/>
              <a:gd name="T49" fmla="*/ 417 h 497"/>
              <a:gd name="T50" fmla="*/ 178 w 577"/>
              <a:gd name="T51" fmla="*/ 402 h 497"/>
              <a:gd name="T52" fmla="*/ 120 w 577"/>
              <a:gd name="T53" fmla="*/ 397 h 497"/>
              <a:gd name="T54" fmla="*/ 97 w 577"/>
              <a:gd name="T55" fmla="*/ 380 h 497"/>
              <a:gd name="T56" fmla="*/ 107 w 577"/>
              <a:gd name="T57" fmla="*/ 340 h 497"/>
              <a:gd name="T58" fmla="*/ 135 w 577"/>
              <a:gd name="T59" fmla="*/ 287 h 497"/>
              <a:gd name="T60" fmla="*/ 128 w 577"/>
              <a:gd name="T61" fmla="*/ 150 h 497"/>
              <a:gd name="T62" fmla="*/ 107 w 577"/>
              <a:gd name="T63" fmla="*/ 149 h 497"/>
              <a:gd name="T64" fmla="*/ 74 w 577"/>
              <a:gd name="T65" fmla="*/ 139 h 497"/>
              <a:gd name="T66" fmla="*/ 35 w 577"/>
              <a:gd name="T67" fmla="*/ 97 h 497"/>
              <a:gd name="T68" fmla="*/ 17 w 577"/>
              <a:gd name="T69" fmla="*/ 84 h 497"/>
              <a:gd name="T70" fmla="*/ 3 w 577"/>
              <a:gd name="T71" fmla="*/ 71 h 497"/>
              <a:gd name="T72" fmla="*/ 3 w 577"/>
              <a:gd name="T73" fmla="*/ 45 h 497"/>
              <a:gd name="T74" fmla="*/ 36 w 577"/>
              <a:gd name="T75" fmla="*/ 43 h 497"/>
              <a:gd name="T76" fmla="*/ 103 w 577"/>
              <a:gd name="T77" fmla="*/ 56 h 497"/>
              <a:gd name="T78" fmla="*/ 116 w 577"/>
              <a:gd name="T79" fmla="*/ 63 h 497"/>
              <a:gd name="T80" fmla="*/ 124 w 577"/>
              <a:gd name="T81" fmla="*/ 57 h 497"/>
              <a:gd name="T82" fmla="*/ 121 w 577"/>
              <a:gd name="T83" fmla="*/ 49 h 497"/>
              <a:gd name="T84" fmla="*/ 115 w 577"/>
              <a:gd name="T85" fmla="*/ 49 h 497"/>
              <a:gd name="T86" fmla="*/ 104 w 577"/>
              <a:gd name="T87" fmla="*/ 34 h 497"/>
              <a:gd name="T88" fmla="*/ 123 w 577"/>
              <a:gd name="T89" fmla="*/ 23 h 497"/>
              <a:gd name="T90" fmla="*/ 160 w 577"/>
              <a:gd name="T91" fmla="*/ 6 h 497"/>
              <a:gd name="T92" fmla="*/ 335 w 577"/>
              <a:gd name="T93" fmla="*/ 30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7" h="497">
                <a:moveTo>
                  <a:pt x="339" y="85"/>
                </a:moveTo>
                <a:lnTo>
                  <a:pt x="459" y="81"/>
                </a:lnTo>
                <a:lnTo>
                  <a:pt x="479" y="102"/>
                </a:lnTo>
                <a:lnTo>
                  <a:pt x="543" y="136"/>
                </a:lnTo>
                <a:lnTo>
                  <a:pt x="577" y="174"/>
                </a:lnTo>
                <a:lnTo>
                  <a:pt x="565" y="222"/>
                </a:lnTo>
                <a:lnTo>
                  <a:pt x="479" y="229"/>
                </a:lnTo>
                <a:lnTo>
                  <a:pt x="460" y="262"/>
                </a:lnTo>
                <a:lnTo>
                  <a:pt x="455" y="263"/>
                </a:lnTo>
                <a:lnTo>
                  <a:pt x="453" y="265"/>
                </a:lnTo>
                <a:lnTo>
                  <a:pt x="451" y="267"/>
                </a:lnTo>
                <a:lnTo>
                  <a:pt x="449" y="270"/>
                </a:lnTo>
                <a:lnTo>
                  <a:pt x="441" y="272"/>
                </a:lnTo>
                <a:lnTo>
                  <a:pt x="438" y="273"/>
                </a:lnTo>
                <a:lnTo>
                  <a:pt x="435" y="276"/>
                </a:lnTo>
                <a:lnTo>
                  <a:pt x="432" y="280"/>
                </a:lnTo>
                <a:lnTo>
                  <a:pt x="429" y="286"/>
                </a:lnTo>
                <a:lnTo>
                  <a:pt x="428" y="291"/>
                </a:lnTo>
                <a:lnTo>
                  <a:pt x="427" y="295"/>
                </a:lnTo>
                <a:lnTo>
                  <a:pt x="425" y="299"/>
                </a:lnTo>
                <a:lnTo>
                  <a:pt x="422" y="301"/>
                </a:lnTo>
                <a:lnTo>
                  <a:pt x="411" y="306"/>
                </a:lnTo>
                <a:lnTo>
                  <a:pt x="408" y="307"/>
                </a:lnTo>
                <a:lnTo>
                  <a:pt x="404" y="311"/>
                </a:lnTo>
                <a:lnTo>
                  <a:pt x="402" y="315"/>
                </a:lnTo>
                <a:lnTo>
                  <a:pt x="394" y="334"/>
                </a:lnTo>
                <a:lnTo>
                  <a:pt x="388" y="345"/>
                </a:lnTo>
                <a:lnTo>
                  <a:pt x="385" y="348"/>
                </a:lnTo>
                <a:lnTo>
                  <a:pt x="384" y="352"/>
                </a:lnTo>
                <a:lnTo>
                  <a:pt x="386" y="355"/>
                </a:lnTo>
                <a:lnTo>
                  <a:pt x="389" y="358"/>
                </a:lnTo>
                <a:lnTo>
                  <a:pt x="401" y="363"/>
                </a:lnTo>
                <a:lnTo>
                  <a:pt x="406" y="367"/>
                </a:lnTo>
                <a:lnTo>
                  <a:pt x="409" y="372"/>
                </a:lnTo>
                <a:lnTo>
                  <a:pt x="411" y="378"/>
                </a:lnTo>
                <a:lnTo>
                  <a:pt x="413" y="383"/>
                </a:lnTo>
                <a:lnTo>
                  <a:pt x="413" y="386"/>
                </a:lnTo>
                <a:lnTo>
                  <a:pt x="410" y="389"/>
                </a:lnTo>
                <a:lnTo>
                  <a:pt x="406" y="391"/>
                </a:lnTo>
                <a:lnTo>
                  <a:pt x="398" y="394"/>
                </a:lnTo>
                <a:lnTo>
                  <a:pt x="394" y="396"/>
                </a:lnTo>
                <a:lnTo>
                  <a:pt x="390" y="399"/>
                </a:lnTo>
                <a:lnTo>
                  <a:pt x="388" y="409"/>
                </a:lnTo>
                <a:lnTo>
                  <a:pt x="386" y="415"/>
                </a:lnTo>
                <a:lnTo>
                  <a:pt x="382" y="419"/>
                </a:lnTo>
                <a:lnTo>
                  <a:pt x="375" y="422"/>
                </a:lnTo>
                <a:lnTo>
                  <a:pt x="370" y="422"/>
                </a:lnTo>
                <a:lnTo>
                  <a:pt x="365" y="420"/>
                </a:lnTo>
                <a:lnTo>
                  <a:pt x="361" y="418"/>
                </a:lnTo>
                <a:lnTo>
                  <a:pt x="359" y="416"/>
                </a:lnTo>
                <a:lnTo>
                  <a:pt x="348" y="400"/>
                </a:lnTo>
                <a:lnTo>
                  <a:pt x="336" y="396"/>
                </a:lnTo>
                <a:lnTo>
                  <a:pt x="330" y="396"/>
                </a:lnTo>
                <a:lnTo>
                  <a:pt x="319" y="403"/>
                </a:lnTo>
                <a:lnTo>
                  <a:pt x="269" y="451"/>
                </a:lnTo>
                <a:lnTo>
                  <a:pt x="261" y="457"/>
                </a:lnTo>
                <a:lnTo>
                  <a:pt x="244" y="465"/>
                </a:lnTo>
                <a:lnTo>
                  <a:pt x="235" y="472"/>
                </a:lnTo>
                <a:lnTo>
                  <a:pt x="227" y="481"/>
                </a:lnTo>
                <a:lnTo>
                  <a:pt x="219" y="489"/>
                </a:lnTo>
                <a:lnTo>
                  <a:pt x="213" y="494"/>
                </a:lnTo>
                <a:lnTo>
                  <a:pt x="204" y="496"/>
                </a:lnTo>
                <a:lnTo>
                  <a:pt x="195" y="497"/>
                </a:lnTo>
                <a:lnTo>
                  <a:pt x="187" y="495"/>
                </a:lnTo>
                <a:lnTo>
                  <a:pt x="178" y="491"/>
                </a:lnTo>
                <a:lnTo>
                  <a:pt x="172" y="487"/>
                </a:lnTo>
                <a:lnTo>
                  <a:pt x="168" y="482"/>
                </a:lnTo>
                <a:lnTo>
                  <a:pt x="167" y="476"/>
                </a:lnTo>
                <a:lnTo>
                  <a:pt x="165" y="470"/>
                </a:lnTo>
                <a:lnTo>
                  <a:pt x="167" y="463"/>
                </a:lnTo>
                <a:lnTo>
                  <a:pt x="172" y="455"/>
                </a:lnTo>
                <a:lnTo>
                  <a:pt x="175" y="447"/>
                </a:lnTo>
                <a:lnTo>
                  <a:pt x="173" y="437"/>
                </a:lnTo>
                <a:lnTo>
                  <a:pt x="169" y="426"/>
                </a:lnTo>
                <a:lnTo>
                  <a:pt x="167" y="417"/>
                </a:lnTo>
                <a:lnTo>
                  <a:pt x="170" y="410"/>
                </a:lnTo>
                <a:lnTo>
                  <a:pt x="175" y="406"/>
                </a:lnTo>
                <a:lnTo>
                  <a:pt x="178" y="402"/>
                </a:lnTo>
                <a:lnTo>
                  <a:pt x="172" y="398"/>
                </a:lnTo>
                <a:lnTo>
                  <a:pt x="156" y="396"/>
                </a:lnTo>
                <a:lnTo>
                  <a:pt x="120" y="397"/>
                </a:lnTo>
                <a:lnTo>
                  <a:pt x="105" y="395"/>
                </a:lnTo>
                <a:lnTo>
                  <a:pt x="85" y="395"/>
                </a:lnTo>
                <a:lnTo>
                  <a:pt x="97" y="380"/>
                </a:lnTo>
                <a:lnTo>
                  <a:pt x="104" y="360"/>
                </a:lnTo>
                <a:lnTo>
                  <a:pt x="105" y="355"/>
                </a:lnTo>
                <a:lnTo>
                  <a:pt x="107" y="340"/>
                </a:lnTo>
                <a:lnTo>
                  <a:pt x="128" y="307"/>
                </a:lnTo>
                <a:lnTo>
                  <a:pt x="133" y="298"/>
                </a:lnTo>
                <a:lnTo>
                  <a:pt x="135" y="287"/>
                </a:lnTo>
                <a:lnTo>
                  <a:pt x="130" y="168"/>
                </a:lnTo>
                <a:lnTo>
                  <a:pt x="131" y="157"/>
                </a:lnTo>
                <a:lnTo>
                  <a:pt x="128" y="150"/>
                </a:lnTo>
                <a:lnTo>
                  <a:pt x="122" y="148"/>
                </a:lnTo>
                <a:lnTo>
                  <a:pt x="117" y="148"/>
                </a:lnTo>
                <a:lnTo>
                  <a:pt x="107" y="149"/>
                </a:lnTo>
                <a:lnTo>
                  <a:pt x="102" y="148"/>
                </a:lnTo>
                <a:lnTo>
                  <a:pt x="78" y="141"/>
                </a:lnTo>
                <a:lnTo>
                  <a:pt x="74" y="139"/>
                </a:lnTo>
                <a:lnTo>
                  <a:pt x="57" y="123"/>
                </a:lnTo>
                <a:lnTo>
                  <a:pt x="39" y="101"/>
                </a:lnTo>
                <a:lnTo>
                  <a:pt x="35" y="97"/>
                </a:lnTo>
                <a:lnTo>
                  <a:pt x="26" y="92"/>
                </a:lnTo>
                <a:lnTo>
                  <a:pt x="21" y="86"/>
                </a:lnTo>
                <a:lnTo>
                  <a:pt x="17" y="84"/>
                </a:lnTo>
                <a:lnTo>
                  <a:pt x="12" y="83"/>
                </a:lnTo>
                <a:lnTo>
                  <a:pt x="6" y="79"/>
                </a:lnTo>
                <a:lnTo>
                  <a:pt x="3" y="71"/>
                </a:lnTo>
                <a:lnTo>
                  <a:pt x="0" y="58"/>
                </a:lnTo>
                <a:lnTo>
                  <a:pt x="1" y="50"/>
                </a:lnTo>
                <a:lnTo>
                  <a:pt x="3" y="45"/>
                </a:lnTo>
                <a:lnTo>
                  <a:pt x="8" y="40"/>
                </a:lnTo>
                <a:lnTo>
                  <a:pt x="22" y="39"/>
                </a:lnTo>
                <a:lnTo>
                  <a:pt x="36" y="43"/>
                </a:lnTo>
                <a:lnTo>
                  <a:pt x="76" y="47"/>
                </a:lnTo>
                <a:lnTo>
                  <a:pt x="96" y="53"/>
                </a:lnTo>
                <a:lnTo>
                  <a:pt x="103" y="56"/>
                </a:lnTo>
                <a:lnTo>
                  <a:pt x="109" y="59"/>
                </a:lnTo>
                <a:lnTo>
                  <a:pt x="115" y="63"/>
                </a:lnTo>
                <a:lnTo>
                  <a:pt x="116" y="63"/>
                </a:lnTo>
                <a:lnTo>
                  <a:pt x="118" y="61"/>
                </a:lnTo>
                <a:lnTo>
                  <a:pt x="121" y="59"/>
                </a:lnTo>
                <a:lnTo>
                  <a:pt x="124" y="57"/>
                </a:lnTo>
                <a:lnTo>
                  <a:pt x="125" y="53"/>
                </a:lnTo>
                <a:lnTo>
                  <a:pt x="124" y="50"/>
                </a:lnTo>
                <a:lnTo>
                  <a:pt x="121" y="49"/>
                </a:lnTo>
                <a:lnTo>
                  <a:pt x="118" y="49"/>
                </a:lnTo>
                <a:lnTo>
                  <a:pt x="116" y="50"/>
                </a:lnTo>
                <a:lnTo>
                  <a:pt x="115" y="49"/>
                </a:lnTo>
                <a:lnTo>
                  <a:pt x="113" y="48"/>
                </a:lnTo>
                <a:lnTo>
                  <a:pt x="105" y="39"/>
                </a:lnTo>
                <a:lnTo>
                  <a:pt x="104" y="34"/>
                </a:lnTo>
                <a:lnTo>
                  <a:pt x="105" y="31"/>
                </a:lnTo>
                <a:lnTo>
                  <a:pt x="117" y="27"/>
                </a:lnTo>
                <a:lnTo>
                  <a:pt x="123" y="23"/>
                </a:lnTo>
                <a:lnTo>
                  <a:pt x="141" y="19"/>
                </a:lnTo>
                <a:lnTo>
                  <a:pt x="150" y="16"/>
                </a:lnTo>
                <a:lnTo>
                  <a:pt x="160" y="6"/>
                </a:lnTo>
                <a:lnTo>
                  <a:pt x="163" y="0"/>
                </a:lnTo>
                <a:lnTo>
                  <a:pt x="200" y="26"/>
                </a:lnTo>
                <a:lnTo>
                  <a:pt x="335" y="30"/>
                </a:lnTo>
                <a:lnTo>
                  <a:pt x="339" y="8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A3EED4A3-7CE6-555A-0F94-3A5D4F18144B}"/>
              </a:ext>
            </a:extLst>
          </p:cNvPr>
          <p:cNvSpPr>
            <a:spLocks/>
          </p:cNvSpPr>
          <p:nvPr/>
        </p:nvSpPr>
        <p:spPr bwMode="auto">
          <a:xfrm>
            <a:off x="7014011" y="2320836"/>
            <a:ext cx="1214303" cy="753359"/>
          </a:xfrm>
          <a:custGeom>
            <a:avLst/>
            <a:gdLst>
              <a:gd name="T0" fmla="*/ 222 w 1025"/>
              <a:gd name="T1" fmla="*/ 20 h 672"/>
              <a:gd name="T2" fmla="*/ 254 w 1025"/>
              <a:gd name="T3" fmla="*/ 65 h 672"/>
              <a:gd name="T4" fmla="*/ 295 w 1025"/>
              <a:gd name="T5" fmla="*/ 71 h 672"/>
              <a:gd name="T6" fmla="*/ 408 w 1025"/>
              <a:gd name="T7" fmla="*/ 56 h 672"/>
              <a:gd name="T8" fmla="*/ 507 w 1025"/>
              <a:gd name="T9" fmla="*/ 67 h 672"/>
              <a:gd name="T10" fmla="*/ 600 w 1025"/>
              <a:gd name="T11" fmla="*/ 52 h 672"/>
              <a:gd name="T12" fmla="*/ 669 w 1025"/>
              <a:gd name="T13" fmla="*/ 62 h 672"/>
              <a:gd name="T14" fmla="*/ 668 w 1025"/>
              <a:gd name="T15" fmla="*/ 95 h 672"/>
              <a:gd name="T16" fmla="*/ 685 w 1025"/>
              <a:gd name="T17" fmla="*/ 90 h 672"/>
              <a:gd name="T18" fmla="*/ 720 w 1025"/>
              <a:gd name="T19" fmla="*/ 106 h 672"/>
              <a:gd name="T20" fmla="*/ 778 w 1025"/>
              <a:gd name="T21" fmla="*/ 124 h 672"/>
              <a:gd name="T22" fmla="*/ 852 w 1025"/>
              <a:gd name="T23" fmla="*/ 87 h 672"/>
              <a:gd name="T24" fmla="*/ 933 w 1025"/>
              <a:gd name="T25" fmla="*/ 135 h 672"/>
              <a:gd name="T26" fmla="*/ 935 w 1025"/>
              <a:gd name="T27" fmla="*/ 138 h 672"/>
              <a:gd name="T28" fmla="*/ 953 w 1025"/>
              <a:gd name="T29" fmla="*/ 145 h 672"/>
              <a:gd name="T30" fmla="*/ 976 w 1025"/>
              <a:gd name="T31" fmla="*/ 153 h 672"/>
              <a:gd name="T32" fmla="*/ 994 w 1025"/>
              <a:gd name="T33" fmla="*/ 159 h 672"/>
              <a:gd name="T34" fmla="*/ 1012 w 1025"/>
              <a:gd name="T35" fmla="*/ 177 h 672"/>
              <a:gd name="T36" fmla="*/ 1017 w 1025"/>
              <a:gd name="T37" fmla="*/ 190 h 672"/>
              <a:gd name="T38" fmla="*/ 961 w 1025"/>
              <a:gd name="T39" fmla="*/ 238 h 672"/>
              <a:gd name="T40" fmla="*/ 928 w 1025"/>
              <a:gd name="T41" fmla="*/ 275 h 672"/>
              <a:gd name="T42" fmla="*/ 915 w 1025"/>
              <a:gd name="T43" fmla="*/ 291 h 672"/>
              <a:gd name="T44" fmla="*/ 884 w 1025"/>
              <a:gd name="T45" fmla="*/ 302 h 672"/>
              <a:gd name="T46" fmla="*/ 871 w 1025"/>
              <a:gd name="T47" fmla="*/ 316 h 672"/>
              <a:gd name="T48" fmla="*/ 845 w 1025"/>
              <a:gd name="T49" fmla="*/ 338 h 672"/>
              <a:gd name="T50" fmla="*/ 823 w 1025"/>
              <a:gd name="T51" fmla="*/ 328 h 672"/>
              <a:gd name="T52" fmla="*/ 791 w 1025"/>
              <a:gd name="T53" fmla="*/ 341 h 672"/>
              <a:gd name="T54" fmla="*/ 783 w 1025"/>
              <a:gd name="T55" fmla="*/ 428 h 672"/>
              <a:gd name="T56" fmla="*/ 745 w 1025"/>
              <a:gd name="T57" fmla="*/ 492 h 672"/>
              <a:gd name="T58" fmla="*/ 742 w 1025"/>
              <a:gd name="T59" fmla="*/ 540 h 672"/>
              <a:gd name="T60" fmla="*/ 738 w 1025"/>
              <a:gd name="T61" fmla="*/ 570 h 672"/>
              <a:gd name="T62" fmla="*/ 705 w 1025"/>
              <a:gd name="T63" fmla="*/ 615 h 672"/>
              <a:gd name="T64" fmla="*/ 692 w 1025"/>
              <a:gd name="T65" fmla="*/ 657 h 672"/>
              <a:gd name="T66" fmla="*/ 648 w 1025"/>
              <a:gd name="T67" fmla="*/ 672 h 672"/>
              <a:gd name="T68" fmla="*/ 560 w 1025"/>
              <a:gd name="T69" fmla="*/ 618 h 672"/>
              <a:gd name="T70" fmla="*/ 518 w 1025"/>
              <a:gd name="T71" fmla="*/ 631 h 672"/>
              <a:gd name="T72" fmla="*/ 499 w 1025"/>
              <a:gd name="T73" fmla="*/ 620 h 672"/>
              <a:gd name="T74" fmla="*/ 474 w 1025"/>
              <a:gd name="T75" fmla="*/ 635 h 672"/>
              <a:gd name="T76" fmla="*/ 440 w 1025"/>
              <a:gd name="T77" fmla="*/ 654 h 672"/>
              <a:gd name="T78" fmla="*/ 427 w 1025"/>
              <a:gd name="T79" fmla="*/ 628 h 672"/>
              <a:gd name="T80" fmla="*/ 357 w 1025"/>
              <a:gd name="T81" fmla="*/ 560 h 672"/>
              <a:gd name="T82" fmla="*/ 341 w 1025"/>
              <a:gd name="T83" fmla="*/ 518 h 672"/>
              <a:gd name="T84" fmla="*/ 304 w 1025"/>
              <a:gd name="T85" fmla="*/ 454 h 672"/>
              <a:gd name="T86" fmla="*/ 402 w 1025"/>
              <a:gd name="T87" fmla="*/ 406 h 672"/>
              <a:gd name="T88" fmla="*/ 296 w 1025"/>
              <a:gd name="T89" fmla="*/ 265 h 672"/>
              <a:gd name="T90" fmla="*/ 0 w 1025"/>
              <a:gd name="T91" fmla="*/ 184 h 672"/>
              <a:gd name="T92" fmla="*/ 39 w 1025"/>
              <a:gd name="T93" fmla="*/ 102 h 672"/>
              <a:gd name="T94" fmla="*/ 33 w 1025"/>
              <a:gd name="T95" fmla="*/ 85 h 672"/>
              <a:gd name="T96" fmla="*/ 7 w 1025"/>
              <a:gd name="T97" fmla="*/ 59 h 672"/>
              <a:gd name="T98" fmla="*/ 41 w 1025"/>
              <a:gd name="T99" fmla="*/ 38 h 672"/>
              <a:gd name="T100" fmla="*/ 76 w 1025"/>
              <a:gd name="T101" fmla="*/ 16 h 672"/>
              <a:gd name="T102" fmla="*/ 129 w 1025"/>
              <a:gd name="T103" fmla="*/ 3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25" h="672">
                <a:moveTo>
                  <a:pt x="129" y="3"/>
                </a:moveTo>
                <a:lnTo>
                  <a:pt x="146" y="2"/>
                </a:lnTo>
                <a:lnTo>
                  <a:pt x="217" y="17"/>
                </a:lnTo>
                <a:lnTo>
                  <a:pt x="222" y="20"/>
                </a:lnTo>
                <a:lnTo>
                  <a:pt x="226" y="22"/>
                </a:lnTo>
                <a:lnTo>
                  <a:pt x="236" y="35"/>
                </a:lnTo>
                <a:lnTo>
                  <a:pt x="248" y="61"/>
                </a:lnTo>
                <a:lnTo>
                  <a:pt x="254" y="65"/>
                </a:lnTo>
                <a:lnTo>
                  <a:pt x="264" y="70"/>
                </a:lnTo>
                <a:lnTo>
                  <a:pt x="276" y="73"/>
                </a:lnTo>
                <a:lnTo>
                  <a:pt x="286" y="73"/>
                </a:lnTo>
                <a:lnTo>
                  <a:pt x="295" y="71"/>
                </a:lnTo>
                <a:lnTo>
                  <a:pt x="309" y="69"/>
                </a:lnTo>
                <a:lnTo>
                  <a:pt x="335" y="60"/>
                </a:lnTo>
                <a:lnTo>
                  <a:pt x="392" y="55"/>
                </a:lnTo>
                <a:lnTo>
                  <a:pt x="408" y="56"/>
                </a:lnTo>
                <a:lnTo>
                  <a:pt x="477" y="70"/>
                </a:lnTo>
                <a:lnTo>
                  <a:pt x="491" y="71"/>
                </a:lnTo>
                <a:lnTo>
                  <a:pt x="499" y="69"/>
                </a:lnTo>
                <a:lnTo>
                  <a:pt x="507" y="67"/>
                </a:lnTo>
                <a:lnTo>
                  <a:pt x="542" y="62"/>
                </a:lnTo>
                <a:lnTo>
                  <a:pt x="556" y="58"/>
                </a:lnTo>
                <a:lnTo>
                  <a:pt x="565" y="59"/>
                </a:lnTo>
                <a:lnTo>
                  <a:pt x="600" y="52"/>
                </a:lnTo>
                <a:lnTo>
                  <a:pt x="636" y="50"/>
                </a:lnTo>
                <a:lnTo>
                  <a:pt x="654" y="52"/>
                </a:lnTo>
                <a:lnTo>
                  <a:pt x="665" y="57"/>
                </a:lnTo>
                <a:lnTo>
                  <a:pt x="669" y="62"/>
                </a:lnTo>
                <a:lnTo>
                  <a:pt x="672" y="69"/>
                </a:lnTo>
                <a:lnTo>
                  <a:pt x="673" y="76"/>
                </a:lnTo>
                <a:lnTo>
                  <a:pt x="672" y="83"/>
                </a:lnTo>
                <a:lnTo>
                  <a:pt x="668" y="95"/>
                </a:lnTo>
                <a:lnTo>
                  <a:pt x="667" y="99"/>
                </a:lnTo>
                <a:lnTo>
                  <a:pt x="668" y="103"/>
                </a:lnTo>
                <a:lnTo>
                  <a:pt x="673" y="101"/>
                </a:lnTo>
                <a:lnTo>
                  <a:pt x="685" y="90"/>
                </a:lnTo>
                <a:lnTo>
                  <a:pt x="692" y="87"/>
                </a:lnTo>
                <a:lnTo>
                  <a:pt x="699" y="88"/>
                </a:lnTo>
                <a:lnTo>
                  <a:pt x="706" y="94"/>
                </a:lnTo>
                <a:lnTo>
                  <a:pt x="720" y="106"/>
                </a:lnTo>
                <a:lnTo>
                  <a:pt x="731" y="113"/>
                </a:lnTo>
                <a:lnTo>
                  <a:pt x="743" y="120"/>
                </a:lnTo>
                <a:lnTo>
                  <a:pt x="761" y="125"/>
                </a:lnTo>
                <a:lnTo>
                  <a:pt x="778" y="124"/>
                </a:lnTo>
                <a:lnTo>
                  <a:pt x="796" y="121"/>
                </a:lnTo>
                <a:lnTo>
                  <a:pt x="825" y="107"/>
                </a:lnTo>
                <a:lnTo>
                  <a:pt x="837" y="99"/>
                </a:lnTo>
                <a:lnTo>
                  <a:pt x="852" y="87"/>
                </a:lnTo>
                <a:lnTo>
                  <a:pt x="861" y="82"/>
                </a:lnTo>
                <a:lnTo>
                  <a:pt x="873" y="83"/>
                </a:lnTo>
                <a:lnTo>
                  <a:pt x="950" y="107"/>
                </a:lnTo>
                <a:lnTo>
                  <a:pt x="933" y="135"/>
                </a:lnTo>
                <a:lnTo>
                  <a:pt x="933" y="135"/>
                </a:lnTo>
                <a:lnTo>
                  <a:pt x="933" y="136"/>
                </a:lnTo>
                <a:lnTo>
                  <a:pt x="933" y="137"/>
                </a:lnTo>
                <a:lnTo>
                  <a:pt x="935" y="138"/>
                </a:lnTo>
                <a:lnTo>
                  <a:pt x="937" y="139"/>
                </a:lnTo>
                <a:lnTo>
                  <a:pt x="945" y="141"/>
                </a:lnTo>
                <a:lnTo>
                  <a:pt x="952" y="145"/>
                </a:lnTo>
                <a:lnTo>
                  <a:pt x="953" y="145"/>
                </a:lnTo>
                <a:lnTo>
                  <a:pt x="954" y="145"/>
                </a:lnTo>
                <a:lnTo>
                  <a:pt x="958" y="145"/>
                </a:lnTo>
                <a:lnTo>
                  <a:pt x="959" y="145"/>
                </a:lnTo>
                <a:lnTo>
                  <a:pt x="976" y="153"/>
                </a:lnTo>
                <a:lnTo>
                  <a:pt x="986" y="156"/>
                </a:lnTo>
                <a:lnTo>
                  <a:pt x="989" y="158"/>
                </a:lnTo>
                <a:lnTo>
                  <a:pt x="991" y="158"/>
                </a:lnTo>
                <a:lnTo>
                  <a:pt x="994" y="159"/>
                </a:lnTo>
                <a:lnTo>
                  <a:pt x="1004" y="165"/>
                </a:lnTo>
                <a:lnTo>
                  <a:pt x="1007" y="168"/>
                </a:lnTo>
                <a:lnTo>
                  <a:pt x="1010" y="172"/>
                </a:lnTo>
                <a:lnTo>
                  <a:pt x="1012" y="177"/>
                </a:lnTo>
                <a:lnTo>
                  <a:pt x="1013" y="185"/>
                </a:lnTo>
                <a:lnTo>
                  <a:pt x="1013" y="187"/>
                </a:lnTo>
                <a:lnTo>
                  <a:pt x="1014" y="188"/>
                </a:lnTo>
                <a:lnTo>
                  <a:pt x="1017" y="190"/>
                </a:lnTo>
                <a:lnTo>
                  <a:pt x="1025" y="193"/>
                </a:lnTo>
                <a:lnTo>
                  <a:pt x="1017" y="208"/>
                </a:lnTo>
                <a:lnTo>
                  <a:pt x="1008" y="214"/>
                </a:lnTo>
                <a:lnTo>
                  <a:pt x="961" y="238"/>
                </a:lnTo>
                <a:lnTo>
                  <a:pt x="937" y="246"/>
                </a:lnTo>
                <a:lnTo>
                  <a:pt x="933" y="251"/>
                </a:lnTo>
                <a:lnTo>
                  <a:pt x="929" y="257"/>
                </a:lnTo>
                <a:lnTo>
                  <a:pt x="928" y="275"/>
                </a:lnTo>
                <a:lnTo>
                  <a:pt x="926" y="282"/>
                </a:lnTo>
                <a:lnTo>
                  <a:pt x="923" y="285"/>
                </a:lnTo>
                <a:lnTo>
                  <a:pt x="919" y="286"/>
                </a:lnTo>
                <a:lnTo>
                  <a:pt x="915" y="291"/>
                </a:lnTo>
                <a:lnTo>
                  <a:pt x="908" y="303"/>
                </a:lnTo>
                <a:lnTo>
                  <a:pt x="904" y="306"/>
                </a:lnTo>
                <a:lnTo>
                  <a:pt x="898" y="306"/>
                </a:lnTo>
                <a:lnTo>
                  <a:pt x="884" y="302"/>
                </a:lnTo>
                <a:lnTo>
                  <a:pt x="877" y="302"/>
                </a:lnTo>
                <a:lnTo>
                  <a:pt x="875" y="304"/>
                </a:lnTo>
                <a:lnTo>
                  <a:pt x="873" y="308"/>
                </a:lnTo>
                <a:lnTo>
                  <a:pt x="871" y="316"/>
                </a:lnTo>
                <a:lnTo>
                  <a:pt x="863" y="329"/>
                </a:lnTo>
                <a:lnTo>
                  <a:pt x="858" y="334"/>
                </a:lnTo>
                <a:lnTo>
                  <a:pt x="849" y="337"/>
                </a:lnTo>
                <a:lnTo>
                  <a:pt x="845" y="338"/>
                </a:lnTo>
                <a:lnTo>
                  <a:pt x="841" y="336"/>
                </a:lnTo>
                <a:lnTo>
                  <a:pt x="833" y="330"/>
                </a:lnTo>
                <a:lnTo>
                  <a:pt x="829" y="328"/>
                </a:lnTo>
                <a:lnTo>
                  <a:pt x="823" y="328"/>
                </a:lnTo>
                <a:lnTo>
                  <a:pt x="807" y="333"/>
                </a:lnTo>
                <a:lnTo>
                  <a:pt x="802" y="334"/>
                </a:lnTo>
                <a:lnTo>
                  <a:pt x="794" y="335"/>
                </a:lnTo>
                <a:lnTo>
                  <a:pt x="791" y="341"/>
                </a:lnTo>
                <a:lnTo>
                  <a:pt x="789" y="345"/>
                </a:lnTo>
                <a:lnTo>
                  <a:pt x="790" y="353"/>
                </a:lnTo>
                <a:lnTo>
                  <a:pt x="787" y="413"/>
                </a:lnTo>
                <a:lnTo>
                  <a:pt x="783" y="428"/>
                </a:lnTo>
                <a:lnTo>
                  <a:pt x="774" y="445"/>
                </a:lnTo>
                <a:lnTo>
                  <a:pt x="756" y="470"/>
                </a:lnTo>
                <a:lnTo>
                  <a:pt x="748" y="483"/>
                </a:lnTo>
                <a:lnTo>
                  <a:pt x="745" y="492"/>
                </a:lnTo>
                <a:lnTo>
                  <a:pt x="755" y="511"/>
                </a:lnTo>
                <a:lnTo>
                  <a:pt x="754" y="517"/>
                </a:lnTo>
                <a:lnTo>
                  <a:pt x="751" y="526"/>
                </a:lnTo>
                <a:lnTo>
                  <a:pt x="742" y="540"/>
                </a:lnTo>
                <a:lnTo>
                  <a:pt x="740" y="548"/>
                </a:lnTo>
                <a:lnTo>
                  <a:pt x="738" y="554"/>
                </a:lnTo>
                <a:lnTo>
                  <a:pt x="739" y="562"/>
                </a:lnTo>
                <a:lnTo>
                  <a:pt x="738" y="570"/>
                </a:lnTo>
                <a:lnTo>
                  <a:pt x="731" y="583"/>
                </a:lnTo>
                <a:lnTo>
                  <a:pt x="724" y="594"/>
                </a:lnTo>
                <a:lnTo>
                  <a:pt x="712" y="606"/>
                </a:lnTo>
                <a:lnTo>
                  <a:pt x="705" y="615"/>
                </a:lnTo>
                <a:lnTo>
                  <a:pt x="701" y="625"/>
                </a:lnTo>
                <a:lnTo>
                  <a:pt x="699" y="642"/>
                </a:lnTo>
                <a:lnTo>
                  <a:pt x="696" y="652"/>
                </a:lnTo>
                <a:lnTo>
                  <a:pt x="692" y="657"/>
                </a:lnTo>
                <a:lnTo>
                  <a:pt x="687" y="660"/>
                </a:lnTo>
                <a:lnTo>
                  <a:pt x="669" y="664"/>
                </a:lnTo>
                <a:lnTo>
                  <a:pt x="662" y="666"/>
                </a:lnTo>
                <a:lnTo>
                  <a:pt x="648" y="672"/>
                </a:lnTo>
                <a:lnTo>
                  <a:pt x="603" y="627"/>
                </a:lnTo>
                <a:lnTo>
                  <a:pt x="585" y="619"/>
                </a:lnTo>
                <a:lnTo>
                  <a:pt x="576" y="620"/>
                </a:lnTo>
                <a:lnTo>
                  <a:pt x="560" y="618"/>
                </a:lnTo>
                <a:lnTo>
                  <a:pt x="550" y="617"/>
                </a:lnTo>
                <a:lnTo>
                  <a:pt x="544" y="618"/>
                </a:lnTo>
                <a:lnTo>
                  <a:pt x="526" y="628"/>
                </a:lnTo>
                <a:lnTo>
                  <a:pt x="518" y="631"/>
                </a:lnTo>
                <a:lnTo>
                  <a:pt x="514" y="629"/>
                </a:lnTo>
                <a:lnTo>
                  <a:pt x="511" y="625"/>
                </a:lnTo>
                <a:lnTo>
                  <a:pt x="506" y="620"/>
                </a:lnTo>
                <a:lnTo>
                  <a:pt x="499" y="620"/>
                </a:lnTo>
                <a:lnTo>
                  <a:pt x="492" y="625"/>
                </a:lnTo>
                <a:lnTo>
                  <a:pt x="484" y="630"/>
                </a:lnTo>
                <a:lnTo>
                  <a:pt x="480" y="633"/>
                </a:lnTo>
                <a:lnTo>
                  <a:pt x="474" y="635"/>
                </a:lnTo>
                <a:lnTo>
                  <a:pt x="470" y="636"/>
                </a:lnTo>
                <a:lnTo>
                  <a:pt x="464" y="640"/>
                </a:lnTo>
                <a:lnTo>
                  <a:pt x="446" y="652"/>
                </a:lnTo>
                <a:lnTo>
                  <a:pt x="440" y="654"/>
                </a:lnTo>
                <a:lnTo>
                  <a:pt x="435" y="652"/>
                </a:lnTo>
                <a:lnTo>
                  <a:pt x="431" y="645"/>
                </a:lnTo>
                <a:lnTo>
                  <a:pt x="428" y="639"/>
                </a:lnTo>
                <a:lnTo>
                  <a:pt x="427" y="628"/>
                </a:lnTo>
                <a:lnTo>
                  <a:pt x="421" y="614"/>
                </a:lnTo>
                <a:lnTo>
                  <a:pt x="409" y="597"/>
                </a:lnTo>
                <a:lnTo>
                  <a:pt x="367" y="567"/>
                </a:lnTo>
                <a:lnTo>
                  <a:pt x="357" y="560"/>
                </a:lnTo>
                <a:lnTo>
                  <a:pt x="355" y="552"/>
                </a:lnTo>
                <a:lnTo>
                  <a:pt x="351" y="536"/>
                </a:lnTo>
                <a:lnTo>
                  <a:pt x="349" y="530"/>
                </a:lnTo>
                <a:lnTo>
                  <a:pt x="341" y="518"/>
                </a:lnTo>
                <a:lnTo>
                  <a:pt x="331" y="499"/>
                </a:lnTo>
                <a:lnTo>
                  <a:pt x="306" y="466"/>
                </a:lnTo>
                <a:lnTo>
                  <a:pt x="304" y="462"/>
                </a:lnTo>
                <a:lnTo>
                  <a:pt x="304" y="454"/>
                </a:lnTo>
                <a:lnTo>
                  <a:pt x="302" y="450"/>
                </a:lnTo>
                <a:lnTo>
                  <a:pt x="297" y="446"/>
                </a:lnTo>
                <a:lnTo>
                  <a:pt x="316" y="413"/>
                </a:lnTo>
                <a:lnTo>
                  <a:pt x="402" y="406"/>
                </a:lnTo>
                <a:lnTo>
                  <a:pt x="414" y="358"/>
                </a:lnTo>
                <a:lnTo>
                  <a:pt x="380" y="320"/>
                </a:lnTo>
                <a:lnTo>
                  <a:pt x="316" y="286"/>
                </a:lnTo>
                <a:lnTo>
                  <a:pt x="296" y="265"/>
                </a:lnTo>
                <a:lnTo>
                  <a:pt x="176" y="269"/>
                </a:lnTo>
                <a:lnTo>
                  <a:pt x="172" y="214"/>
                </a:lnTo>
                <a:lnTo>
                  <a:pt x="37" y="210"/>
                </a:lnTo>
                <a:lnTo>
                  <a:pt x="0" y="184"/>
                </a:lnTo>
                <a:lnTo>
                  <a:pt x="13" y="150"/>
                </a:lnTo>
                <a:lnTo>
                  <a:pt x="22" y="135"/>
                </a:lnTo>
                <a:lnTo>
                  <a:pt x="30" y="114"/>
                </a:lnTo>
                <a:lnTo>
                  <a:pt x="39" y="102"/>
                </a:lnTo>
                <a:lnTo>
                  <a:pt x="40" y="98"/>
                </a:lnTo>
                <a:lnTo>
                  <a:pt x="40" y="95"/>
                </a:lnTo>
                <a:lnTo>
                  <a:pt x="38" y="90"/>
                </a:lnTo>
                <a:lnTo>
                  <a:pt x="33" y="85"/>
                </a:lnTo>
                <a:lnTo>
                  <a:pt x="27" y="80"/>
                </a:lnTo>
                <a:lnTo>
                  <a:pt x="10" y="68"/>
                </a:lnTo>
                <a:lnTo>
                  <a:pt x="9" y="64"/>
                </a:lnTo>
                <a:lnTo>
                  <a:pt x="7" y="59"/>
                </a:lnTo>
                <a:lnTo>
                  <a:pt x="12" y="55"/>
                </a:lnTo>
                <a:lnTo>
                  <a:pt x="18" y="50"/>
                </a:lnTo>
                <a:lnTo>
                  <a:pt x="31" y="44"/>
                </a:lnTo>
                <a:lnTo>
                  <a:pt x="41" y="38"/>
                </a:lnTo>
                <a:lnTo>
                  <a:pt x="55" y="26"/>
                </a:lnTo>
                <a:lnTo>
                  <a:pt x="61" y="23"/>
                </a:lnTo>
                <a:lnTo>
                  <a:pt x="69" y="19"/>
                </a:lnTo>
                <a:lnTo>
                  <a:pt x="76" y="16"/>
                </a:lnTo>
                <a:lnTo>
                  <a:pt x="95" y="3"/>
                </a:lnTo>
                <a:lnTo>
                  <a:pt x="103" y="2"/>
                </a:lnTo>
                <a:lnTo>
                  <a:pt x="113" y="0"/>
                </a:lnTo>
                <a:lnTo>
                  <a:pt x="129" y="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76064D67-541B-D82C-E2E3-987833275CE3}"/>
              </a:ext>
            </a:extLst>
          </p:cNvPr>
          <p:cNvSpPr>
            <a:spLocks/>
          </p:cNvSpPr>
          <p:nvPr/>
        </p:nvSpPr>
        <p:spPr bwMode="auto">
          <a:xfrm>
            <a:off x="7958206" y="3319709"/>
            <a:ext cx="2056614" cy="1177122"/>
          </a:xfrm>
          <a:custGeom>
            <a:avLst/>
            <a:gdLst>
              <a:gd name="T0" fmla="*/ 896 w 1736"/>
              <a:gd name="T1" fmla="*/ 71 h 1050"/>
              <a:gd name="T2" fmla="*/ 940 w 1736"/>
              <a:gd name="T3" fmla="*/ 60 h 1050"/>
              <a:gd name="T4" fmla="*/ 1003 w 1736"/>
              <a:gd name="T5" fmla="*/ 46 h 1050"/>
              <a:gd name="T6" fmla="*/ 1040 w 1736"/>
              <a:gd name="T7" fmla="*/ 29 h 1050"/>
              <a:gd name="T8" fmla="*/ 1107 w 1736"/>
              <a:gd name="T9" fmla="*/ 41 h 1050"/>
              <a:gd name="T10" fmla="*/ 1113 w 1736"/>
              <a:gd name="T11" fmla="*/ 119 h 1050"/>
              <a:gd name="T12" fmla="*/ 1136 w 1736"/>
              <a:gd name="T13" fmla="*/ 146 h 1050"/>
              <a:gd name="T14" fmla="*/ 1153 w 1736"/>
              <a:gd name="T15" fmla="*/ 158 h 1050"/>
              <a:gd name="T16" fmla="*/ 1165 w 1736"/>
              <a:gd name="T17" fmla="*/ 166 h 1050"/>
              <a:gd name="T18" fmla="*/ 1195 w 1736"/>
              <a:gd name="T19" fmla="*/ 166 h 1050"/>
              <a:gd name="T20" fmla="*/ 1217 w 1736"/>
              <a:gd name="T21" fmla="*/ 176 h 1050"/>
              <a:gd name="T22" fmla="*/ 1245 w 1736"/>
              <a:gd name="T23" fmla="*/ 191 h 1050"/>
              <a:gd name="T24" fmla="*/ 1268 w 1736"/>
              <a:gd name="T25" fmla="*/ 199 h 1050"/>
              <a:gd name="T26" fmla="*/ 1281 w 1736"/>
              <a:gd name="T27" fmla="*/ 189 h 1050"/>
              <a:gd name="T28" fmla="*/ 1295 w 1736"/>
              <a:gd name="T29" fmla="*/ 185 h 1050"/>
              <a:gd name="T30" fmla="*/ 1313 w 1736"/>
              <a:gd name="T31" fmla="*/ 183 h 1050"/>
              <a:gd name="T32" fmla="*/ 1344 w 1736"/>
              <a:gd name="T33" fmla="*/ 189 h 1050"/>
              <a:gd name="T34" fmla="*/ 1364 w 1736"/>
              <a:gd name="T35" fmla="*/ 178 h 1050"/>
              <a:gd name="T36" fmla="*/ 1373 w 1736"/>
              <a:gd name="T37" fmla="*/ 179 h 1050"/>
              <a:gd name="T38" fmla="*/ 1406 w 1736"/>
              <a:gd name="T39" fmla="*/ 181 h 1050"/>
              <a:gd name="T40" fmla="*/ 1416 w 1736"/>
              <a:gd name="T41" fmla="*/ 190 h 1050"/>
              <a:gd name="T42" fmla="*/ 1428 w 1736"/>
              <a:gd name="T43" fmla="*/ 193 h 1050"/>
              <a:gd name="T44" fmla="*/ 1463 w 1736"/>
              <a:gd name="T45" fmla="*/ 212 h 1050"/>
              <a:gd name="T46" fmla="*/ 1512 w 1736"/>
              <a:gd name="T47" fmla="*/ 225 h 1050"/>
              <a:gd name="T48" fmla="*/ 1525 w 1736"/>
              <a:gd name="T49" fmla="*/ 215 h 1050"/>
              <a:gd name="T50" fmla="*/ 1534 w 1736"/>
              <a:gd name="T51" fmla="*/ 219 h 1050"/>
              <a:gd name="T52" fmla="*/ 1566 w 1736"/>
              <a:gd name="T53" fmla="*/ 247 h 1050"/>
              <a:gd name="T54" fmla="*/ 1585 w 1736"/>
              <a:gd name="T55" fmla="*/ 253 h 1050"/>
              <a:gd name="T56" fmla="*/ 1621 w 1736"/>
              <a:gd name="T57" fmla="*/ 262 h 1050"/>
              <a:gd name="T58" fmla="*/ 1642 w 1736"/>
              <a:gd name="T59" fmla="*/ 296 h 1050"/>
              <a:gd name="T60" fmla="*/ 1657 w 1736"/>
              <a:gd name="T61" fmla="*/ 296 h 1050"/>
              <a:gd name="T62" fmla="*/ 1696 w 1736"/>
              <a:gd name="T63" fmla="*/ 314 h 1050"/>
              <a:gd name="T64" fmla="*/ 1725 w 1736"/>
              <a:gd name="T65" fmla="*/ 332 h 1050"/>
              <a:gd name="T66" fmla="*/ 1661 w 1736"/>
              <a:gd name="T67" fmla="*/ 438 h 1050"/>
              <a:gd name="T68" fmla="*/ 1461 w 1736"/>
              <a:gd name="T69" fmla="*/ 671 h 1050"/>
              <a:gd name="T70" fmla="*/ 1234 w 1736"/>
              <a:gd name="T71" fmla="*/ 871 h 1050"/>
              <a:gd name="T72" fmla="*/ 1007 w 1736"/>
              <a:gd name="T73" fmla="*/ 1041 h 1050"/>
              <a:gd name="T74" fmla="*/ 918 w 1736"/>
              <a:gd name="T75" fmla="*/ 1031 h 1050"/>
              <a:gd name="T76" fmla="*/ 813 w 1736"/>
              <a:gd name="T77" fmla="*/ 1016 h 1050"/>
              <a:gd name="T78" fmla="*/ 758 w 1736"/>
              <a:gd name="T79" fmla="*/ 946 h 1050"/>
              <a:gd name="T80" fmla="*/ 694 w 1736"/>
              <a:gd name="T81" fmla="*/ 869 h 1050"/>
              <a:gd name="T82" fmla="*/ 301 w 1736"/>
              <a:gd name="T83" fmla="*/ 670 h 1050"/>
              <a:gd name="T84" fmla="*/ 242 w 1736"/>
              <a:gd name="T85" fmla="*/ 619 h 1050"/>
              <a:gd name="T86" fmla="*/ 207 w 1736"/>
              <a:gd name="T87" fmla="*/ 548 h 1050"/>
              <a:gd name="T88" fmla="*/ 174 w 1736"/>
              <a:gd name="T89" fmla="*/ 440 h 1050"/>
              <a:gd name="T90" fmla="*/ 96 w 1736"/>
              <a:gd name="T91" fmla="*/ 417 h 1050"/>
              <a:gd name="T92" fmla="*/ 29 w 1736"/>
              <a:gd name="T93" fmla="*/ 298 h 1050"/>
              <a:gd name="T94" fmla="*/ 38 w 1736"/>
              <a:gd name="T95" fmla="*/ 150 h 1050"/>
              <a:gd name="T96" fmla="*/ 172 w 1736"/>
              <a:gd name="T97" fmla="*/ 147 h 1050"/>
              <a:gd name="T98" fmla="*/ 198 w 1736"/>
              <a:gd name="T99" fmla="*/ 136 h 1050"/>
              <a:gd name="T100" fmla="*/ 271 w 1736"/>
              <a:gd name="T101" fmla="*/ 116 h 1050"/>
              <a:gd name="T102" fmla="*/ 330 w 1736"/>
              <a:gd name="T103" fmla="*/ 93 h 1050"/>
              <a:gd name="T104" fmla="*/ 378 w 1736"/>
              <a:gd name="T105" fmla="*/ 89 h 1050"/>
              <a:gd name="T106" fmla="*/ 517 w 1736"/>
              <a:gd name="T107" fmla="*/ 49 h 1050"/>
              <a:gd name="T108" fmla="*/ 639 w 1736"/>
              <a:gd name="T109" fmla="*/ 8 h 1050"/>
              <a:gd name="T110" fmla="*/ 743 w 1736"/>
              <a:gd name="T111" fmla="*/ 49 h 1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36" h="1050">
                <a:moveTo>
                  <a:pt x="875" y="99"/>
                </a:moveTo>
                <a:lnTo>
                  <a:pt x="886" y="98"/>
                </a:lnTo>
                <a:lnTo>
                  <a:pt x="891" y="92"/>
                </a:lnTo>
                <a:lnTo>
                  <a:pt x="892" y="86"/>
                </a:lnTo>
                <a:lnTo>
                  <a:pt x="894" y="78"/>
                </a:lnTo>
                <a:lnTo>
                  <a:pt x="896" y="71"/>
                </a:lnTo>
                <a:lnTo>
                  <a:pt x="899" y="65"/>
                </a:lnTo>
                <a:lnTo>
                  <a:pt x="912" y="53"/>
                </a:lnTo>
                <a:lnTo>
                  <a:pt x="917" y="52"/>
                </a:lnTo>
                <a:lnTo>
                  <a:pt x="922" y="53"/>
                </a:lnTo>
                <a:lnTo>
                  <a:pt x="930" y="58"/>
                </a:lnTo>
                <a:lnTo>
                  <a:pt x="940" y="60"/>
                </a:lnTo>
                <a:lnTo>
                  <a:pt x="946" y="59"/>
                </a:lnTo>
                <a:lnTo>
                  <a:pt x="955" y="53"/>
                </a:lnTo>
                <a:lnTo>
                  <a:pt x="960" y="52"/>
                </a:lnTo>
                <a:lnTo>
                  <a:pt x="976" y="52"/>
                </a:lnTo>
                <a:lnTo>
                  <a:pt x="989" y="50"/>
                </a:lnTo>
                <a:lnTo>
                  <a:pt x="1003" y="46"/>
                </a:lnTo>
                <a:lnTo>
                  <a:pt x="1010" y="45"/>
                </a:lnTo>
                <a:lnTo>
                  <a:pt x="1015" y="43"/>
                </a:lnTo>
                <a:lnTo>
                  <a:pt x="1020" y="40"/>
                </a:lnTo>
                <a:lnTo>
                  <a:pt x="1024" y="33"/>
                </a:lnTo>
                <a:lnTo>
                  <a:pt x="1027" y="32"/>
                </a:lnTo>
                <a:lnTo>
                  <a:pt x="1040" y="29"/>
                </a:lnTo>
                <a:lnTo>
                  <a:pt x="1057" y="24"/>
                </a:lnTo>
                <a:lnTo>
                  <a:pt x="1066" y="23"/>
                </a:lnTo>
                <a:lnTo>
                  <a:pt x="1078" y="24"/>
                </a:lnTo>
                <a:lnTo>
                  <a:pt x="1090" y="27"/>
                </a:lnTo>
                <a:lnTo>
                  <a:pt x="1099" y="32"/>
                </a:lnTo>
                <a:lnTo>
                  <a:pt x="1107" y="41"/>
                </a:lnTo>
                <a:lnTo>
                  <a:pt x="1111" y="50"/>
                </a:lnTo>
                <a:lnTo>
                  <a:pt x="1110" y="60"/>
                </a:lnTo>
                <a:lnTo>
                  <a:pt x="1107" y="68"/>
                </a:lnTo>
                <a:lnTo>
                  <a:pt x="1107" y="94"/>
                </a:lnTo>
                <a:lnTo>
                  <a:pt x="1110" y="108"/>
                </a:lnTo>
                <a:lnTo>
                  <a:pt x="1113" y="119"/>
                </a:lnTo>
                <a:lnTo>
                  <a:pt x="1118" y="126"/>
                </a:lnTo>
                <a:lnTo>
                  <a:pt x="1122" y="131"/>
                </a:lnTo>
                <a:lnTo>
                  <a:pt x="1125" y="136"/>
                </a:lnTo>
                <a:lnTo>
                  <a:pt x="1131" y="140"/>
                </a:lnTo>
                <a:lnTo>
                  <a:pt x="1135" y="143"/>
                </a:lnTo>
                <a:lnTo>
                  <a:pt x="1136" y="146"/>
                </a:lnTo>
                <a:lnTo>
                  <a:pt x="1137" y="151"/>
                </a:lnTo>
                <a:lnTo>
                  <a:pt x="1137" y="154"/>
                </a:lnTo>
                <a:lnTo>
                  <a:pt x="1141" y="159"/>
                </a:lnTo>
                <a:lnTo>
                  <a:pt x="1144" y="162"/>
                </a:lnTo>
                <a:lnTo>
                  <a:pt x="1150" y="160"/>
                </a:lnTo>
                <a:lnTo>
                  <a:pt x="1153" y="158"/>
                </a:lnTo>
                <a:lnTo>
                  <a:pt x="1155" y="158"/>
                </a:lnTo>
                <a:lnTo>
                  <a:pt x="1155" y="160"/>
                </a:lnTo>
                <a:lnTo>
                  <a:pt x="1155" y="163"/>
                </a:lnTo>
                <a:lnTo>
                  <a:pt x="1155" y="165"/>
                </a:lnTo>
                <a:lnTo>
                  <a:pt x="1157" y="167"/>
                </a:lnTo>
                <a:lnTo>
                  <a:pt x="1165" y="166"/>
                </a:lnTo>
                <a:lnTo>
                  <a:pt x="1171" y="167"/>
                </a:lnTo>
                <a:lnTo>
                  <a:pt x="1179" y="166"/>
                </a:lnTo>
                <a:lnTo>
                  <a:pt x="1183" y="164"/>
                </a:lnTo>
                <a:lnTo>
                  <a:pt x="1188" y="163"/>
                </a:lnTo>
                <a:lnTo>
                  <a:pt x="1192" y="163"/>
                </a:lnTo>
                <a:lnTo>
                  <a:pt x="1195" y="166"/>
                </a:lnTo>
                <a:lnTo>
                  <a:pt x="1201" y="168"/>
                </a:lnTo>
                <a:lnTo>
                  <a:pt x="1205" y="169"/>
                </a:lnTo>
                <a:lnTo>
                  <a:pt x="1209" y="168"/>
                </a:lnTo>
                <a:lnTo>
                  <a:pt x="1213" y="169"/>
                </a:lnTo>
                <a:lnTo>
                  <a:pt x="1214" y="171"/>
                </a:lnTo>
                <a:lnTo>
                  <a:pt x="1217" y="176"/>
                </a:lnTo>
                <a:lnTo>
                  <a:pt x="1217" y="178"/>
                </a:lnTo>
                <a:lnTo>
                  <a:pt x="1216" y="180"/>
                </a:lnTo>
                <a:lnTo>
                  <a:pt x="1215" y="182"/>
                </a:lnTo>
                <a:lnTo>
                  <a:pt x="1219" y="184"/>
                </a:lnTo>
                <a:lnTo>
                  <a:pt x="1229" y="186"/>
                </a:lnTo>
                <a:lnTo>
                  <a:pt x="1245" y="191"/>
                </a:lnTo>
                <a:lnTo>
                  <a:pt x="1256" y="192"/>
                </a:lnTo>
                <a:lnTo>
                  <a:pt x="1261" y="194"/>
                </a:lnTo>
                <a:lnTo>
                  <a:pt x="1263" y="196"/>
                </a:lnTo>
                <a:lnTo>
                  <a:pt x="1263" y="201"/>
                </a:lnTo>
                <a:lnTo>
                  <a:pt x="1265" y="202"/>
                </a:lnTo>
                <a:lnTo>
                  <a:pt x="1268" y="199"/>
                </a:lnTo>
                <a:lnTo>
                  <a:pt x="1269" y="197"/>
                </a:lnTo>
                <a:lnTo>
                  <a:pt x="1271" y="194"/>
                </a:lnTo>
                <a:lnTo>
                  <a:pt x="1275" y="192"/>
                </a:lnTo>
                <a:lnTo>
                  <a:pt x="1278" y="190"/>
                </a:lnTo>
                <a:lnTo>
                  <a:pt x="1279" y="190"/>
                </a:lnTo>
                <a:lnTo>
                  <a:pt x="1281" y="189"/>
                </a:lnTo>
                <a:lnTo>
                  <a:pt x="1284" y="190"/>
                </a:lnTo>
                <a:lnTo>
                  <a:pt x="1286" y="188"/>
                </a:lnTo>
                <a:lnTo>
                  <a:pt x="1288" y="184"/>
                </a:lnTo>
                <a:lnTo>
                  <a:pt x="1291" y="182"/>
                </a:lnTo>
                <a:lnTo>
                  <a:pt x="1293" y="182"/>
                </a:lnTo>
                <a:lnTo>
                  <a:pt x="1295" y="185"/>
                </a:lnTo>
                <a:lnTo>
                  <a:pt x="1296" y="188"/>
                </a:lnTo>
                <a:lnTo>
                  <a:pt x="1299" y="189"/>
                </a:lnTo>
                <a:lnTo>
                  <a:pt x="1302" y="186"/>
                </a:lnTo>
                <a:lnTo>
                  <a:pt x="1306" y="184"/>
                </a:lnTo>
                <a:lnTo>
                  <a:pt x="1310" y="183"/>
                </a:lnTo>
                <a:lnTo>
                  <a:pt x="1313" y="183"/>
                </a:lnTo>
                <a:lnTo>
                  <a:pt x="1319" y="186"/>
                </a:lnTo>
                <a:lnTo>
                  <a:pt x="1331" y="185"/>
                </a:lnTo>
                <a:lnTo>
                  <a:pt x="1334" y="184"/>
                </a:lnTo>
                <a:lnTo>
                  <a:pt x="1337" y="188"/>
                </a:lnTo>
                <a:lnTo>
                  <a:pt x="1339" y="189"/>
                </a:lnTo>
                <a:lnTo>
                  <a:pt x="1344" y="189"/>
                </a:lnTo>
                <a:lnTo>
                  <a:pt x="1347" y="189"/>
                </a:lnTo>
                <a:lnTo>
                  <a:pt x="1351" y="190"/>
                </a:lnTo>
                <a:lnTo>
                  <a:pt x="1353" y="189"/>
                </a:lnTo>
                <a:lnTo>
                  <a:pt x="1356" y="186"/>
                </a:lnTo>
                <a:lnTo>
                  <a:pt x="1358" y="184"/>
                </a:lnTo>
                <a:lnTo>
                  <a:pt x="1364" y="178"/>
                </a:lnTo>
                <a:lnTo>
                  <a:pt x="1366" y="176"/>
                </a:lnTo>
                <a:lnTo>
                  <a:pt x="1369" y="176"/>
                </a:lnTo>
                <a:lnTo>
                  <a:pt x="1370" y="177"/>
                </a:lnTo>
                <a:lnTo>
                  <a:pt x="1371" y="179"/>
                </a:lnTo>
                <a:lnTo>
                  <a:pt x="1372" y="180"/>
                </a:lnTo>
                <a:lnTo>
                  <a:pt x="1373" y="179"/>
                </a:lnTo>
                <a:lnTo>
                  <a:pt x="1374" y="177"/>
                </a:lnTo>
                <a:lnTo>
                  <a:pt x="1377" y="176"/>
                </a:lnTo>
                <a:lnTo>
                  <a:pt x="1384" y="176"/>
                </a:lnTo>
                <a:lnTo>
                  <a:pt x="1396" y="182"/>
                </a:lnTo>
                <a:lnTo>
                  <a:pt x="1403" y="182"/>
                </a:lnTo>
                <a:lnTo>
                  <a:pt x="1406" y="181"/>
                </a:lnTo>
                <a:lnTo>
                  <a:pt x="1409" y="179"/>
                </a:lnTo>
                <a:lnTo>
                  <a:pt x="1411" y="177"/>
                </a:lnTo>
                <a:lnTo>
                  <a:pt x="1413" y="178"/>
                </a:lnTo>
                <a:lnTo>
                  <a:pt x="1415" y="182"/>
                </a:lnTo>
                <a:lnTo>
                  <a:pt x="1416" y="185"/>
                </a:lnTo>
                <a:lnTo>
                  <a:pt x="1416" y="190"/>
                </a:lnTo>
                <a:lnTo>
                  <a:pt x="1416" y="193"/>
                </a:lnTo>
                <a:lnTo>
                  <a:pt x="1417" y="195"/>
                </a:lnTo>
                <a:lnTo>
                  <a:pt x="1421" y="194"/>
                </a:lnTo>
                <a:lnTo>
                  <a:pt x="1422" y="192"/>
                </a:lnTo>
                <a:lnTo>
                  <a:pt x="1425" y="192"/>
                </a:lnTo>
                <a:lnTo>
                  <a:pt x="1428" y="193"/>
                </a:lnTo>
                <a:lnTo>
                  <a:pt x="1436" y="197"/>
                </a:lnTo>
                <a:lnTo>
                  <a:pt x="1444" y="198"/>
                </a:lnTo>
                <a:lnTo>
                  <a:pt x="1452" y="201"/>
                </a:lnTo>
                <a:lnTo>
                  <a:pt x="1457" y="206"/>
                </a:lnTo>
                <a:lnTo>
                  <a:pt x="1461" y="210"/>
                </a:lnTo>
                <a:lnTo>
                  <a:pt x="1463" y="212"/>
                </a:lnTo>
                <a:lnTo>
                  <a:pt x="1471" y="212"/>
                </a:lnTo>
                <a:lnTo>
                  <a:pt x="1475" y="215"/>
                </a:lnTo>
                <a:lnTo>
                  <a:pt x="1480" y="219"/>
                </a:lnTo>
                <a:lnTo>
                  <a:pt x="1489" y="223"/>
                </a:lnTo>
                <a:lnTo>
                  <a:pt x="1500" y="225"/>
                </a:lnTo>
                <a:lnTo>
                  <a:pt x="1512" y="225"/>
                </a:lnTo>
                <a:lnTo>
                  <a:pt x="1518" y="227"/>
                </a:lnTo>
                <a:lnTo>
                  <a:pt x="1522" y="225"/>
                </a:lnTo>
                <a:lnTo>
                  <a:pt x="1525" y="224"/>
                </a:lnTo>
                <a:lnTo>
                  <a:pt x="1526" y="221"/>
                </a:lnTo>
                <a:lnTo>
                  <a:pt x="1525" y="218"/>
                </a:lnTo>
                <a:lnTo>
                  <a:pt x="1525" y="215"/>
                </a:lnTo>
                <a:lnTo>
                  <a:pt x="1527" y="214"/>
                </a:lnTo>
                <a:lnTo>
                  <a:pt x="1531" y="214"/>
                </a:lnTo>
                <a:lnTo>
                  <a:pt x="1534" y="212"/>
                </a:lnTo>
                <a:lnTo>
                  <a:pt x="1536" y="212"/>
                </a:lnTo>
                <a:lnTo>
                  <a:pt x="1536" y="216"/>
                </a:lnTo>
                <a:lnTo>
                  <a:pt x="1534" y="219"/>
                </a:lnTo>
                <a:lnTo>
                  <a:pt x="1535" y="222"/>
                </a:lnTo>
                <a:lnTo>
                  <a:pt x="1539" y="225"/>
                </a:lnTo>
                <a:lnTo>
                  <a:pt x="1555" y="230"/>
                </a:lnTo>
                <a:lnTo>
                  <a:pt x="1559" y="232"/>
                </a:lnTo>
                <a:lnTo>
                  <a:pt x="1565" y="243"/>
                </a:lnTo>
                <a:lnTo>
                  <a:pt x="1566" y="247"/>
                </a:lnTo>
                <a:lnTo>
                  <a:pt x="1566" y="249"/>
                </a:lnTo>
                <a:lnTo>
                  <a:pt x="1567" y="250"/>
                </a:lnTo>
                <a:lnTo>
                  <a:pt x="1571" y="249"/>
                </a:lnTo>
                <a:lnTo>
                  <a:pt x="1575" y="248"/>
                </a:lnTo>
                <a:lnTo>
                  <a:pt x="1580" y="249"/>
                </a:lnTo>
                <a:lnTo>
                  <a:pt x="1585" y="253"/>
                </a:lnTo>
                <a:lnTo>
                  <a:pt x="1587" y="255"/>
                </a:lnTo>
                <a:lnTo>
                  <a:pt x="1591" y="258"/>
                </a:lnTo>
                <a:lnTo>
                  <a:pt x="1593" y="259"/>
                </a:lnTo>
                <a:lnTo>
                  <a:pt x="1603" y="260"/>
                </a:lnTo>
                <a:lnTo>
                  <a:pt x="1612" y="262"/>
                </a:lnTo>
                <a:lnTo>
                  <a:pt x="1621" y="262"/>
                </a:lnTo>
                <a:lnTo>
                  <a:pt x="1624" y="264"/>
                </a:lnTo>
                <a:lnTo>
                  <a:pt x="1626" y="270"/>
                </a:lnTo>
                <a:lnTo>
                  <a:pt x="1627" y="272"/>
                </a:lnTo>
                <a:lnTo>
                  <a:pt x="1633" y="282"/>
                </a:lnTo>
                <a:lnTo>
                  <a:pt x="1639" y="290"/>
                </a:lnTo>
                <a:lnTo>
                  <a:pt x="1642" y="296"/>
                </a:lnTo>
                <a:lnTo>
                  <a:pt x="1644" y="298"/>
                </a:lnTo>
                <a:lnTo>
                  <a:pt x="1648" y="296"/>
                </a:lnTo>
                <a:lnTo>
                  <a:pt x="1651" y="294"/>
                </a:lnTo>
                <a:lnTo>
                  <a:pt x="1653" y="292"/>
                </a:lnTo>
                <a:lnTo>
                  <a:pt x="1656" y="293"/>
                </a:lnTo>
                <a:lnTo>
                  <a:pt x="1657" y="296"/>
                </a:lnTo>
                <a:lnTo>
                  <a:pt x="1658" y="298"/>
                </a:lnTo>
                <a:lnTo>
                  <a:pt x="1662" y="300"/>
                </a:lnTo>
                <a:lnTo>
                  <a:pt x="1668" y="302"/>
                </a:lnTo>
                <a:lnTo>
                  <a:pt x="1688" y="310"/>
                </a:lnTo>
                <a:lnTo>
                  <a:pt x="1691" y="313"/>
                </a:lnTo>
                <a:lnTo>
                  <a:pt x="1696" y="314"/>
                </a:lnTo>
                <a:lnTo>
                  <a:pt x="1700" y="316"/>
                </a:lnTo>
                <a:lnTo>
                  <a:pt x="1704" y="320"/>
                </a:lnTo>
                <a:lnTo>
                  <a:pt x="1711" y="322"/>
                </a:lnTo>
                <a:lnTo>
                  <a:pt x="1716" y="323"/>
                </a:lnTo>
                <a:lnTo>
                  <a:pt x="1722" y="325"/>
                </a:lnTo>
                <a:lnTo>
                  <a:pt x="1725" y="332"/>
                </a:lnTo>
                <a:lnTo>
                  <a:pt x="1728" y="346"/>
                </a:lnTo>
                <a:lnTo>
                  <a:pt x="1736" y="359"/>
                </a:lnTo>
                <a:lnTo>
                  <a:pt x="1736" y="359"/>
                </a:lnTo>
                <a:lnTo>
                  <a:pt x="1725" y="372"/>
                </a:lnTo>
                <a:lnTo>
                  <a:pt x="1688" y="406"/>
                </a:lnTo>
                <a:lnTo>
                  <a:pt x="1661" y="438"/>
                </a:lnTo>
                <a:lnTo>
                  <a:pt x="1629" y="477"/>
                </a:lnTo>
                <a:lnTo>
                  <a:pt x="1595" y="516"/>
                </a:lnTo>
                <a:lnTo>
                  <a:pt x="1561" y="555"/>
                </a:lnTo>
                <a:lnTo>
                  <a:pt x="1528" y="594"/>
                </a:lnTo>
                <a:lnTo>
                  <a:pt x="1494" y="632"/>
                </a:lnTo>
                <a:lnTo>
                  <a:pt x="1461" y="671"/>
                </a:lnTo>
                <a:lnTo>
                  <a:pt x="1427" y="710"/>
                </a:lnTo>
                <a:lnTo>
                  <a:pt x="1395" y="749"/>
                </a:lnTo>
                <a:lnTo>
                  <a:pt x="1354" y="780"/>
                </a:lnTo>
                <a:lnTo>
                  <a:pt x="1314" y="811"/>
                </a:lnTo>
                <a:lnTo>
                  <a:pt x="1274" y="841"/>
                </a:lnTo>
                <a:lnTo>
                  <a:pt x="1234" y="871"/>
                </a:lnTo>
                <a:lnTo>
                  <a:pt x="1194" y="903"/>
                </a:lnTo>
                <a:lnTo>
                  <a:pt x="1154" y="933"/>
                </a:lnTo>
                <a:lnTo>
                  <a:pt x="1114" y="963"/>
                </a:lnTo>
                <a:lnTo>
                  <a:pt x="1075" y="994"/>
                </a:lnTo>
                <a:lnTo>
                  <a:pt x="1037" y="1023"/>
                </a:lnTo>
                <a:lnTo>
                  <a:pt x="1007" y="1041"/>
                </a:lnTo>
                <a:lnTo>
                  <a:pt x="1007" y="1041"/>
                </a:lnTo>
                <a:lnTo>
                  <a:pt x="997" y="1039"/>
                </a:lnTo>
                <a:lnTo>
                  <a:pt x="984" y="1045"/>
                </a:lnTo>
                <a:lnTo>
                  <a:pt x="969" y="1050"/>
                </a:lnTo>
                <a:lnTo>
                  <a:pt x="941" y="1036"/>
                </a:lnTo>
                <a:lnTo>
                  <a:pt x="918" y="1031"/>
                </a:lnTo>
                <a:lnTo>
                  <a:pt x="909" y="1026"/>
                </a:lnTo>
                <a:lnTo>
                  <a:pt x="898" y="1018"/>
                </a:lnTo>
                <a:lnTo>
                  <a:pt x="891" y="1018"/>
                </a:lnTo>
                <a:lnTo>
                  <a:pt x="870" y="1024"/>
                </a:lnTo>
                <a:lnTo>
                  <a:pt x="840" y="1025"/>
                </a:lnTo>
                <a:lnTo>
                  <a:pt x="813" y="1016"/>
                </a:lnTo>
                <a:lnTo>
                  <a:pt x="790" y="1002"/>
                </a:lnTo>
                <a:lnTo>
                  <a:pt x="774" y="983"/>
                </a:lnTo>
                <a:lnTo>
                  <a:pt x="766" y="960"/>
                </a:lnTo>
                <a:lnTo>
                  <a:pt x="765" y="957"/>
                </a:lnTo>
                <a:lnTo>
                  <a:pt x="763" y="951"/>
                </a:lnTo>
                <a:lnTo>
                  <a:pt x="758" y="946"/>
                </a:lnTo>
                <a:lnTo>
                  <a:pt x="753" y="943"/>
                </a:lnTo>
                <a:lnTo>
                  <a:pt x="747" y="933"/>
                </a:lnTo>
                <a:lnTo>
                  <a:pt x="724" y="905"/>
                </a:lnTo>
                <a:lnTo>
                  <a:pt x="711" y="883"/>
                </a:lnTo>
                <a:lnTo>
                  <a:pt x="703" y="873"/>
                </a:lnTo>
                <a:lnTo>
                  <a:pt x="694" y="869"/>
                </a:lnTo>
                <a:lnTo>
                  <a:pt x="682" y="866"/>
                </a:lnTo>
                <a:lnTo>
                  <a:pt x="528" y="766"/>
                </a:lnTo>
                <a:lnTo>
                  <a:pt x="344" y="688"/>
                </a:lnTo>
                <a:lnTo>
                  <a:pt x="321" y="682"/>
                </a:lnTo>
                <a:lnTo>
                  <a:pt x="310" y="678"/>
                </a:lnTo>
                <a:lnTo>
                  <a:pt x="301" y="670"/>
                </a:lnTo>
                <a:lnTo>
                  <a:pt x="297" y="660"/>
                </a:lnTo>
                <a:lnTo>
                  <a:pt x="294" y="648"/>
                </a:lnTo>
                <a:lnTo>
                  <a:pt x="291" y="638"/>
                </a:lnTo>
                <a:lnTo>
                  <a:pt x="282" y="630"/>
                </a:lnTo>
                <a:lnTo>
                  <a:pt x="269" y="625"/>
                </a:lnTo>
                <a:lnTo>
                  <a:pt x="242" y="619"/>
                </a:lnTo>
                <a:lnTo>
                  <a:pt x="230" y="612"/>
                </a:lnTo>
                <a:lnTo>
                  <a:pt x="224" y="605"/>
                </a:lnTo>
                <a:lnTo>
                  <a:pt x="222" y="595"/>
                </a:lnTo>
                <a:lnTo>
                  <a:pt x="220" y="574"/>
                </a:lnTo>
                <a:lnTo>
                  <a:pt x="217" y="566"/>
                </a:lnTo>
                <a:lnTo>
                  <a:pt x="207" y="548"/>
                </a:lnTo>
                <a:lnTo>
                  <a:pt x="205" y="540"/>
                </a:lnTo>
                <a:lnTo>
                  <a:pt x="205" y="525"/>
                </a:lnTo>
                <a:lnTo>
                  <a:pt x="203" y="519"/>
                </a:lnTo>
                <a:lnTo>
                  <a:pt x="190" y="500"/>
                </a:lnTo>
                <a:lnTo>
                  <a:pt x="181" y="455"/>
                </a:lnTo>
                <a:lnTo>
                  <a:pt x="174" y="440"/>
                </a:lnTo>
                <a:lnTo>
                  <a:pt x="164" y="434"/>
                </a:lnTo>
                <a:lnTo>
                  <a:pt x="151" y="432"/>
                </a:lnTo>
                <a:lnTo>
                  <a:pt x="120" y="439"/>
                </a:lnTo>
                <a:lnTo>
                  <a:pt x="110" y="440"/>
                </a:lnTo>
                <a:lnTo>
                  <a:pt x="102" y="432"/>
                </a:lnTo>
                <a:lnTo>
                  <a:pt x="96" y="417"/>
                </a:lnTo>
                <a:lnTo>
                  <a:pt x="90" y="395"/>
                </a:lnTo>
                <a:lnTo>
                  <a:pt x="70" y="341"/>
                </a:lnTo>
                <a:lnTo>
                  <a:pt x="64" y="332"/>
                </a:lnTo>
                <a:lnTo>
                  <a:pt x="55" y="322"/>
                </a:lnTo>
                <a:lnTo>
                  <a:pt x="46" y="312"/>
                </a:lnTo>
                <a:lnTo>
                  <a:pt x="29" y="298"/>
                </a:lnTo>
                <a:lnTo>
                  <a:pt x="0" y="293"/>
                </a:lnTo>
                <a:lnTo>
                  <a:pt x="16" y="277"/>
                </a:lnTo>
                <a:lnTo>
                  <a:pt x="35" y="243"/>
                </a:lnTo>
                <a:lnTo>
                  <a:pt x="38" y="233"/>
                </a:lnTo>
                <a:lnTo>
                  <a:pt x="39" y="222"/>
                </a:lnTo>
                <a:lnTo>
                  <a:pt x="38" y="150"/>
                </a:lnTo>
                <a:lnTo>
                  <a:pt x="72" y="152"/>
                </a:lnTo>
                <a:lnTo>
                  <a:pt x="91" y="151"/>
                </a:lnTo>
                <a:lnTo>
                  <a:pt x="139" y="143"/>
                </a:lnTo>
                <a:lnTo>
                  <a:pt x="155" y="143"/>
                </a:lnTo>
                <a:lnTo>
                  <a:pt x="165" y="144"/>
                </a:lnTo>
                <a:lnTo>
                  <a:pt x="172" y="147"/>
                </a:lnTo>
                <a:lnTo>
                  <a:pt x="178" y="151"/>
                </a:lnTo>
                <a:lnTo>
                  <a:pt x="185" y="152"/>
                </a:lnTo>
                <a:lnTo>
                  <a:pt x="189" y="149"/>
                </a:lnTo>
                <a:lnTo>
                  <a:pt x="193" y="139"/>
                </a:lnTo>
                <a:lnTo>
                  <a:pt x="195" y="137"/>
                </a:lnTo>
                <a:lnTo>
                  <a:pt x="198" y="136"/>
                </a:lnTo>
                <a:lnTo>
                  <a:pt x="205" y="138"/>
                </a:lnTo>
                <a:lnTo>
                  <a:pt x="211" y="142"/>
                </a:lnTo>
                <a:lnTo>
                  <a:pt x="219" y="143"/>
                </a:lnTo>
                <a:lnTo>
                  <a:pt x="229" y="142"/>
                </a:lnTo>
                <a:lnTo>
                  <a:pt x="245" y="133"/>
                </a:lnTo>
                <a:lnTo>
                  <a:pt x="271" y="116"/>
                </a:lnTo>
                <a:lnTo>
                  <a:pt x="279" y="112"/>
                </a:lnTo>
                <a:lnTo>
                  <a:pt x="292" y="107"/>
                </a:lnTo>
                <a:lnTo>
                  <a:pt x="300" y="105"/>
                </a:lnTo>
                <a:lnTo>
                  <a:pt x="313" y="98"/>
                </a:lnTo>
                <a:lnTo>
                  <a:pt x="320" y="94"/>
                </a:lnTo>
                <a:lnTo>
                  <a:pt x="330" y="93"/>
                </a:lnTo>
                <a:lnTo>
                  <a:pt x="338" y="91"/>
                </a:lnTo>
                <a:lnTo>
                  <a:pt x="346" y="90"/>
                </a:lnTo>
                <a:lnTo>
                  <a:pt x="356" y="92"/>
                </a:lnTo>
                <a:lnTo>
                  <a:pt x="363" y="93"/>
                </a:lnTo>
                <a:lnTo>
                  <a:pt x="370" y="92"/>
                </a:lnTo>
                <a:lnTo>
                  <a:pt x="378" y="89"/>
                </a:lnTo>
                <a:lnTo>
                  <a:pt x="387" y="87"/>
                </a:lnTo>
                <a:lnTo>
                  <a:pt x="420" y="84"/>
                </a:lnTo>
                <a:lnTo>
                  <a:pt x="479" y="56"/>
                </a:lnTo>
                <a:lnTo>
                  <a:pt x="488" y="51"/>
                </a:lnTo>
                <a:lnTo>
                  <a:pt x="494" y="49"/>
                </a:lnTo>
                <a:lnTo>
                  <a:pt x="517" y="49"/>
                </a:lnTo>
                <a:lnTo>
                  <a:pt x="535" y="46"/>
                </a:lnTo>
                <a:lnTo>
                  <a:pt x="599" y="26"/>
                </a:lnTo>
                <a:lnTo>
                  <a:pt x="615" y="17"/>
                </a:lnTo>
                <a:lnTo>
                  <a:pt x="622" y="13"/>
                </a:lnTo>
                <a:lnTo>
                  <a:pt x="630" y="10"/>
                </a:lnTo>
                <a:lnTo>
                  <a:pt x="639" y="8"/>
                </a:lnTo>
                <a:lnTo>
                  <a:pt x="751" y="0"/>
                </a:lnTo>
                <a:lnTo>
                  <a:pt x="737" y="15"/>
                </a:lnTo>
                <a:lnTo>
                  <a:pt x="736" y="20"/>
                </a:lnTo>
                <a:lnTo>
                  <a:pt x="737" y="24"/>
                </a:lnTo>
                <a:lnTo>
                  <a:pt x="739" y="29"/>
                </a:lnTo>
                <a:lnTo>
                  <a:pt x="743" y="49"/>
                </a:lnTo>
                <a:lnTo>
                  <a:pt x="748" y="55"/>
                </a:lnTo>
                <a:lnTo>
                  <a:pt x="755" y="60"/>
                </a:lnTo>
                <a:lnTo>
                  <a:pt x="810" y="72"/>
                </a:lnTo>
                <a:lnTo>
                  <a:pt x="875" y="9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8E023D2E-D1F4-A3DB-34D1-9034D5EF2CAD}"/>
              </a:ext>
            </a:extLst>
          </p:cNvPr>
          <p:cNvSpPr>
            <a:spLocks/>
          </p:cNvSpPr>
          <p:nvPr/>
        </p:nvSpPr>
        <p:spPr bwMode="auto">
          <a:xfrm>
            <a:off x="8396539" y="2596619"/>
            <a:ext cx="1897867" cy="1125554"/>
          </a:xfrm>
          <a:custGeom>
            <a:avLst/>
            <a:gdLst>
              <a:gd name="T0" fmla="*/ 397 w 1602"/>
              <a:gd name="T1" fmla="*/ 35 h 1004"/>
              <a:gd name="T2" fmla="*/ 475 w 1602"/>
              <a:gd name="T3" fmla="*/ 26 h 1004"/>
              <a:gd name="T4" fmla="*/ 589 w 1602"/>
              <a:gd name="T5" fmla="*/ 172 h 1004"/>
              <a:gd name="T6" fmla="*/ 662 w 1602"/>
              <a:gd name="T7" fmla="*/ 243 h 1004"/>
              <a:gd name="T8" fmla="*/ 799 w 1602"/>
              <a:gd name="T9" fmla="*/ 294 h 1004"/>
              <a:gd name="T10" fmla="*/ 901 w 1602"/>
              <a:gd name="T11" fmla="*/ 265 h 1004"/>
              <a:gd name="T12" fmla="*/ 1046 w 1602"/>
              <a:gd name="T13" fmla="*/ 310 h 1004"/>
              <a:gd name="T14" fmla="*/ 1131 w 1602"/>
              <a:gd name="T15" fmla="*/ 337 h 1004"/>
              <a:gd name="T16" fmla="*/ 1161 w 1602"/>
              <a:gd name="T17" fmla="*/ 245 h 1004"/>
              <a:gd name="T18" fmla="*/ 1233 w 1602"/>
              <a:gd name="T19" fmla="*/ 257 h 1004"/>
              <a:gd name="T20" fmla="*/ 1278 w 1602"/>
              <a:gd name="T21" fmla="*/ 276 h 1004"/>
              <a:gd name="T22" fmla="*/ 1345 w 1602"/>
              <a:gd name="T23" fmla="*/ 288 h 1004"/>
              <a:gd name="T24" fmla="*/ 1373 w 1602"/>
              <a:gd name="T25" fmla="*/ 305 h 1004"/>
              <a:gd name="T26" fmla="*/ 1423 w 1602"/>
              <a:gd name="T27" fmla="*/ 337 h 1004"/>
              <a:gd name="T28" fmla="*/ 1493 w 1602"/>
              <a:gd name="T29" fmla="*/ 361 h 1004"/>
              <a:gd name="T30" fmla="*/ 1557 w 1602"/>
              <a:gd name="T31" fmla="*/ 384 h 1004"/>
              <a:gd name="T32" fmla="*/ 1576 w 1602"/>
              <a:gd name="T33" fmla="*/ 399 h 1004"/>
              <a:gd name="T34" fmla="*/ 1560 w 1602"/>
              <a:gd name="T35" fmla="*/ 448 h 1004"/>
              <a:gd name="T36" fmla="*/ 1598 w 1602"/>
              <a:gd name="T37" fmla="*/ 607 h 1004"/>
              <a:gd name="T38" fmla="*/ 1511 w 1602"/>
              <a:gd name="T39" fmla="*/ 609 h 1004"/>
              <a:gd name="T40" fmla="*/ 1390 w 1602"/>
              <a:gd name="T41" fmla="*/ 935 h 1004"/>
              <a:gd name="T42" fmla="*/ 1346 w 1602"/>
              <a:gd name="T43" fmla="*/ 968 h 1004"/>
              <a:gd name="T44" fmla="*/ 1292 w 1602"/>
              <a:gd name="T45" fmla="*/ 945 h 1004"/>
              <a:gd name="T46" fmla="*/ 1272 w 1602"/>
              <a:gd name="T47" fmla="*/ 941 h 1004"/>
              <a:gd name="T48" fmla="*/ 1233 w 1602"/>
              <a:gd name="T49" fmla="*/ 905 h 1004"/>
              <a:gd name="T50" fmla="*/ 1197 w 1602"/>
              <a:gd name="T51" fmla="*/ 895 h 1004"/>
              <a:gd name="T52" fmla="*/ 1164 w 1602"/>
              <a:gd name="T53" fmla="*/ 864 h 1004"/>
              <a:gd name="T54" fmla="*/ 1156 w 1602"/>
              <a:gd name="T55" fmla="*/ 866 h 1004"/>
              <a:gd name="T56" fmla="*/ 1105 w 1602"/>
              <a:gd name="T57" fmla="*/ 860 h 1004"/>
              <a:gd name="T58" fmla="*/ 1058 w 1602"/>
              <a:gd name="T59" fmla="*/ 838 h 1004"/>
              <a:gd name="T60" fmla="*/ 1045 w 1602"/>
              <a:gd name="T61" fmla="*/ 827 h 1004"/>
              <a:gd name="T62" fmla="*/ 1007 w 1602"/>
              <a:gd name="T63" fmla="*/ 821 h 1004"/>
              <a:gd name="T64" fmla="*/ 994 w 1602"/>
              <a:gd name="T65" fmla="*/ 823 h 1004"/>
              <a:gd name="T66" fmla="*/ 967 w 1602"/>
              <a:gd name="T67" fmla="*/ 833 h 1004"/>
              <a:gd name="T68" fmla="*/ 929 w 1602"/>
              <a:gd name="T69" fmla="*/ 834 h 1004"/>
              <a:gd name="T70" fmla="*/ 911 w 1602"/>
              <a:gd name="T71" fmla="*/ 834 h 1004"/>
              <a:gd name="T72" fmla="*/ 893 w 1602"/>
              <a:gd name="T73" fmla="*/ 846 h 1004"/>
              <a:gd name="T74" fmla="*/ 846 w 1602"/>
              <a:gd name="T75" fmla="*/ 825 h 1004"/>
              <a:gd name="T76" fmla="*/ 825 w 1602"/>
              <a:gd name="T77" fmla="*/ 811 h 1004"/>
              <a:gd name="T78" fmla="*/ 785 w 1602"/>
              <a:gd name="T79" fmla="*/ 810 h 1004"/>
              <a:gd name="T80" fmla="*/ 767 w 1602"/>
              <a:gd name="T81" fmla="*/ 799 h 1004"/>
              <a:gd name="T82" fmla="*/ 743 w 1602"/>
              <a:gd name="T83" fmla="*/ 764 h 1004"/>
              <a:gd name="T84" fmla="*/ 720 w 1602"/>
              <a:gd name="T85" fmla="*/ 672 h 1004"/>
              <a:gd name="T86" fmla="*/ 645 w 1602"/>
              <a:gd name="T87" fmla="*/ 688 h 1004"/>
              <a:gd name="T88" fmla="*/ 570 w 1602"/>
              <a:gd name="T89" fmla="*/ 705 h 1004"/>
              <a:gd name="T90" fmla="*/ 522 w 1602"/>
              <a:gd name="T91" fmla="*/ 731 h 1004"/>
              <a:gd name="T92" fmla="*/ 369 w 1602"/>
              <a:gd name="T93" fmla="*/ 674 h 1004"/>
              <a:gd name="T94" fmla="*/ 375 w 1602"/>
              <a:gd name="T95" fmla="*/ 614 h 1004"/>
              <a:gd name="T96" fmla="*/ 340 w 1602"/>
              <a:gd name="T97" fmla="*/ 574 h 1004"/>
              <a:gd name="T98" fmla="*/ 290 w 1602"/>
              <a:gd name="T99" fmla="*/ 506 h 1004"/>
              <a:gd name="T100" fmla="*/ 315 w 1602"/>
              <a:gd name="T101" fmla="*/ 448 h 1004"/>
              <a:gd name="T102" fmla="*/ 107 w 1602"/>
              <a:gd name="T103" fmla="*/ 591 h 1004"/>
              <a:gd name="T104" fmla="*/ 28 w 1602"/>
              <a:gd name="T105" fmla="*/ 592 h 1004"/>
              <a:gd name="T106" fmla="*/ 63 w 1602"/>
              <a:gd name="T107" fmla="*/ 479 h 1004"/>
              <a:gd name="T108" fmla="*/ 69 w 1602"/>
              <a:gd name="T109" fmla="*/ 402 h 1004"/>
              <a:gd name="T110" fmla="*/ 2 w 1602"/>
              <a:gd name="T111" fmla="*/ 338 h 1004"/>
              <a:gd name="T112" fmla="*/ 38 w 1602"/>
              <a:gd name="T113" fmla="*/ 288 h 1004"/>
              <a:gd name="T114" fmla="*/ 129 w 1602"/>
              <a:gd name="T115" fmla="*/ 310 h 1004"/>
              <a:gd name="T116" fmla="*/ 184 w 1602"/>
              <a:gd name="T117" fmla="*/ 251 h 1004"/>
              <a:gd name="T118" fmla="*/ 227 w 1602"/>
              <a:gd name="T119" fmla="*/ 215 h 1004"/>
              <a:gd name="T120" fmla="*/ 246 w 1602"/>
              <a:gd name="T121" fmla="*/ 166 h 1004"/>
              <a:gd name="T122" fmla="*/ 224 w 1602"/>
              <a:gd name="T123" fmla="*/ 110 h 1004"/>
              <a:gd name="T124" fmla="*/ 225 w 1602"/>
              <a:gd name="T125" fmla="*/ 0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02" h="1004">
                <a:moveTo>
                  <a:pt x="291" y="31"/>
                </a:moveTo>
                <a:lnTo>
                  <a:pt x="299" y="30"/>
                </a:lnTo>
                <a:lnTo>
                  <a:pt x="306" y="26"/>
                </a:lnTo>
                <a:lnTo>
                  <a:pt x="317" y="24"/>
                </a:lnTo>
                <a:lnTo>
                  <a:pt x="329" y="26"/>
                </a:lnTo>
                <a:lnTo>
                  <a:pt x="366" y="37"/>
                </a:lnTo>
                <a:lnTo>
                  <a:pt x="383" y="37"/>
                </a:lnTo>
                <a:lnTo>
                  <a:pt x="397" y="35"/>
                </a:lnTo>
                <a:lnTo>
                  <a:pt x="407" y="30"/>
                </a:lnTo>
                <a:lnTo>
                  <a:pt x="415" y="24"/>
                </a:lnTo>
                <a:lnTo>
                  <a:pt x="424" y="20"/>
                </a:lnTo>
                <a:lnTo>
                  <a:pt x="434" y="16"/>
                </a:lnTo>
                <a:lnTo>
                  <a:pt x="453" y="12"/>
                </a:lnTo>
                <a:lnTo>
                  <a:pt x="461" y="16"/>
                </a:lnTo>
                <a:lnTo>
                  <a:pt x="471" y="21"/>
                </a:lnTo>
                <a:lnTo>
                  <a:pt x="475" y="26"/>
                </a:lnTo>
                <a:lnTo>
                  <a:pt x="482" y="38"/>
                </a:lnTo>
                <a:lnTo>
                  <a:pt x="551" y="120"/>
                </a:lnTo>
                <a:lnTo>
                  <a:pt x="572" y="138"/>
                </a:lnTo>
                <a:lnTo>
                  <a:pt x="574" y="141"/>
                </a:lnTo>
                <a:lnTo>
                  <a:pt x="575" y="143"/>
                </a:lnTo>
                <a:lnTo>
                  <a:pt x="575" y="149"/>
                </a:lnTo>
                <a:lnTo>
                  <a:pt x="576" y="153"/>
                </a:lnTo>
                <a:lnTo>
                  <a:pt x="589" y="172"/>
                </a:lnTo>
                <a:lnTo>
                  <a:pt x="594" y="178"/>
                </a:lnTo>
                <a:lnTo>
                  <a:pt x="601" y="189"/>
                </a:lnTo>
                <a:lnTo>
                  <a:pt x="603" y="192"/>
                </a:lnTo>
                <a:lnTo>
                  <a:pt x="607" y="198"/>
                </a:lnTo>
                <a:lnTo>
                  <a:pt x="615" y="204"/>
                </a:lnTo>
                <a:lnTo>
                  <a:pt x="652" y="230"/>
                </a:lnTo>
                <a:lnTo>
                  <a:pt x="658" y="238"/>
                </a:lnTo>
                <a:lnTo>
                  <a:pt x="662" y="243"/>
                </a:lnTo>
                <a:lnTo>
                  <a:pt x="669" y="253"/>
                </a:lnTo>
                <a:lnTo>
                  <a:pt x="683" y="244"/>
                </a:lnTo>
                <a:lnTo>
                  <a:pt x="700" y="240"/>
                </a:lnTo>
                <a:lnTo>
                  <a:pt x="714" y="259"/>
                </a:lnTo>
                <a:lnTo>
                  <a:pt x="749" y="285"/>
                </a:lnTo>
                <a:lnTo>
                  <a:pt x="761" y="292"/>
                </a:lnTo>
                <a:lnTo>
                  <a:pt x="788" y="291"/>
                </a:lnTo>
                <a:lnTo>
                  <a:pt x="799" y="294"/>
                </a:lnTo>
                <a:lnTo>
                  <a:pt x="804" y="304"/>
                </a:lnTo>
                <a:lnTo>
                  <a:pt x="810" y="310"/>
                </a:lnTo>
                <a:lnTo>
                  <a:pt x="826" y="303"/>
                </a:lnTo>
                <a:lnTo>
                  <a:pt x="853" y="283"/>
                </a:lnTo>
                <a:lnTo>
                  <a:pt x="860" y="281"/>
                </a:lnTo>
                <a:lnTo>
                  <a:pt x="882" y="273"/>
                </a:lnTo>
                <a:lnTo>
                  <a:pt x="895" y="267"/>
                </a:lnTo>
                <a:lnTo>
                  <a:pt x="901" y="265"/>
                </a:lnTo>
                <a:lnTo>
                  <a:pt x="953" y="260"/>
                </a:lnTo>
                <a:lnTo>
                  <a:pt x="1016" y="265"/>
                </a:lnTo>
                <a:lnTo>
                  <a:pt x="1019" y="268"/>
                </a:lnTo>
                <a:lnTo>
                  <a:pt x="1023" y="276"/>
                </a:lnTo>
                <a:lnTo>
                  <a:pt x="1027" y="283"/>
                </a:lnTo>
                <a:lnTo>
                  <a:pt x="1029" y="299"/>
                </a:lnTo>
                <a:lnTo>
                  <a:pt x="1033" y="304"/>
                </a:lnTo>
                <a:lnTo>
                  <a:pt x="1046" y="310"/>
                </a:lnTo>
                <a:lnTo>
                  <a:pt x="1073" y="330"/>
                </a:lnTo>
                <a:lnTo>
                  <a:pt x="1088" y="338"/>
                </a:lnTo>
                <a:lnTo>
                  <a:pt x="1104" y="343"/>
                </a:lnTo>
                <a:lnTo>
                  <a:pt x="1120" y="344"/>
                </a:lnTo>
                <a:lnTo>
                  <a:pt x="1127" y="345"/>
                </a:lnTo>
                <a:lnTo>
                  <a:pt x="1131" y="343"/>
                </a:lnTo>
                <a:lnTo>
                  <a:pt x="1132" y="340"/>
                </a:lnTo>
                <a:lnTo>
                  <a:pt x="1131" y="337"/>
                </a:lnTo>
                <a:lnTo>
                  <a:pt x="1127" y="332"/>
                </a:lnTo>
                <a:lnTo>
                  <a:pt x="1124" y="324"/>
                </a:lnTo>
                <a:lnTo>
                  <a:pt x="1118" y="269"/>
                </a:lnTo>
                <a:lnTo>
                  <a:pt x="1118" y="258"/>
                </a:lnTo>
                <a:lnTo>
                  <a:pt x="1120" y="252"/>
                </a:lnTo>
                <a:lnTo>
                  <a:pt x="1129" y="247"/>
                </a:lnTo>
                <a:lnTo>
                  <a:pt x="1139" y="245"/>
                </a:lnTo>
                <a:lnTo>
                  <a:pt x="1161" y="245"/>
                </a:lnTo>
                <a:lnTo>
                  <a:pt x="1173" y="249"/>
                </a:lnTo>
                <a:lnTo>
                  <a:pt x="1183" y="254"/>
                </a:lnTo>
                <a:lnTo>
                  <a:pt x="1190" y="259"/>
                </a:lnTo>
                <a:lnTo>
                  <a:pt x="1198" y="260"/>
                </a:lnTo>
                <a:lnTo>
                  <a:pt x="1203" y="260"/>
                </a:lnTo>
                <a:lnTo>
                  <a:pt x="1210" y="258"/>
                </a:lnTo>
                <a:lnTo>
                  <a:pt x="1216" y="257"/>
                </a:lnTo>
                <a:lnTo>
                  <a:pt x="1233" y="257"/>
                </a:lnTo>
                <a:lnTo>
                  <a:pt x="1240" y="255"/>
                </a:lnTo>
                <a:lnTo>
                  <a:pt x="1247" y="253"/>
                </a:lnTo>
                <a:lnTo>
                  <a:pt x="1253" y="252"/>
                </a:lnTo>
                <a:lnTo>
                  <a:pt x="1259" y="253"/>
                </a:lnTo>
                <a:lnTo>
                  <a:pt x="1265" y="256"/>
                </a:lnTo>
                <a:lnTo>
                  <a:pt x="1268" y="260"/>
                </a:lnTo>
                <a:lnTo>
                  <a:pt x="1274" y="270"/>
                </a:lnTo>
                <a:lnTo>
                  <a:pt x="1278" y="276"/>
                </a:lnTo>
                <a:lnTo>
                  <a:pt x="1287" y="279"/>
                </a:lnTo>
                <a:lnTo>
                  <a:pt x="1294" y="279"/>
                </a:lnTo>
                <a:lnTo>
                  <a:pt x="1304" y="277"/>
                </a:lnTo>
                <a:lnTo>
                  <a:pt x="1311" y="273"/>
                </a:lnTo>
                <a:lnTo>
                  <a:pt x="1316" y="273"/>
                </a:lnTo>
                <a:lnTo>
                  <a:pt x="1322" y="276"/>
                </a:lnTo>
                <a:lnTo>
                  <a:pt x="1330" y="281"/>
                </a:lnTo>
                <a:lnTo>
                  <a:pt x="1345" y="288"/>
                </a:lnTo>
                <a:lnTo>
                  <a:pt x="1353" y="292"/>
                </a:lnTo>
                <a:lnTo>
                  <a:pt x="1357" y="295"/>
                </a:lnTo>
                <a:lnTo>
                  <a:pt x="1358" y="299"/>
                </a:lnTo>
                <a:lnTo>
                  <a:pt x="1360" y="303"/>
                </a:lnTo>
                <a:lnTo>
                  <a:pt x="1364" y="304"/>
                </a:lnTo>
                <a:lnTo>
                  <a:pt x="1370" y="299"/>
                </a:lnTo>
                <a:lnTo>
                  <a:pt x="1372" y="302"/>
                </a:lnTo>
                <a:lnTo>
                  <a:pt x="1373" y="305"/>
                </a:lnTo>
                <a:lnTo>
                  <a:pt x="1374" y="312"/>
                </a:lnTo>
                <a:lnTo>
                  <a:pt x="1377" y="317"/>
                </a:lnTo>
                <a:lnTo>
                  <a:pt x="1380" y="321"/>
                </a:lnTo>
                <a:lnTo>
                  <a:pt x="1383" y="325"/>
                </a:lnTo>
                <a:lnTo>
                  <a:pt x="1392" y="332"/>
                </a:lnTo>
                <a:lnTo>
                  <a:pt x="1412" y="338"/>
                </a:lnTo>
                <a:lnTo>
                  <a:pt x="1419" y="338"/>
                </a:lnTo>
                <a:lnTo>
                  <a:pt x="1423" y="337"/>
                </a:lnTo>
                <a:lnTo>
                  <a:pt x="1454" y="338"/>
                </a:lnTo>
                <a:lnTo>
                  <a:pt x="1461" y="341"/>
                </a:lnTo>
                <a:lnTo>
                  <a:pt x="1469" y="345"/>
                </a:lnTo>
                <a:lnTo>
                  <a:pt x="1474" y="347"/>
                </a:lnTo>
                <a:lnTo>
                  <a:pt x="1485" y="347"/>
                </a:lnTo>
                <a:lnTo>
                  <a:pt x="1488" y="349"/>
                </a:lnTo>
                <a:lnTo>
                  <a:pt x="1490" y="355"/>
                </a:lnTo>
                <a:lnTo>
                  <a:pt x="1493" y="361"/>
                </a:lnTo>
                <a:lnTo>
                  <a:pt x="1495" y="368"/>
                </a:lnTo>
                <a:lnTo>
                  <a:pt x="1498" y="371"/>
                </a:lnTo>
                <a:lnTo>
                  <a:pt x="1503" y="373"/>
                </a:lnTo>
                <a:lnTo>
                  <a:pt x="1510" y="374"/>
                </a:lnTo>
                <a:lnTo>
                  <a:pt x="1521" y="379"/>
                </a:lnTo>
                <a:lnTo>
                  <a:pt x="1544" y="385"/>
                </a:lnTo>
                <a:lnTo>
                  <a:pt x="1551" y="385"/>
                </a:lnTo>
                <a:lnTo>
                  <a:pt x="1557" y="384"/>
                </a:lnTo>
                <a:lnTo>
                  <a:pt x="1561" y="383"/>
                </a:lnTo>
                <a:lnTo>
                  <a:pt x="1563" y="384"/>
                </a:lnTo>
                <a:lnTo>
                  <a:pt x="1564" y="386"/>
                </a:lnTo>
                <a:lnTo>
                  <a:pt x="1563" y="394"/>
                </a:lnTo>
                <a:lnTo>
                  <a:pt x="1564" y="398"/>
                </a:lnTo>
                <a:lnTo>
                  <a:pt x="1566" y="399"/>
                </a:lnTo>
                <a:lnTo>
                  <a:pt x="1575" y="399"/>
                </a:lnTo>
                <a:lnTo>
                  <a:pt x="1576" y="399"/>
                </a:lnTo>
                <a:lnTo>
                  <a:pt x="1576" y="399"/>
                </a:lnTo>
                <a:lnTo>
                  <a:pt x="1568" y="402"/>
                </a:lnTo>
                <a:lnTo>
                  <a:pt x="1561" y="408"/>
                </a:lnTo>
                <a:lnTo>
                  <a:pt x="1558" y="415"/>
                </a:lnTo>
                <a:lnTo>
                  <a:pt x="1559" y="422"/>
                </a:lnTo>
                <a:lnTo>
                  <a:pt x="1561" y="435"/>
                </a:lnTo>
                <a:lnTo>
                  <a:pt x="1562" y="441"/>
                </a:lnTo>
                <a:lnTo>
                  <a:pt x="1560" y="448"/>
                </a:lnTo>
                <a:lnTo>
                  <a:pt x="1557" y="460"/>
                </a:lnTo>
                <a:lnTo>
                  <a:pt x="1555" y="468"/>
                </a:lnTo>
                <a:lnTo>
                  <a:pt x="1586" y="569"/>
                </a:lnTo>
                <a:lnTo>
                  <a:pt x="1586" y="576"/>
                </a:lnTo>
                <a:lnTo>
                  <a:pt x="1585" y="588"/>
                </a:lnTo>
                <a:lnTo>
                  <a:pt x="1586" y="593"/>
                </a:lnTo>
                <a:lnTo>
                  <a:pt x="1591" y="601"/>
                </a:lnTo>
                <a:lnTo>
                  <a:pt x="1598" y="607"/>
                </a:lnTo>
                <a:lnTo>
                  <a:pt x="1602" y="614"/>
                </a:lnTo>
                <a:lnTo>
                  <a:pt x="1602" y="618"/>
                </a:lnTo>
                <a:lnTo>
                  <a:pt x="1597" y="618"/>
                </a:lnTo>
                <a:lnTo>
                  <a:pt x="1565" y="618"/>
                </a:lnTo>
                <a:lnTo>
                  <a:pt x="1536" y="621"/>
                </a:lnTo>
                <a:lnTo>
                  <a:pt x="1521" y="621"/>
                </a:lnTo>
                <a:lnTo>
                  <a:pt x="1514" y="616"/>
                </a:lnTo>
                <a:lnTo>
                  <a:pt x="1511" y="609"/>
                </a:lnTo>
                <a:lnTo>
                  <a:pt x="1501" y="599"/>
                </a:lnTo>
                <a:lnTo>
                  <a:pt x="1483" y="581"/>
                </a:lnTo>
                <a:lnTo>
                  <a:pt x="1479" y="587"/>
                </a:lnTo>
                <a:lnTo>
                  <a:pt x="1470" y="620"/>
                </a:lnTo>
                <a:lnTo>
                  <a:pt x="1449" y="699"/>
                </a:lnTo>
                <a:lnTo>
                  <a:pt x="1430" y="778"/>
                </a:lnTo>
                <a:lnTo>
                  <a:pt x="1409" y="857"/>
                </a:lnTo>
                <a:lnTo>
                  <a:pt x="1390" y="935"/>
                </a:lnTo>
                <a:lnTo>
                  <a:pt x="1380" y="974"/>
                </a:lnTo>
                <a:lnTo>
                  <a:pt x="1371" y="998"/>
                </a:lnTo>
                <a:lnTo>
                  <a:pt x="1366" y="1004"/>
                </a:lnTo>
                <a:lnTo>
                  <a:pt x="1366" y="1004"/>
                </a:lnTo>
                <a:lnTo>
                  <a:pt x="1358" y="991"/>
                </a:lnTo>
                <a:lnTo>
                  <a:pt x="1355" y="977"/>
                </a:lnTo>
                <a:lnTo>
                  <a:pt x="1352" y="970"/>
                </a:lnTo>
                <a:lnTo>
                  <a:pt x="1346" y="968"/>
                </a:lnTo>
                <a:lnTo>
                  <a:pt x="1341" y="967"/>
                </a:lnTo>
                <a:lnTo>
                  <a:pt x="1334" y="965"/>
                </a:lnTo>
                <a:lnTo>
                  <a:pt x="1330" y="961"/>
                </a:lnTo>
                <a:lnTo>
                  <a:pt x="1326" y="959"/>
                </a:lnTo>
                <a:lnTo>
                  <a:pt x="1321" y="958"/>
                </a:lnTo>
                <a:lnTo>
                  <a:pt x="1318" y="955"/>
                </a:lnTo>
                <a:lnTo>
                  <a:pt x="1298" y="947"/>
                </a:lnTo>
                <a:lnTo>
                  <a:pt x="1292" y="945"/>
                </a:lnTo>
                <a:lnTo>
                  <a:pt x="1288" y="943"/>
                </a:lnTo>
                <a:lnTo>
                  <a:pt x="1287" y="941"/>
                </a:lnTo>
                <a:lnTo>
                  <a:pt x="1286" y="938"/>
                </a:lnTo>
                <a:lnTo>
                  <a:pt x="1283" y="937"/>
                </a:lnTo>
                <a:lnTo>
                  <a:pt x="1281" y="939"/>
                </a:lnTo>
                <a:lnTo>
                  <a:pt x="1278" y="941"/>
                </a:lnTo>
                <a:lnTo>
                  <a:pt x="1274" y="943"/>
                </a:lnTo>
                <a:lnTo>
                  <a:pt x="1272" y="941"/>
                </a:lnTo>
                <a:lnTo>
                  <a:pt x="1269" y="935"/>
                </a:lnTo>
                <a:lnTo>
                  <a:pt x="1263" y="927"/>
                </a:lnTo>
                <a:lnTo>
                  <a:pt x="1257" y="917"/>
                </a:lnTo>
                <a:lnTo>
                  <a:pt x="1256" y="915"/>
                </a:lnTo>
                <a:lnTo>
                  <a:pt x="1254" y="909"/>
                </a:lnTo>
                <a:lnTo>
                  <a:pt x="1251" y="907"/>
                </a:lnTo>
                <a:lnTo>
                  <a:pt x="1242" y="907"/>
                </a:lnTo>
                <a:lnTo>
                  <a:pt x="1233" y="905"/>
                </a:lnTo>
                <a:lnTo>
                  <a:pt x="1223" y="904"/>
                </a:lnTo>
                <a:lnTo>
                  <a:pt x="1221" y="903"/>
                </a:lnTo>
                <a:lnTo>
                  <a:pt x="1217" y="900"/>
                </a:lnTo>
                <a:lnTo>
                  <a:pt x="1215" y="898"/>
                </a:lnTo>
                <a:lnTo>
                  <a:pt x="1210" y="894"/>
                </a:lnTo>
                <a:lnTo>
                  <a:pt x="1205" y="893"/>
                </a:lnTo>
                <a:lnTo>
                  <a:pt x="1201" y="894"/>
                </a:lnTo>
                <a:lnTo>
                  <a:pt x="1197" y="895"/>
                </a:lnTo>
                <a:lnTo>
                  <a:pt x="1196" y="894"/>
                </a:lnTo>
                <a:lnTo>
                  <a:pt x="1196" y="892"/>
                </a:lnTo>
                <a:lnTo>
                  <a:pt x="1195" y="888"/>
                </a:lnTo>
                <a:lnTo>
                  <a:pt x="1189" y="877"/>
                </a:lnTo>
                <a:lnTo>
                  <a:pt x="1185" y="875"/>
                </a:lnTo>
                <a:lnTo>
                  <a:pt x="1169" y="870"/>
                </a:lnTo>
                <a:lnTo>
                  <a:pt x="1165" y="867"/>
                </a:lnTo>
                <a:lnTo>
                  <a:pt x="1164" y="864"/>
                </a:lnTo>
                <a:lnTo>
                  <a:pt x="1166" y="861"/>
                </a:lnTo>
                <a:lnTo>
                  <a:pt x="1166" y="857"/>
                </a:lnTo>
                <a:lnTo>
                  <a:pt x="1164" y="857"/>
                </a:lnTo>
                <a:lnTo>
                  <a:pt x="1161" y="859"/>
                </a:lnTo>
                <a:lnTo>
                  <a:pt x="1157" y="859"/>
                </a:lnTo>
                <a:lnTo>
                  <a:pt x="1155" y="860"/>
                </a:lnTo>
                <a:lnTo>
                  <a:pt x="1155" y="863"/>
                </a:lnTo>
                <a:lnTo>
                  <a:pt x="1156" y="866"/>
                </a:lnTo>
                <a:lnTo>
                  <a:pt x="1155" y="869"/>
                </a:lnTo>
                <a:lnTo>
                  <a:pt x="1152" y="870"/>
                </a:lnTo>
                <a:lnTo>
                  <a:pt x="1148" y="872"/>
                </a:lnTo>
                <a:lnTo>
                  <a:pt x="1142" y="870"/>
                </a:lnTo>
                <a:lnTo>
                  <a:pt x="1130" y="870"/>
                </a:lnTo>
                <a:lnTo>
                  <a:pt x="1119" y="868"/>
                </a:lnTo>
                <a:lnTo>
                  <a:pt x="1110" y="864"/>
                </a:lnTo>
                <a:lnTo>
                  <a:pt x="1105" y="860"/>
                </a:lnTo>
                <a:lnTo>
                  <a:pt x="1101" y="857"/>
                </a:lnTo>
                <a:lnTo>
                  <a:pt x="1093" y="857"/>
                </a:lnTo>
                <a:lnTo>
                  <a:pt x="1091" y="855"/>
                </a:lnTo>
                <a:lnTo>
                  <a:pt x="1087" y="851"/>
                </a:lnTo>
                <a:lnTo>
                  <a:pt x="1082" y="846"/>
                </a:lnTo>
                <a:lnTo>
                  <a:pt x="1074" y="843"/>
                </a:lnTo>
                <a:lnTo>
                  <a:pt x="1066" y="842"/>
                </a:lnTo>
                <a:lnTo>
                  <a:pt x="1058" y="838"/>
                </a:lnTo>
                <a:lnTo>
                  <a:pt x="1055" y="837"/>
                </a:lnTo>
                <a:lnTo>
                  <a:pt x="1052" y="837"/>
                </a:lnTo>
                <a:lnTo>
                  <a:pt x="1051" y="839"/>
                </a:lnTo>
                <a:lnTo>
                  <a:pt x="1047" y="840"/>
                </a:lnTo>
                <a:lnTo>
                  <a:pt x="1046" y="838"/>
                </a:lnTo>
                <a:lnTo>
                  <a:pt x="1046" y="835"/>
                </a:lnTo>
                <a:lnTo>
                  <a:pt x="1046" y="830"/>
                </a:lnTo>
                <a:lnTo>
                  <a:pt x="1045" y="827"/>
                </a:lnTo>
                <a:lnTo>
                  <a:pt x="1043" y="823"/>
                </a:lnTo>
                <a:lnTo>
                  <a:pt x="1041" y="822"/>
                </a:lnTo>
                <a:lnTo>
                  <a:pt x="1039" y="824"/>
                </a:lnTo>
                <a:lnTo>
                  <a:pt x="1036" y="826"/>
                </a:lnTo>
                <a:lnTo>
                  <a:pt x="1033" y="827"/>
                </a:lnTo>
                <a:lnTo>
                  <a:pt x="1026" y="827"/>
                </a:lnTo>
                <a:lnTo>
                  <a:pt x="1014" y="821"/>
                </a:lnTo>
                <a:lnTo>
                  <a:pt x="1007" y="821"/>
                </a:lnTo>
                <a:lnTo>
                  <a:pt x="1004" y="822"/>
                </a:lnTo>
                <a:lnTo>
                  <a:pt x="1003" y="824"/>
                </a:lnTo>
                <a:lnTo>
                  <a:pt x="1002" y="825"/>
                </a:lnTo>
                <a:lnTo>
                  <a:pt x="1001" y="824"/>
                </a:lnTo>
                <a:lnTo>
                  <a:pt x="1000" y="822"/>
                </a:lnTo>
                <a:lnTo>
                  <a:pt x="999" y="821"/>
                </a:lnTo>
                <a:lnTo>
                  <a:pt x="996" y="821"/>
                </a:lnTo>
                <a:lnTo>
                  <a:pt x="994" y="823"/>
                </a:lnTo>
                <a:lnTo>
                  <a:pt x="988" y="829"/>
                </a:lnTo>
                <a:lnTo>
                  <a:pt x="986" y="831"/>
                </a:lnTo>
                <a:lnTo>
                  <a:pt x="983" y="834"/>
                </a:lnTo>
                <a:lnTo>
                  <a:pt x="981" y="835"/>
                </a:lnTo>
                <a:lnTo>
                  <a:pt x="977" y="834"/>
                </a:lnTo>
                <a:lnTo>
                  <a:pt x="974" y="834"/>
                </a:lnTo>
                <a:lnTo>
                  <a:pt x="969" y="834"/>
                </a:lnTo>
                <a:lnTo>
                  <a:pt x="967" y="833"/>
                </a:lnTo>
                <a:lnTo>
                  <a:pt x="964" y="829"/>
                </a:lnTo>
                <a:lnTo>
                  <a:pt x="961" y="830"/>
                </a:lnTo>
                <a:lnTo>
                  <a:pt x="949" y="831"/>
                </a:lnTo>
                <a:lnTo>
                  <a:pt x="943" y="828"/>
                </a:lnTo>
                <a:lnTo>
                  <a:pt x="940" y="828"/>
                </a:lnTo>
                <a:lnTo>
                  <a:pt x="936" y="829"/>
                </a:lnTo>
                <a:lnTo>
                  <a:pt x="932" y="831"/>
                </a:lnTo>
                <a:lnTo>
                  <a:pt x="929" y="834"/>
                </a:lnTo>
                <a:lnTo>
                  <a:pt x="926" y="833"/>
                </a:lnTo>
                <a:lnTo>
                  <a:pt x="925" y="830"/>
                </a:lnTo>
                <a:lnTo>
                  <a:pt x="923" y="827"/>
                </a:lnTo>
                <a:lnTo>
                  <a:pt x="921" y="827"/>
                </a:lnTo>
                <a:lnTo>
                  <a:pt x="918" y="829"/>
                </a:lnTo>
                <a:lnTo>
                  <a:pt x="916" y="833"/>
                </a:lnTo>
                <a:lnTo>
                  <a:pt x="914" y="835"/>
                </a:lnTo>
                <a:lnTo>
                  <a:pt x="911" y="834"/>
                </a:lnTo>
                <a:lnTo>
                  <a:pt x="909" y="835"/>
                </a:lnTo>
                <a:lnTo>
                  <a:pt x="908" y="835"/>
                </a:lnTo>
                <a:lnTo>
                  <a:pt x="905" y="837"/>
                </a:lnTo>
                <a:lnTo>
                  <a:pt x="901" y="839"/>
                </a:lnTo>
                <a:lnTo>
                  <a:pt x="899" y="842"/>
                </a:lnTo>
                <a:lnTo>
                  <a:pt x="898" y="844"/>
                </a:lnTo>
                <a:lnTo>
                  <a:pt x="895" y="847"/>
                </a:lnTo>
                <a:lnTo>
                  <a:pt x="893" y="846"/>
                </a:lnTo>
                <a:lnTo>
                  <a:pt x="893" y="841"/>
                </a:lnTo>
                <a:lnTo>
                  <a:pt x="891" y="839"/>
                </a:lnTo>
                <a:lnTo>
                  <a:pt x="886" y="837"/>
                </a:lnTo>
                <a:lnTo>
                  <a:pt x="875" y="836"/>
                </a:lnTo>
                <a:lnTo>
                  <a:pt x="859" y="831"/>
                </a:lnTo>
                <a:lnTo>
                  <a:pt x="849" y="829"/>
                </a:lnTo>
                <a:lnTo>
                  <a:pt x="845" y="827"/>
                </a:lnTo>
                <a:lnTo>
                  <a:pt x="846" y="825"/>
                </a:lnTo>
                <a:lnTo>
                  <a:pt x="847" y="823"/>
                </a:lnTo>
                <a:lnTo>
                  <a:pt x="847" y="821"/>
                </a:lnTo>
                <a:lnTo>
                  <a:pt x="844" y="816"/>
                </a:lnTo>
                <a:lnTo>
                  <a:pt x="843" y="814"/>
                </a:lnTo>
                <a:lnTo>
                  <a:pt x="839" y="813"/>
                </a:lnTo>
                <a:lnTo>
                  <a:pt x="835" y="814"/>
                </a:lnTo>
                <a:lnTo>
                  <a:pt x="831" y="813"/>
                </a:lnTo>
                <a:lnTo>
                  <a:pt x="825" y="811"/>
                </a:lnTo>
                <a:lnTo>
                  <a:pt x="822" y="808"/>
                </a:lnTo>
                <a:lnTo>
                  <a:pt x="818" y="808"/>
                </a:lnTo>
                <a:lnTo>
                  <a:pt x="813" y="809"/>
                </a:lnTo>
                <a:lnTo>
                  <a:pt x="809" y="811"/>
                </a:lnTo>
                <a:lnTo>
                  <a:pt x="801" y="812"/>
                </a:lnTo>
                <a:lnTo>
                  <a:pt x="795" y="811"/>
                </a:lnTo>
                <a:lnTo>
                  <a:pt x="787" y="812"/>
                </a:lnTo>
                <a:lnTo>
                  <a:pt x="785" y="810"/>
                </a:lnTo>
                <a:lnTo>
                  <a:pt x="785" y="808"/>
                </a:lnTo>
                <a:lnTo>
                  <a:pt x="785" y="805"/>
                </a:lnTo>
                <a:lnTo>
                  <a:pt x="785" y="803"/>
                </a:lnTo>
                <a:lnTo>
                  <a:pt x="783" y="803"/>
                </a:lnTo>
                <a:lnTo>
                  <a:pt x="780" y="805"/>
                </a:lnTo>
                <a:lnTo>
                  <a:pt x="774" y="807"/>
                </a:lnTo>
                <a:lnTo>
                  <a:pt x="771" y="804"/>
                </a:lnTo>
                <a:lnTo>
                  <a:pt x="767" y="799"/>
                </a:lnTo>
                <a:lnTo>
                  <a:pt x="767" y="796"/>
                </a:lnTo>
                <a:lnTo>
                  <a:pt x="766" y="791"/>
                </a:lnTo>
                <a:lnTo>
                  <a:pt x="765" y="788"/>
                </a:lnTo>
                <a:lnTo>
                  <a:pt x="761" y="785"/>
                </a:lnTo>
                <a:lnTo>
                  <a:pt x="755" y="781"/>
                </a:lnTo>
                <a:lnTo>
                  <a:pt x="752" y="776"/>
                </a:lnTo>
                <a:lnTo>
                  <a:pt x="748" y="771"/>
                </a:lnTo>
                <a:lnTo>
                  <a:pt x="743" y="764"/>
                </a:lnTo>
                <a:lnTo>
                  <a:pt x="740" y="753"/>
                </a:lnTo>
                <a:lnTo>
                  <a:pt x="737" y="739"/>
                </a:lnTo>
                <a:lnTo>
                  <a:pt x="737" y="713"/>
                </a:lnTo>
                <a:lnTo>
                  <a:pt x="740" y="705"/>
                </a:lnTo>
                <a:lnTo>
                  <a:pt x="741" y="695"/>
                </a:lnTo>
                <a:lnTo>
                  <a:pt x="737" y="686"/>
                </a:lnTo>
                <a:lnTo>
                  <a:pt x="729" y="677"/>
                </a:lnTo>
                <a:lnTo>
                  <a:pt x="720" y="672"/>
                </a:lnTo>
                <a:lnTo>
                  <a:pt x="708" y="669"/>
                </a:lnTo>
                <a:lnTo>
                  <a:pt x="696" y="668"/>
                </a:lnTo>
                <a:lnTo>
                  <a:pt x="687" y="669"/>
                </a:lnTo>
                <a:lnTo>
                  <a:pt x="670" y="674"/>
                </a:lnTo>
                <a:lnTo>
                  <a:pt x="657" y="677"/>
                </a:lnTo>
                <a:lnTo>
                  <a:pt x="654" y="678"/>
                </a:lnTo>
                <a:lnTo>
                  <a:pt x="650" y="685"/>
                </a:lnTo>
                <a:lnTo>
                  <a:pt x="645" y="688"/>
                </a:lnTo>
                <a:lnTo>
                  <a:pt x="640" y="690"/>
                </a:lnTo>
                <a:lnTo>
                  <a:pt x="633" y="691"/>
                </a:lnTo>
                <a:lnTo>
                  <a:pt x="619" y="695"/>
                </a:lnTo>
                <a:lnTo>
                  <a:pt x="606" y="697"/>
                </a:lnTo>
                <a:lnTo>
                  <a:pt x="590" y="697"/>
                </a:lnTo>
                <a:lnTo>
                  <a:pt x="585" y="698"/>
                </a:lnTo>
                <a:lnTo>
                  <a:pt x="576" y="704"/>
                </a:lnTo>
                <a:lnTo>
                  <a:pt x="570" y="705"/>
                </a:lnTo>
                <a:lnTo>
                  <a:pt x="560" y="703"/>
                </a:lnTo>
                <a:lnTo>
                  <a:pt x="552" y="698"/>
                </a:lnTo>
                <a:lnTo>
                  <a:pt x="547" y="697"/>
                </a:lnTo>
                <a:lnTo>
                  <a:pt x="542" y="698"/>
                </a:lnTo>
                <a:lnTo>
                  <a:pt x="529" y="710"/>
                </a:lnTo>
                <a:lnTo>
                  <a:pt x="526" y="716"/>
                </a:lnTo>
                <a:lnTo>
                  <a:pt x="524" y="723"/>
                </a:lnTo>
                <a:lnTo>
                  <a:pt x="522" y="731"/>
                </a:lnTo>
                <a:lnTo>
                  <a:pt x="521" y="737"/>
                </a:lnTo>
                <a:lnTo>
                  <a:pt x="516" y="743"/>
                </a:lnTo>
                <a:lnTo>
                  <a:pt x="505" y="744"/>
                </a:lnTo>
                <a:lnTo>
                  <a:pt x="440" y="717"/>
                </a:lnTo>
                <a:lnTo>
                  <a:pt x="385" y="705"/>
                </a:lnTo>
                <a:lnTo>
                  <a:pt x="378" y="700"/>
                </a:lnTo>
                <a:lnTo>
                  <a:pt x="373" y="694"/>
                </a:lnTo>
                <a:lnTo>
                  <a:pt x="369" y="674"/>
                </a:lnTo>
                <a:lnTo>
                  <a:pt x="367" y="669"/>
                </a:lnTo>
                <a:lnTo>
                  <a:pt x="366" y="665"/>
                </a:lnTo>
                <a:lnTo>
                  <a:pt x="367" y="660"/>
                </a:lnTo>
                <a:lnTo>
                  <a:pt x="381" y="645"/>
                </a:lnTo>
                <a:lnTo>
                  <a:pt x="386" y="630"/>
                </a:lnTo>
                <a:lnTo>
                  <a:pt x="381" y="622"/>
                </a:lnTo>
                <a:lnTo>
                  <a:pt x="377" y="619"/>
                </a:lnTo>
                <a:lnTo>
                  <a:pt x="375" y="614"/>
                </a:lnTo>
                <a:lnTo>
                  <a:pt x="376" y="609"/>
                </a:lnTo>
                <a:lnTo>
                  <a:pt x="388" y="599"/>
                </a:lnTo>
                <a:lnTo>
                  <a:pt x="392" y="593"/>
                </a:lnTo>
                <a:lnTo>
                  <a:pt x="392" y="588"/>
                </a:lnTo>
                <a:lnTo>
                  <a:pt x="388" y="584"/>
                </a:lnTo>
                <a:lnTo>
                  <a:pt x="379" y="582"/>
                </a:lnTo>
                <a:lnTo>
                  <a:pt x="351" y="578"/>
                </a:lnTo>
                <a:lnTo>
                  <a:pt x="340" y="574"/>
                </a:lnTo>
                <a:lnTo>
                  <a:pt x="308" y="553"/>
                </a:lnTo>
                <a:lnTo>
                  <a:pt x="303" y="550"/>
                </a:lnTo>
                <a:lnTo>
                  <a:pt x="298" y="548"/>
                </a:lnTo>
                <a:lnTo>
                  <a:pt x="290" y="544"/>
                </a:lnTo>
                <a:lnTo>
                  <a:pt x="287" y="539"/>
                </a:lnTo>
                <a:lnTo>
                  <a:pt x="285" y="528"/>
                </a:lnTo>
                <a:lnTo>
                  <a:pt x="286" y="517"/>
                </a:lnTo>
                <a:lnTo>
                  <a:pt x="290" y="506"/>
                </a:lnTo>
                <a:lnTo>
                  <a:pt x="298" y="496"/>
                </a:lnTo>
                <a:lnTo>
                  <a:pt x="330" y="465"/>
                </a:lnTo>
                <a:lnTo>
                  <a:pt x="337" y="458"/>
                </a:lnTo>
                <a:lnTo>
                  <a:pt x="339" y="450"/>
                </a:lnTo>
                <a:lnTo>
                  <a:pt x="338" y="446"/>
                </a:lnTo>
                <a:lnTo>
                  <a:pt x="332" y="442"/>
                </a:lnTo>
                <a:lnTo>
                  <a:pt x="323" y="442"/>
                </a:lnTo>
                <a:lnTo>
                  <a:pt x="315" y="448"/>
                </a:lnTo>
                <a:lnTo>
                  <a:pt x="305" y="452"/>
                </a:lnTo>
                <a:lnTo>
                  <a:pt x="275" y="480"/>
                </a:lnTo>
                <a:lnTo>
                  <a:pt x="259" y="513"/>
                </a:lnTo>
                <a:lnTo>
                  <a:pt x="250" y="524"/>
                </a:lnTo>
                <a:lnTo>
                  <a:pt x="245" y="527"/>
                </a:lnTo>
                <a:lnTo>
                  <a:pt x="221" y="536"/>
                </a:lnTo>
                <a:lnTo>
                  <a:pt x="115" y="587"/>
                </a:lnTo>
                <a:lnTo>
                  <a:pt x="107" y="591"/>
                </a:lnTo>
                <a:lnTo>
                  <a:pt x="95" y="595"/>
                </a:lnTo>
                <a:lnTo>
                  <a:pt x="93" y="596"/>
                </a:lnTo>
                <a:lnTo>
                  <a:pt x="81" y="602"/>
                </a:lnTo>
                <a:lnTo>
                  <a:pt x="68" y="604"/>
                </a:lnTo>
                <a:lnTo>
                  <a:pt x="52" y="605"/>
                </a:lnTo>
                <a:lnTo>
                  <a:pt x="37" y="603"/>
                </a:lnTo>
                <a:lnTo>
                  <a:pt x="28" y="597"/>
                </a:lnTo>
                <a:lnTo>
                  <a:pt x="28" y="592"/>
                </a:lnTo>
                <a:lnTo>
                  <a:pt x="35" y="586"/>
                </a:lnTo>
                <a:lnTo>
                  <a:pt x="41" y="579"/>
                </a:lnTo>
                <a:lnTo>
                  <a:pt x="46" y="569"/>
                </a:lnTo>
                <a:lnTo>
                  <a:pt x="61" y="531"/>
                </a:lnTo>
                <a:lnTo>
                  <a:pt x="64" y="522"/>
                </a:lnTo>
                <a:lnTo>
                  <a:pt x="58" y="501"/>
                </a:lnTo>
                <a:lnTo>
                  <a:pt x="58" y="491"/>
                </a:lnTo>
                <a:lnTo>
                  <a:pt x="63" y="479"/>
                </a:lnTo>
                <a:lnTo>
                  <a:pt x="68" y="467"/>
                </a:lnTo>
                <a:lnTo>
                  <a:pt x="72" y="459"/>
                </a:lnTo>
                <a:lnTo>
                  <a:pt x="82" y="447"/>
                </a:lnTo>
                <a:lnTo>
                  <a:pt x="84" y="440"/>
                </a:lnTo>
                <a:lnTo>
                  <a:pt x="83" y="432"/>
                </a:lnTo>
                <a:lnTo>
                  <a:pt x="79" y="414"/>
                </a:lnTo>
                <a:lnTo>
                  <a:pt x="74" y="408"/>
                </a:lnTo>
                <a:lnTo>
                  <a:pt x="69" y="402"/>
                </a:lnTo>
                <a:lnTo>
                  <a:pt x="60" y="397"/>
                </a:lnTo>
                <a:lnTo>
                  <a:pt x="56" y="393"/>
                </a:lnTo>
                <a:lnTo>
                  <a:pt x="50" y="379"/>
                </a:lnTo>
                <a:lnTo>
                  <a:pt x="30" y="355"/>
                </a:lnTo>
                <a:lnTo>
                  <a:pt x="24" y="348"/>
                </a:lnTo>
                <a:lnTo>
                  <a:pt x="17" y="345"/>
                </a:lnTo>
                <a:lnTo>
                  <a:pt x="9" y="343"/>
                </a:lnTo>
                <a:lnTo>
                  <a:pt x="2" y="338"/>
                </a:lnTo>
                <a:lnTo>
                  <a:pt x="0" y="333"/>
                </a:lnTo>
                <a:lnTo>
                  <a:pt x="1" y="328"/>
                </a:lnTo>
                <a:lnTo>
                  <a:pt x="4" y="322"/>
                </a:lnTo>
                <a:lnTo>
                  <a:pt x="11" y="318"/>
                </a:lnTo>
                <a:lnTo>
                  <a:pt x="31" y="305"/>
                </a:lnTo>
                <a:lnTo>
                  <a:pt x="37" y="301"/>
                </a:lnTo>
                <a:lnTo>
                  <a:pt x="39" y="295"/>
                </a:lnTo>
                <a:lnTo>
                  <a:pt x="38" y="288"/>
                </a:lnTo>
                <a:lnTo>
                  <a:pt x="39" y="281"/>
                </a:lnTo>
                <a:lnTo>
                  <a:pt x="41" y="277"/>
                </a:lnTo>
                <a:lnTo>
                  <a:pt x="46" y="276"/>
                </a:lnTo>
                <a:lnTo>
                  <a:pt x="56" y="279"/>
                </a:lnTo>
                <a:lnTo>
                  <a:pt x="84" y="296"/>
                </a:lnTo>
                <a:lnTo>
                  <a:pt x="99" y="303"/>
                </a:lnTo>
                <a:lnTo>
                  <a:pt x="116" y="308"/>
                </a:lnTo>
                <a:lnTo>
                  <a:pt x="129" y="310"/>
                </a:lnTo>
                <a:lnTo>
                  <a:pt x="137" y="309"/>
                </a:lnTo>
                <a:lnTo>
                  <a:pt x="145" y="306"/>
                </a:lnTo>
                <a:lnTo>
                  <a:pt x="151" y="302"/>
                </a:lnTo>
                <a:lnTo>
                  <a:pt x="168" y="275"/>
                </a:lnTo>
                <a:lnTo>
                  <a:pt x="174" y="258"/>
                </a:lnTo>
                <a:lnTo>
                  <a:pt x="177" y="254"/>
                </a:lnTo>
                <a:lnTo>
                  <a:pt x="181" y="251"/>
                </a:lnTo>
                <a:lnTo>
                  <a:pt x="184" y="251"/>
                </a:lnTo>
                <a:lnTo>
                  <a:pt x="193" y="254"/>
                </a:lnTo>
                <a:lnTo>
                  <a:pt x="196" y="253"/>
                </a:lnTo>
                <a:lnTo>
                  <a:pt x="197" y="249"/>
                </a:lnTo>
                <a:lnTo>
                  <a:pt x="197" y="238"/>
                </a:lnTo>
                <a:lnTo>
                  <a:pt x="197" y="232"/>
                </a:lnTo>
                <a:lnTo>
                  <a:pt x="199" y="228"/>
                </a:lnTo>
                <a:lnTo>
                  <a:pt x="220" y="219"/>
                </a:lnTo>
                <a:lnTo>
                  <a:pt x="227" y="215"/>
                </a:lnTo>
                <a:lnTo>
                  <a:pt x="233" y="210"/>
                </a:lnTo>
                <a:lnTo>
                  <a:pt x="235" y="204"/>
                </a:lnTo>
                <a:lnTo>
                  <a:pt x="235" y="193"/>
                </a:lnTo>
                <a:lnTo>
                  <a:pt x="236" y="189"/>
                </a:lnTo>
                <a:lnTo>
                  <a:pt x="239" y="185"/>
                </a:lnTo>
                <a:lnTo>
                  <a:pt x="243" y="181"/>
                </a:lnTo>
                <a:lnTo>
                  <a:pt x="246" y="176"/>
                </a:lnTo>
                <a:lnTo>
                  <a:pt x="246" y="166"/>
                </a:lnTo>
                <a:lnTo>
                  <a:pt x="239" y="153"/>
                </a:lnTo>
                <a:lnTo>
                  <a:pt x="240" y="150"/>
                </a:lnTo>
                <a:lnTo>
                  <a:pt x="241" y="147"/>
                </a:lnTo>
                <a:lnTo>
                  <a:pt x="242" y="143"/>
                </a:lnTo>
                <a:lnTo>
                  <a:pt x="243" y="138"/>
                </a:lnTo>
                <a:lnTo>
                  <a:pt x="241" y="134"/>
                </a:lnTo>
                <a:lnTo>
                  <a:pt x="234" y="122"/>
                </a:lnTo>
                <a:lnTo>
                  <a:pt x="224" y="110"/>
                </a:lnTo>
                <a:lnTo>
                  <a:pt x="221" y="104"/>
                </a:lnTo>
                <a:lnTo>
                  <a:pt x="216" y="96"/>
                </a:lnTo>
                <a:lnTo>
                  <a:pt x="216" y="89"/>
                </a:lnTo>
                <a:lnTo>
                  <a:pt x="219" y="79"/>
                </a:lnTo>
                <a:lnTo>
                  <a:pt x="221" y="62"/>
                </a:lnTo>
                <a:lnTo>
                  <a:pt x="222" y="55"/>
                </a:lnTo>
                <a:lnTo>
                  <a:pt x="215" y="8"/>
                </a:lnTo>
                <a:lnTo>
                  <a:pt x="225" y="0"/>
                </a:lnTo>
                <a:lnTo>
                  <a:pt x="235" y="3"/>
                </a:lnTo>
                <a:lnTo>
                  <a:pt x="246" y="7"/>
                </a:lnTo>
                <a:lnTo>
                  <a:pt x="264" y="16"/>
                </a:lnTo>
                <a:lnTo>
                  <a:pt x="284" y="29"/>
                </a:lnTo>
                <a:lnTo>
                  <a:pt x="291" y="3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64463430-7679-1DD0-B948-7ABB2540B165}"/>
              </a:ext>
            </a:extLst>
          </p:cNvPr>
          <p:cNvSpPr>
            <a:spLocks/>
          </p:cNvSpPr>
          <p:nvPr/>
        </p:nvSpPr>
        <p:spPr bwMode="auto">
          <a:xfrm>
            <a:off x="7744962" y="2537203"/>
            <a:ext cx="1115974" cy="952909"/>
          </a:xfrm>
          <a:custGeom>
            <a:avLst/>
            <a:gdLst>
              <a:gd name="T0" fmla="*/ 616 w 942"/>
              <a:gd name="T1" fmla="*/ 61 h 850"/>
              <a:gd name="T2" fmla="*/ 637 w 942"/>
              <a:gd name="T3" fmla="*/ 47 h 850"/>
              <a:gd name="T4" fmla="*/ 666 w 942"/>
              <a:gd name="T5" fmla="*/ 56 h 850"/>
              <a:gd name="T6" fmla="*/ 665 w 942"/>
              <a:gd name="T7" fmla="*/ 75 h 850"/>
              <a:gd name="T8" fmla="*/ 666 w 942"/>
              <a:gd name="T9" fmla="*/ 101 h 850"/>
              <a:gd name="T10" fmla="*/ 727 w 942"/>
              <a:gd name="T11" fmla="*/ 113 h 850"/>
              <a:gd name="T12" fmla="*/ 772 w 942"/>
              <a:gd name="T13" fmla="*/ 108 h 850"/>
              <a:gd name="T14" fmla="*/ 774 w 942"/>
              <a:gd name="T15" fmla="*/ 163 h 850"/>
              <a:gd name="T16" fmla="*/ 790 w 942"/>
              <a:gd name="T17" fmla="*/ 203 h 850"/>
              <a:gd name="T18" fmla="*/ 786 w 942"/>
              <a:gd name="T19" fmla="*/ 242 h 850"/>
              <a:gd name="T20" fmla="*/ 749 w 942"/>
              <a:gd name="T21" fmla="*/ 281 h 850"/>
              <a:gd name="T22" fmla="*/ 734 w 942"/>
              <a:gd name="T23" fmla="*/ 304 h 850"/>
              <a:gd name="T24" fmla="*/ 695 w 942"/>
              <a:gd name="T25" fmla="*/ 359 h 850"/>
              <a:gd name="T26" fmla="*/ 606 w 942"/>
              <a:gd name="T27" fmla="*/ 332 h 850"/>
              <a:gd name="T28" fmla="*/ 587 w 942"/>
              <a:gd name="T29" fmla="*/ 354 h 850"/>
              <a:gd name="T30" fmla="*/ 552 w 942"/>
              <a:gd name="T31" fmla="*/ 391 h 850"/>
              <a:gd name="T32" fmla="*/ 606 w 942"/>
              <a:gd name="T33" fmla="*/ 446 h 850"/>
              <a:gd name="T34" fmla="*/ 634 w 942"/>
              <a:gd name="T35" fmla="*/ 493 h 850"/>
              <a:gd name="T36" fmla="*/ 608 w 942"/>
              <a:gd name="T37" fmla="*/ 554 h 850"/>
              <a:gd name="T38" fmla="*/ 578 w 942"/>
              <a:gd name="T39" fmla="*/ 645 h 850"/>
              <a:gd name="T40" fmla="*/ 643 w 942"/>
              <a:gd name="T41" fmla="*/ 649 h 850"/>
              <a:gd name="T42" fmla="*/ 800 w 942"/>
              <a:gd name="T43" fmla="*/ 577 h 850"/>
              <a:gd name="T44" fmla="*/ 882 w 942"/>
              <a:gd name="T45" fmla="*/ 495 h 850"/>
              <a:gd name="T46" fmla="*/ 840 w 942"/>
              <a:gd name="T47" fmla="*/ 559 h 850"/>
              <a:gd name="T48" fmla="*/ 853 w 942"/>
              <a:gd name="T49" fmla="*/ 603 h 850"/>
              <a:gd name="T50" fmla="*/ 942 w 942"/>
              <a:gd name="T51" fmla="*/ 641 h 850"/>
              <a:gd name="T52" fmla="*/ 931 w 942"/>
              <a:gd name="T53" fmla="*/ 675 h 850"/>
              <a:gd name="T54" fmla="*/ 795 w 942"/>
              <a:gd name="T55" fmla="*/ 715 h 850"/>
              <a:gd name="T56" fmla="*/ 659 w 942"/>
              <a:gd name="T57" fmla="*/ 754 h 850"/>
              <a:gd name="T58" fmla="*/ 536 w 942"/>
              <a:gd name="T59" fmla="*/ 790 h 850"/>
              <a:gd name="T60" fmla="*/ 480 w 942"/>
              <a:gd name="T61" fmla="*/ 803 h 850"/>
              <a:gd name="T62" fmla="*/ 399 w 942"/>
              <a:gd name="T63" fmla="*/ 841 h 850"/>
              <a:gd name="T64" fmla="*/ 369 w 942"/>
              <a:gd name="T65" fmla="*/ 847 h 850"/>
              <a:gd name="T66" fmla="*/ 319 w 942"/>
              <a:gd name="T67" fmla="*/ 841 h 850"/>
              <a:gd name="T68" fmla="*/ 212 w 942"/>
              <a:gd name="T69" fmla="*/ 821 h 850"/>
              <a:gd name="T70" fmla="*/ 157 w 942"/>
              <a:gd name="T71" fmla="*/ 799 h 850"/>
              <a:gd name="T72" fmla="*/ 129 w 942"/>
              <a:gd name="T73" fmla="*/ 789 h 850"/>
              <a:gd name="T74" fmla="*/ 65 w 942"/>
              <a:gd name="T75" fmla="*/ 801 h 850"/>
              <a:gd name="T76" fmla="*/ 74 w 942"/>
              <a:gd name="T77" fmla="*/ 731 h 850"/>
              <a:gd name="T78" fmla="*/ 8 w 942"/>
              <a:gd name="T79" fmla="*/ 658 h 850"/>
              <a:gd name="T80" fmla="*/ 13 w 942"/>
              <a:gd name="T81" fmla="*/ 634 h 850"/>
              <a:gd name="T82" fmla="*/ 34 w 942"/>
              <a:gd name="T83" fmla="*/ 579 h 850"/>
              <a:gd name="T84" fmla="*/ 31 w 942"/>
              <a:gd name="T85" fmla="*/ 479 h 850"/>
              <a:gd name="T86" fmla="*/ 82 w 942"/>
              <a:gd name="T87" fmla="*/ 449 h 850"/>
              <a:gd name="T88" fmla="*/ 121 w 942"/>
              <a:gd name="T89" fmla="*/ 377 h 850"/>
              <a:gd name="T90" fmla="*/ 137 w 942"/>
              <a:gd name="T91" fmla="*/ 324 h 850"/>
              <a:gd name="T92" fmla="*/ 166 w 942"/>
              <a:gd name="T93" fmla="*/ 235 h 850"/>
              <a:gd name="T94" fmla="*/ 185 w 942"/>
              <a:gd name="T95" fmla="*/ 141 h 850"/>
              <a:gd name="T96" fmla="*/ 228 w 942"/>
              <a:gd name="T97" fmla="*/ 145 h 850"/>
              <a:gd name="T98" fmla="*/ 258 w 942"/>
              <a:gd name="T99" fmla="*/ 111 h 850"/>
              <a:gd name="T100" fmla="*/ 298 w 942"/>
              <a:gd name="T101" fmla="*/ 98 h 850"/>
              <a:gd name="T102" fmla="*/ 316 w 942"/>
              <a:gd name="T103" fmla="*/ 58 h 850"/>
              <a:gd name="T104" fmla="*/ 438 w 942"/>
              <a:gd name="T105" fmla="*/ 7 h 850"/>
              <a:gd name="T106" fmla="*/ 442 w 942"/>
              <a:gd name="T107" fmla="*/ 18 h 850"/>
              <a:gd name="T108" fmla="*/ 445 w 942"/>
              <a:gd name="T109" fmla="*/ 52 h 850"/>
              <a:gd name="T110" fmla="*/ 564 w 942"/>
              <a:gd name="T111" fmla="*/ 84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42" h="850">
                <a:moveTo>
                  <a:pt x="571" y="88"/>
                </a:moveTo>
                <a:lnTo>
                  <a:pt x="576" y="87"/>
                </a:lnTo>
                <a:lnTo>
                  <a:pt x="583" y="83"/>
                </a:lnTo>
                <a:lnTo>
                  <a:pt x="597" y="67"/>
                </a:lnTo>
                <a:lnTo>
                  <a:pt x="605" y="63"/>
                </a:lnTo>
                <a:lnTo>
                  <a:pt x="616" y="61"/>
                </a:lnTo>
                <a:lnTo>
                  <a:pt x="622" y="59"/>
                </a:lnTo>
                <a:lnTo>
                  <a:pt x="627" y="56"/>
                </a:lnTo>
                <a:lnTo>
                  <a:pt x="629" y="52"/>
                </a:lnTo>
                <a:lnTo>
                  <a:pt x="631" y="49"/>
                </a:lnTo>
                <a:lnTo>
                  <a:pt x="634" y="48"/>
                </a:lnTo>
                <a:lnTo>
                  <a:pt x="637" y="47"/>
                </a:lnTo>
                <a:lnTo>
                  <a:pt x="646" y="40"/>
                </a:lnTo>
                <a:lnTo>
                  <a:pt x="655" y="37"/>
                </a:lnTo>
                <a:lnTo>
                  <a:pt x="658" y="39"/>
                </a:lnTo>
                <a:lnTo>
                  <a:pt x="661" y="44"/>
                </a:lnTo>
                <a:lnTo>
                  <a:pt x="663" y="51"/>
                </a:lnTo>
                <a:lnTo>
                  <a:pt x="666" y="56"/>
                </a:lnTo>
                <a:lnTo>
                  <a:pt x="668" y="59"/>
                </a:lnTo>
                <a:lnTo>
                  <a:pt x="669" y="62"/>
                </a:lnTo>
                <a:lnTo>
                  <a:pt x="668" y="65"/>
                </a:lnTo>
                <a:lnTo>
                  <a:pt x="666" y="69"/>
                </a:lnTo>
                <a:lnTo>
                  <a:pt x="665" y="72"/>
                </a:lnTo>
                <a:lnTo>
                  <a:pt x="665" y="75"/>
                </a:lnTo>
                <a:lnTo>
                  <a:pt x="668" y="82"/>
                </a:lnTo>
                <a:lnTo>
                  <a:pt x="668" y="85"/>
                </a:lnTo>
                <a:lnTo>
                  <a:pt x="667" y="88"/>
                </a:lnTo>
                <a:lnTo>
                  <a:pt x="666" y="92"/>
                </a:lnTo>
                <a:lnTo>
                  <a:pt x="666" y="97"/>
                </a:lnTo>
                <a:lnTo>
                  <a:pt x="666" y="101"/>
                </a:lnTo>
                <a:lnTo>
                  <a:pt x="667" y="105"/>
                </a:lnTo>
                <a:lnTo>
                  <a:pt x="672" y="108"/>
                </a:lnTo>
                <a:lnTo>
                  <a:pt x="704" y="115"/>
                </a:lnTo>
                <a:lnTo>
                  <a:pt x="715" y="116"/>
                </a:lnTo>
                <a:lnTo>
                  <a:pt x="723" y="115"/>
                </a:lnTo>
                <a:lnTo>
                  <a:pt x="727" y="113"/>
                </a:lnTo>
                <a:lnTo>
                  <a:pt x="732" y="110"/>
                </a:lnTo>
                <a:lnTo>
                  <a:pt x="735" y="104"/>
                </a:lnTo>
                <a:lnTo>
                  <a:pt x="743" y="89"/>
                </a:lnTo>
                <a:lnTo>
                  <a:pt x="748" y="80"/>
                </a:lnTo>
                <a:lnTo>
                  <a:pt x="765" y="61"/>
                </a:lnTo>
                <a:lnTo>
                  <a:pt x="772" y="108"/>
                </a:lnTo>
                <a:lnTo>
                  <a:pt x="771" y="115"/>
                </a:lnTo>
                <a:lnTo>
                  <a:pt x="769" y="132"/>
                </a:lnTo>
                <a:lnTo>
                  <a:pt x="766" y="142"/>
                </a:lnTo>
                <a:lnTo>
                  <a:pt x="766" y="149"/>
                </a:lnTo>
                <a:lnTo>
                  <a:pt x="771" y="157"/>
                </a:lnTo>
                <a:lnTo>
                  <a:pt x="774" y="163"/>
                </a:lnTo>
                <a:lnTo>
                  <a:pt x="784" y="175"/>
                </a:lnTo>
                <a:lnTo>
                  <a:pt x="791" y="187"/>
                </a:lnTo>
                <a:lnTo>
                  <a:pt x="793" y="191"/>
                </a:lnTo>
                <a:lnTo>
                  <a:pt x="792" y="196"/>
                </a:lnTo>
                <a:lnTo>
                  <a:pt x="791" y="200"/>
                </a:lnTo>
                <a:lnTo>
                  <a:pt x="790" y="203"/>
                </a:lnTo>
                <a:lnTo>
                  <a:pt x="789" y="206"/>
                </a:lnTo>
                <a:lnTo>
                  <a:pt x="796" y="219"/>
                </a:lnTo>
                <a:lnTo>
                  <a:pt x="796" y="229"/>
                </a:lnTo>
                <a:lnTo>
                  <a:pt x="793" y="234"/>
                </a:lnTo>
                <a:lnTo>
                  <a:pt x="789" y="238"/>
                </a:lnTo>
                <a:lnTo>
                  <a:pt x="786" y="242"/>
                </a:lnTo>
                <a:lnTo>
                  <a:pt x="785" y="246"/>
                </a:lnTo>
                <a:lnTo>
                  <a:pt x="785" y="257"/>
                </a:lnTo>
                <a:lnTo>
                  <a:pt x="783" y="263"/>
                </a:lnTo>
                <a:lnTo>
                  <a:pt x="777" y="268"/>
                </a:lnTo>
                <a:lnTo>
                  <a:pt x="770" y="272"/>
                </a:lnTo>
                <a:lnTo>
                  <a:pt x="749" y="281"/>
                </a:lnTo>
                <a:lnTo>
                  <a:pt x="747" y="285"/>
                </a:lnTo>
                <a:lnTo>
                  <a:pt x="747" y="291"/>
                </a:lnTo>
                <a:lnTo>
                  <a:pt x="747" y="302"/>
                </a:lnTo>
                <a:lnTo>
                  <a:pt x="746" y="306"/>
                </a:lnTo>
                <a:lnTo>
                  <a:pt x="743" y="307"/>
                </a:lnTo>
                <a:lnTo>
                  <a:pt x="734" y="304"/>
                </a:lnTo>
                <a:lnTo>
                  <a:pt x="731" y="304"/>
                </a:lnTo>
                <a:lnTo>
                  <a:pt x="727" y="307"/>
                </a:lnTo>
                <a:lnTo>
                  <a:pt x="724" y="311"/>
                </a:lnTo>
                <a:lnTo>
                  <a:pt x="718" y="328"/>
                </a:lnTo>
                <a:lnTo>
                  <a:pt x="701" y="355"/>
                </a:lnTo>
                <a:lnTo>
                  <a:pt x="695" y="359"/>
                </a:lnTo>
                <a:lnTo>
                  <a:pt x="687" y="362"/>
                </a:lnTo>
                <a:lnTo>
                  <a:pt x="679" y="363"/>
                </a:lnTo>
                <a:lnTo>
                  <a:pt x="666" y="361"/>
                </a:lnTo>
                <a:lnTo>
                  <a:pt x="649" y="356"/>
                </a:lnTo>
                <a:lnTo>
                  <a:pt x="634" y="349"/>
                </a:lnTo>
                <a:lnTo>
                  <a:pt x="606" y="332"/>
                </a:lnTo>
                <a:lnTo>
                  <a:pt x="596" y="329"/>
                </a:lnTo>
                <a:lnTo>
                  <a:pt x="591" y="330"/>
                </a:lnTo>
                <a:lnTo>
                  <a:pt x="589" y="334"/>
                </a:lnTo>
                <a:lnTo>
                  <a:pt x="588" y="341"/>
                </a:lnTo>
                <a:lnTo>
                  <a:pt x="589" y="348"/>
                </a:lnTo>
                <a:lnTo>
                  <a:pt x="587" y="354"/>
                </a:lnTo>
                <a:lnTo>
                  <a:pt x="581" y="358"/>
                </a:lnTo>
                <a:lnTo>
                  <a:pt x="561" y="371"/>
                </a:lnTo>
                <a:lnTo>
                  <a:pt x="554" y="375"/>
                </a:lnTo>
                <a:lnTo>
                  <a:pt x="551" y="381"/>
                </a:lnTo>
                <a:lnTo>
                  <a:pt x="550" y="386"/>
                </a:lnTo>
                <a:lnTo>
                  <a:pt x="552" y="391"/>
                </a:lnTo>
                <a:lnTo>
                  <a:pt x="559" y="396"/>
                </a:lnTo>
                <a:lnTo>
                  <a:pt x="567" y="398"/>
                </a:lnTo>
                <a:lnTo>
                  <a:pt x="574" y="401"/>
                </a:lnTo>
                <a:lnTo>
                  <a:pt x="580" y="408"/>
                </a:lnTo>
                <a:lnTo>
                  <a:pt x="600" y="432"/>
                </a:lnTo>
                <a:lnTo>
                  <a:pt x="606" y="446"/>
                </a:lnTo>
                <a:lnTo>
                  <a:pt x="610" y="450"/>
                </a:lnTo>
                <a:lnTo>
                  <a:pt x="619" y="455"/>
                </a:lnTo>
                <a:lnTo>
                  <a:pt x="624" y="461"/>
                </a:lnTo>
                <a:lnTo>
                  <a:pt x="629" y="467"/>
                </a:lnTo>
                <a:lnTo>
                  <a:pt x="633" y="485"/>
                </a:lnTo>
                <a:lnTo>
                  <a:pt x="634" y="493"/>
                </a:lnTo>
                <a:lnTo>
                  <a:pt x="632" y="500"/>
                </a:lnTo>
                <a:lnTo>
                  <a:pt x="622" y="512"/>
                </a:lnTo>
                <a:lnTo>
                  <a:pt x="618" y="520"/>
                </a:lnTo>
                <a:lnTo>
                  <a:pt x="613" y="532"/>
                </a:lnTo>
                <a:lnTo>
                  <a:pt x="608" y="544"/>
                </a:lnTo>
                <a:lnTo>
                  <a:pt x="608" y="554"/>
                </a:lnTo>
                <a:lnTo>
                  <a:pt x="614" y="575"/>
                </a:lnTo>
                <a:lnTo>
                  <a:pt x="611" y="584"/>
                </a:lnTo>
                <a:lnTo>
                  <a:pt x="596" y="622"/>
                </a:lnTo>
                <a:lnTo>
                  <a:pt x="591" y="632"/>
                </a:lnTo>
                <a:lnTo>
                  <a:pt x="585" y="639"/>
                </a:lnTo>
                <a:lnTo>
                  <a:pt x="578" y="645"/>
                </a:lnTo>
                <a:lnTo>
                  <a:pt x="578" y="650"/>
                </a:lnTo>
                <a:lnTo>
                  <a:pt x="587" y="656"/>
                </a:lnTo>
                <a:lnTo>
                  <a:pt x="602" y="658"/>
                </a:lnTo>
                <a:lnTo>
                  <a:pt x="618" y="657"/>
                </a:lnTo>
                <a:lnTo>
                  <a:pt x="631" y="655"/>
                </a:lnTo>
                <a:lnTo>
                  <a:pt x="643" y="649"/>
                </a:lnTo>
                <a:lnTo>
                  <a:pt x="645" y="648"/>
                </a:lnTo>
                <a:lnTo>
                  <a:pt x="657" y="644"/>
                </a:lnTo>
                <a:lnTo>
                  <a:pt x="665" y="640"/>
                </a:lnTo>
                <a:lnTo>
                  <a:pt x="771" y="589"/>
                </a:lnTo>
                <a:lnTo>
                  <a:pt x="795" y="580"/>
                </a:lnTo>
                <a:lnTo>
                  <a:pt x="800" y="577"/>
                </a:lnTo>
                <a:lnTo>
                  <a:pt x="809" y="566"/>
                </a:lnTo>
                <a:lnTo>
                  <a:pt x="825" y="533"/>
                </a:lnTo>
                <a:lnTo>
                  <a:pt x="855" y="505"/>
                </a:lnTo>
                <a:lnTo>
                  <a:pt x="865" y="501"/>
                </a:lnTo>
                <a:lnTo>
                  <a:pt x="873" y="495"/>
                </a:lnTo>
                <a:lnTo>
                  <a:pt x="882" y="495"/>
                </a:lnTo>
                <a:lnTo>
                  <a:pt x="888" y="499"/>
                </a:lnTo>
                <a:lnTo>
                  <a:pt x="889" y="503"/>
                </a:lnTo>
                <a:lnTo>
                  <a:pt x="887" y="511"/>
                </a:lnTo>
                <a:lnTo>
                  <a:pt x="880" y="518"/>
                </a:lnTo>
                <a:lnTo>
                  <a:pt x="848" y="549"/>
                </a:lnTo>
                <a:lnTo>
                  <a:pt x="840" y="559"/>
                </a:lnTo>
                <a:lnTo>
                  <a:pt x="836" y="570"/>
                </a:lnTo>
                <a:lnTo>
                  <a:pt x="835" y="581"/>
                </a:lnTo>
                <a:lnTo>
                  <a:pt x="837" y="592"/>
                </a:lnTo>
                <a:lnTo>
                  <a:pt x="840" y="597"/>
                </a:lnTo>
                <a:lnTo>
                  <a:pt x="848" y="601"/>
                </a:lnTo>
                <a:lnTo>
                  <a:pt x="853" y="603"/>
                </a:lnTo>
                <a:lnTo>
                  <a:pt x="858" y="606"/>
                </a:lnTo>
                <a:lnTo>
                  <a:pt x="890" y="627"/>
                </a:lnTo>
                <a:lnTo>
                  <a:pt x="901" y="631"/>
                </a:lnTo>
                <a:lnTo>
                  <a:pt x="929" y="635"/>
                </a:lnTo>
                <a:lnTo>
                  <a:pt x="938" y="637"/>
                </a:lnTo>
                <a:lnTo>
                  <a:pt x="942" y="641"/>
                </a:lnTo>
                <a:lnTo>
                  <a:pt x="942" y="646"/>
                </a:lnTo>
                <a:lnTo>
                  <a:pt x="938" y="652"/>
                </a:lnTo>
                <a:lnTo>
                  <a:pt x="926" y="662"/>
                </a:lnTo>
                <a:lnTo>
                  <a:pt x="925" y="667"/>
                </a:lnTo>
                <a:lnTo>
                  <a:pt x="927" y="672"/>
                </a:lnTo>
                <a:lnTo>
                  <a:pt x="931" y="675"/>
                </a:lnTo>
                <a:lnTo>
                  <a:pt x="936" y="683"/>
                </a:lnTo>
                <a:lnTo>
                  <a:pt x="931" y="698"/>
                </a:lnTo>
                <a:lnTo>
                  <a:pt x="819" y="706"/>
                </a:lnTo>
                <a:lnTo>
                  <a:pt x="810" y="708"/>
                </a:lnTo>
                <a:lnTo>
                  <a:pt x="802" y="711"/>
                </a:lnTo>
                <a:lnTo>
                  <a:pt x="795" y="715"/>
                </a:lnTo>
                <a:lnTo>
                  <a:pt x="779" y="724"/>
                </a:lnTo>
                <a:lnTo>
                  <a:pt x="715" y="744"/>
                </a:lnTo>
                <a:lnTo>
                  <a:pt x="697" y="747"/>
                </a:lnTo>
                <a:lnTo>
                  <a:pt x="674" y="747"/>
                </a:lnTo>
                <a:lnTo>
                  <a:pt x="668" y="749"/>
                </a:lnTo>
                <a:lnTo>
                  <a:pt x="659" y="754"/>
                </a:lnTo>
                <a:lnTo>
                  <a:pt x="600" y="782"/>
                </a:lnTo>
                <a:lnTo>
                  <a:pt x="567" y="785"/>
                </a:lnTo>
                <a:lnTo>
                  <a:pt x="558" y="787"/>
                </a:lnTo>
                <a:lnTo>
                  <a:pt x="550" y="790"/>
                </a:lnTo>
                <a:lnTo>
                  <a:pt x="543" y="791"/>
                </a:lnTo>
                <a:lnTo>
                  <a:pt x="536" y="790"/>
                </a:lnTo>
                <a:lnTo>
                  <a:pt x="526" y="788"/>
                </a:lnTo>
                <a:lnTo>
                  <a:pt x="518" y="789"/>
                </a:lnTo>
                <a:lnTo>
                  <a:pt x="510" y="791"/>
                </a:lnTo>
                <a:lnTo>
                  <a:pt x="500" y="792"/>
                </a:lnTo>
                <a:lnTo>
                  <a:pt x="493" y="796"/>
                </a:lnTo>
                <a:lnTo>
                  <a:pt x="480" y="803"/>
                </a:lnTo>
                <a:lnTo>
                  <a:pt x="472" y="805"/>
                </a:lnTo>
                <a:lnTo>
                  <a:pt x="459" y="810"/>
                </a:lnTo>
                <a:lnTo>
                  <a:pt x="451" y="814"/>
                </a:lnTo>
                <a:lnTo>
                  <a:pt x="425" y="831"/>
                </a:lnTo>
                <a:lnTo>
                  <a:pt x="409" y="840"/>
                </a:lnTo>
                <a:lnTo>
                  <a:pt x="399" y="841"/>
                </a:lnTo>
                <a:lnTo>
                  <a:pt x="391" y="840"/>
                </a:lnTo>
                <a:lnTo>
                  <a:pt x="385" y="836"/>
                </a:lnTo>
                <a:lnTo>
                  <a:pt x="378" y="834"/>
                </a:lnTo>
                <a:lnTo>
                  <a:pt x="375" y="835"/>
                </a:lnTo>
                <a:lnTo>
                  <a:pt x="373" y="837"/>
                </a:lnTo>
                <a:lnTo>
                  <a:pt x="369" y="847"/>
                </a:lnTo>
                <a:lnTo>
                  <a:pt x="365" y="850"/>
                </a:lnTo>
                <a:lnTo>
                  <a:pt x="358" y="849"/>
                </a:lnTo>
                <a:lnTo>
                  <a:pt x="352" y="845"/>
                </a:lnTo>
                <a:lnTo>
                  <a:pt x="345" y="842"/>
                </a:lnTo>
                <a:lnTo>
                  <a:pt x="335" y="841"/>
                </a:lnTo>
                <a:lnTo>
                  <a:pt x="319" y="841"/>
                </a:lnTo>
                <a:lnTo>
                  <a:pt x="271" y="849"/>
                </a:lnTo>
                <a:lnTo>
                  <a:pt x="252" y="850"/>
                </a:lnTo>
                <a:lnTo>
                  <a:pt x="218" y="848"/>
                </a:lnTo>
                <a:lnTo>
                  <a:pt x="218" y="831"/>
                </a:lnTo>
                <a:lnTo>
                  <a:pt x="216" y="825"/>
                </a:lnTo>
                <a:lnTo>
                  <a:pt x="212" y="821"/>
                </a:lnTo>
                <a:lnTo>
                  <a:pt x="189" y="817"/>
                </a:lnTo>
                <a:lnTo>
                  <a:pt x="178" y="814"/>
                </a:lnTo>
                <a:lnTo>
                  <a:pt x="172" y="801"/>
                </a:lnTo>
                <a:lnTo>
                  <a:pt x="169" y="798"/>
                </a:lnTo>
                <a:lnTo>
                  <a:pt x="165" y="798"/>
                </a:lnTo>
                <a:lnTo>
                  <a:pt x="157" y="799"/>
                </a:lnTo>
                <a:lnTo>
                  <a:pt x="154" y="798"/>
                </a:lnTo>
                <a:lnTo>
                  <a:pt x="153" y="791"/>
                </a:lnTo>
                <a:lnTo>
                  <a:pt x="151" y="787"/>
                </a:lnTo>
                <a:lnTo>
                  <a:pt x="148" y="785"/>
                </a:lnTo>
                <a:lnTo>
                  <a:pt x="141" y="786"/>
                </a:lnTo>
                <a:lnTo>
                  <a:pt x="129" y="789"/>
                </a:lnTo>
                <a:lnTo>
                  <a:pt x="124" y="788"/>
                </a:lnTo>
                <a:lnTo>
                  <a:pt x="110" y="785"/>
                </a:lnTo>
                <a:lnTo>
                  <a:pt x="101" y="785"/>
                </a:lnTo>
                <a:lnTo>
                  <a:pt x="92" y="787"/>
                </a:lnTo>
                <a:lnTo>
                  <a:pt x="70" y="801"/>
                </a:lnTo>
                <a:lnTo>
                  <a:pt x="65" y="801"/>
                </a:lnTo>
                <a:lnTo>
                  <a:pt x="63" y="798"/>
                </a:lnTo>
                <a:lnTo>
                  <a:pt x="65" y="790"/>
                </a:lnTo>
                <a:lnTo>
                  <a:pt x="71" y="779"/>
                </a:lnTo>
                <a:lnTo>
                  <a:pt x="73" y="772"/>
                </a:lnTo>
                <a:lnTo>
                  <a:pt x="74" y="763"/>
                </a:lnTo>
                <a:lnTo>
                  <a:pt x="74" y="731"/>
                </a:lnTo>
                <a:lnTo>
                  <a:pt x="72" y="721"/>
                </a:lnTo>
                <a:lnTo>
                  <a:pt x="65" y="710"/>
                </a:lnTo>
                <a:lnTo>
                  <a:pt x="48" y="689"/>
                </a:lnTo>
                <a:lnTo>
                  <a:pt x="34" y="667"/>
                </a:lnTo>
                <a:lnTo>
                  <a:pt x="23" y="660"/>
                </a:lnTo>
                <a:lnTo>
                  <a:pt x="8" y="658"/>
                </a:lnTo>
                <a:lnTo>
                  <a:pt x="3" y="654"/>
                </a:lnTo>
                <a:lnTo>
                  <a:pt x="0" y="649"/>
                </a:lnTo>
                <a:lnTo>
                  <a:pt x="3" y="645"/>
                </a:lnTo>
                <a:lnTo>
                  <a:pt x="6" y="643"/>
                </a:lnTo>
                <a:lnTo>
                  <a:pt x="10" y="640"/>
                </a:lnTo>
                <a:lnTo>
                  <a:pt x="13" y="634"/>
                </a:lnTo>
                <a:lnTo>
                  <a:pt x="16" y="629"/>
                </a:lnTo>
                <a:lnTo>
                  <a:pt x="16" y="619"/>
                </a:lnTo>
                <a:lnTo>
                  <a:pt x="17" y="612"/>
                </a:lnTo>
                <a:lnTo>
                  <a:pt x="20" y="604"/>
                </a:lnTo>
                <a:lnTo>
                  <a:pt x="26" y="593"/>
                </a:lnTo>
                <a:lnTo>
                  <a:pt x="34" y="579"/>
                </a:lnTo>
                <a:lnTo>
                  <a:pt x="36" y="566"/>
                </a:lnTo>
                <a:lnTo>
                  <a:pt x="36" y="552"/>
                </a:lnTo>
                <a:lnTo>
                  <a:pt x="32" y="528"/>
                </a:lnTo>
                <a:lnTo>
                  <a:pt x="25" y="504"/>
                </a:lnTo>
                <a:lnTo>
                  <a:pt x="25" y="497"/>
                </a:lnTo>
                <a:lnTo>
                  <a:pt x="31" y="479"/>
                </a:lnTo>
                <a:lnTo>
                  <a:pt x="45" y="473"/>
                </a:lnTo>
                <a:lnTo>
                  <a:pt x="52" y="471"/>
                </a:lnTo>
                <a:lnTo>
                  <a:pt x="70" y="467"/>
                </a:lnTo>
                <a:lnTo>
                  <a:pt x="75" y="464"/>
                </a:lnTo>
                <a:lnTo>
                  <a:pt x="79" y="459"/>
                </a:lnTo>
                <a:lnTo>
                  <a:pt x="82" y="449"/>
                </a:lnTo>
                <a:lnTo>
                  <a:pt x="84" y="432"/>
                </a:lnTo>
                <a:lnTo>
                  <a:pt x="88" y="422"/>
                </a:lnTo>
                <a:lnTo>
                  <a:pt x="95" y="413"/>
                </a:lnTo>
                <a:lnTo>
                  <a:pt x="107" y="401"/>
                </a:lnTo>
                <a:lnTo>
                  <a:pt x="114" y="390"/>
                </a:lnTo>
                <a:lnTo>
                  <a:pt x="121" y="377"/>
                </a:lnTo>
                <a:lnTo>
                  <a:pt x="122" y="369"/>
                </a:lnTo>
                <a:lnTo>
                  <a:pt x="121" y="361"/>
                </a:lnTo>
                <a:lnTo>
                  <a:pt x="123" y="355"/>
                </a:lnTo>
                <a:lnTo>
                  <a:pt x="125" y="347"/>
                </a:lnTo>
                <a:lnTo>
                  <a:pt x="134" y="333"/>
                </a:lnTo>
                <a:lnTo>
                  <a:pt x="137" y="324"/>
                </a:lnTo>
                <a:lnTo>
                  <a:pt x="138" y="318"/>
                </a:lnTo>
                <a:lnTo>
                  <a:pt x="128" y="299"/>
                </a:lnTo>
                <a:lnTo>
                  <a:pt x="131" y="290"/>
                </a:lnTo>
                <a:lnTo>
                  <a:pt x="139" y="277"/>
                </a:lnTo>
                <a:lnTo>
                  <a:pt x="157" y="252"/>
                </a:lnTo>
                <a:lnTo>
                  <a:pt x="166" y="235"/>
                </a:lnTo>
                <a:lnTo>
                  <a:pt x="170" y="220"/>
                </a:lnTo>
                <a:lnTo>
                  <a:pt x="173" y="160"/>
                </a:lnTo>
                <a:lnTo>
                  <a:pt x="172" y="152"/>
                </a:lnTo>
                <a:lnTo>
                  <a:pt x="174" y="148"/>
                </a:lnTo>
                <a:lnTo>
                  <a:pt x="177" y="142"/>
                </a:lnTo>
                <a:lnTo>
                  <a:pt x="185" y="141"/>
                </a:lnTo>
                <a:lnTo>
                  <a:pt x="190" y="140"/>
                </a:lnTo>
                <a:lnTo>
                  <a:pt x="206" y="135"/>
                </a:lnTo>
                <a:lnTo>
                  <a:pt x="212" y="135"/>
                </a:lnTo>
                <a:lnTo>
                  <a:pt x="216" y="137"/>
                </a:lnTo>
                <a:lnTo>
                  <a:pt x="224" y="143"/>
                </a:lnTo>
                <a:lnTo>
                  <a:pt x="228" y="145"/>
                </a:lnTo>
                <a:lnTo>
                  <a:pt x="232" y="144"/>
                </a:lnTo>
                <a:lnTo>
                  <a:pt x="241" y="141"/>
                </a:lnTo>
                <a:lnTo>
                  <a:pt x="246" y="136"/>
                </a:lnTo>
                <a:lnTo>
                  <a:pt x="254" y="123"/>
                </a:lnTo>
                <a:lnTo>
                  <a:pt x="256" y="115"/>
                </a:lnTo>
                <a:lnTo>
                  <a:pt x="258" y="111"/>
                </a:lnTo>
                <a:lnTo>
                  <a:pt x="260" y="109"/>
                </a:lnTo>
                <a:lnTo>
                  <a:pt x="267" y="109"/>
                </a:lnTo>
                <a:lnTo>
                  <a:pt x="281" y="113"/>
                </a:lnTo>
                <a:lnTo>
                  <a:pt x="287" y="113"/>
                </a:lnTo>
                <a:lnTo>
                  <a:pt x="291" y="110"/>
                </a:lnTo>
                <a:lnTo>
                  <a:pt x="298" y="98"/>
                </a:lnTo>
                <a:lnTo>
                  <a:pt x="302" y="93"/>
                </a:lnTo>
                <a:lnTo>
                  <a:pt x="306" y="92"/>
                </a:lnTo>
                <a:lnTo>
                  <a:pt x="309" y="89"/>
                </a:lnTo>
                <a:lnTo>
                  <a:pt x="311" y="82"/>
                </a:lnTo>
                <a:lnTo>
                  <a:pt x="312" y="64"/>
                </a:lnTo>
                <a:lnTo>
                  <a:pt x="316" y="58"/>
                </a:lnTo>
                <a:lnTo>
                  <a:pt x="320" y="53"/>
                </a:lnTo>
                <a:lnTo>
                  <a:pt x="344" y="45"/>
                </a:lnTo>
                <a:lnTo>
                  <a:pt x="391" y="21"/>
                </a:lnTo>
                <a:lnTo>
                  <a:pt x="400" y="15"/>
                </a:lnTo>
                <a:lnTo>
                  <a:pt x="408" y="0"/>
                </a:lnTo>
                <a:lnTo>
                  <a:pt x="438" y="7"/>
                </a:lnTo>
                <a:lnTo>
                  <a:pt x="445" y="11"/>
                </a:lnTo>
                <a:lnTo>
                  <a:pt x="445" y="12"/>
                </a:lnTo>
                <a:lnTo>
                  <a:pt x="445" y="13"/>
                </a:lnTo>
                <a:lnTo>
                  <a:pt x="444" y="15"/>
                </a:lnTo>
                <a:lnTo>
                  <a:pt x="444" y="17"/>
                </a:lnTo>
                <a:lnTo>
                  <a:pt x="442" y="18"/>
                </a:lnTo>
                <a:lnTo>
                  <a:pt x="442" y="19"/>
                </a:lnTo>
                <a:lnTo>
                  <a:pt x="441" y="20"/>
                </a:lnTo>
                <a:lnTo>
                  <a:pt x="440" y="21"/>
                </a:lnTo>
                <a:lnTo>
                  <a:pt x="440" y="24"/>
                </a:lnTo>
                <a:lnTo>
                  <a:pt x="440" y="31"/>
                </a:lnTo>
                <a:lnTo>
                  <a:pt x="445" y="52"/>
                </a:lnTo>
                <a:lnTo>
                  <a:pt x="449" y="65"/>
                </a:lnTo>
                <a:lnTo>
                  <a:pt x="458" y="72"/>
                </a:lnTo>
                <a:lnTo>
                  <a:pt x="470" y="74"/>
                </a:lnTo>
                <a:lnTo>
                  <a:pt x="537" y="76"/>
                </a:lnTo>
                <a:lnTo>
                  <a:pt x="555" y="80"/>
                </a:lnTo>
                <a:lnTo>
                  <a:pt x="564" y="84"/>
                </a:lnTo>
                <a:lnTo>
                  <a:pt x="571" y="8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58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D6361F3-417B-D566-16FD-5A6D99AD4505}"/>
              </a:ext>
            </a:extLst>
          </p:cNvPr>
          <p:cNvSpPr>
            <a:spLocks/>
          </p:cNvSpPr>
          <p:nvPr/>
        </p:nvSpPr>
        <p:spPr bwMode="auto">
          <a:xfrm>
            <a:off x="7348092" y="3648183"/>
            <a:ext cx="1803092" cy="1602008"/>
          </a:xfrm>
          <a:custGeom>
            <a:avLst/>
            <a:gdLst>
              <a:gd name="T0" fmla="*/ 689 w 1522"/>
              <a:gd name="T1" fmla="*/ 147 h 1429"/>
              <a:gd name="T2" fmla="*/ 720 w 1522"/>
              <a:gd name="T3" fmla="*/ 247 h 1429"/>
              <a:gd name="T4" fmla="*/ 739 w 1522"/>
              <a:gd name="T5" fmla="*/ 312 h 1429"/>
              <a:gd name="T6" fmla="*/ 806 w 1522"/>
              <a:gd name="T7" fmla="*/ 345 h 1429"/>
              <a:gd name="T8" fmla="*/ 836 w 1522"/>
              <a:gd name="T9" fmla="*/ 389 h 1429"/>
              <a:gd name="T10" fmla="*/ 1218 w 1522"/>
              <a:gd name="T11" fmla="*/ 580 h 1429"/>
              <a:gd name="T12" fmla="*/ 1273 w 1522"/>
              <a:gd name="T13" fmla="*/ 653 h 1429"/>
              <a:gd name="T14" fmla="*/ 1305 w 1522"/>
              <a:gd name="T15" fmla="*/ 709 h 1429"/>
              <a:gd name="T16" fmla="*/ 1413 w 1522"/>
              <a:gd name="T17" fmla="*/ 725 h 1429"/>
              <a:gd name="T18" fmla="*/ 1499 w 1522"/>
              <a:gd name="T19" fmla="*/ 752 h 1429"/>
              <a:gd name="T20" fmla="*/ 1450 w 1522"/>
              <a:gd name="T21" fmla="*/ 775 h 1429"/>
              <a:gd name="T22" fmla="*/ 1029 w 1522"/>
              <a:gd name="T23" fmla="*/ 923 h 1429"/>
              <a:gd name="T24" fmla="*/ 732 w 1522"/>
              <a:gd name="T25" fmla="*/ 1027 h 1429"/>
              <a:gd name="T26" fmla="*/ 561 w 1522"/>
              <a:gd name="T27" fmla="*/ 1205 h 1429"/>
              <a:gd name="T28" fmla="*/ 500 w 1522"/>
              <a:gd name="T29" fmla="*/ 1299 h 1429"/>
              <a:gd name="T30" fmla="*/ 522 w 1522"/>
              <a:gd name="T31" fmla="*/ 1361 h 1429"/>
              <a:gd name="T32" fmla="*/ 473 w 1522"/>
              <a:gd name="T33" fmla="*/ 1368 h 1429"/>
              <a:gd name="T34" fmla="*/ 408 w 1522"/>
              <a:gd name="T35" fmla="*/ 1298 h 1429"/>
              <a:gd name="T36" fmla="*/ 393 w 1522"/>
              <a:gd name="T37" fmla="*/ 1339 h 1429"/>
              <a:gd name="T38" fmla="*/ 247 w 1522"/>
              <a:gd name="T39" fmla="*/ 1404 h 1429"/>
              <a:gd name="T40" fmla="*/ 189 w 1522"/>
              <a:gd name="T41" fmla="*/ 1406 h 1429"/>
              <a:gd name="T42" fmla="*/ 169 w 1522"/>
              <a:gd name="T43" fmla="*/ 1428 h 1429"/>
              <a:gd name="T44" fmla="*/ 81 w 1522"/>
              <a:gd name="T45" fmla="*/ 1407 h 1429"/>
              <a:gd name="T46" fmla="*/ 65 w 1522"/>
              <a:gd name="T47" fmla="*/ 1387 h 1429"/>
              <a:gd name="T48" fmla="*/ 50 w 1522"/>
              <a:gd name="T49" fmla="*/ 1363 h 1429"/>
              <a:gd name="T50" fmla="*/ 49 w 1522"/>
              <a:gd name="T51" fmla="*/ 1328 h 1429"/>
              <a:gd name="T52" fmla="*/ 65 w 1522"/>
              <a:gd name="T53" fmla="*/ 1306 h 1429"/>
              <a:gd name="T54" fmla="*/ 1 w 1522"/>
              <a:gd name="T55" fmla="*/ 1239 h 1429"/>
              <a:gd name="T56" fmla="*/ 148 w 1522"/>
              <a:gd name="T57" fmla="*/ 1133 h 1429"/>
              <a:gd name="T58" fmla="*/ 189 w 1522"/>
              <a:gd name="T59" fmla="*/ 1067 h 1429"/>
              <a:gd name="T60" fmla="*/ 214 w 1522"/>
              <a:gd name="T61" fmla="*/ 994 h 1429"/>
              <a:gd name="T62" fmla="*/ 242 w 1522"/>
              <a:gd name="T63" fmla="*/ 913 h 1429"/>
              <a:gd name="T64" fmla="*/ 252 w 1522"/>
              <a:gd name="T65" fmla="*/ 852 h 1429"/>
              <a:gd name="T66" fmla="*/ 349 w 1522"/>
              <a:gd name="T67" fmla="*/ 790 h 1429"/>
              <a:gd name="T68" fmla="*/ 319 w 1522"/>
              <a:gd name="T69" fmla="*/ 753 h 1429"/>
              <a:gd name="T70" fmla="*/ 290 w 1522"/>
              <a:gd name="T71" fmla="*/ 762 h 1429"/>
              <a:gd name="T72" fmla="*/ 274 w 1522"/>
              <a:gd name="T73" fmla="*/ 788 h 1429"/>
              <a:gd name="T74" fmla="*/ 264 w 1522"/>
              <a:gd name="T75" fmla="*/ 747 h 1429"/>
              <a:gd name="T76" fmla="*/ 278 w 1522"/>
              <a:gd name="T77" fmla="*/ 746 h 1429"/>
              <a:gd name="T78" fmla="*/ 304 w 1522"/>
              <a:gd name="T79" fmla="*/ 695 h 1429"/>
              <a:gd name="T80" fmla="*/ 309 w 1522"/>
              <a:gd name="T81" fmla="*/ 625 h 1429"/>
              <a:gd name="T82" fmla="*/ 243 w 1522"/>
              <a:gd name="T83" fmla="*/ 578 h 1429"/>
              <a:gd name="T84" fmla="*/ 276 w 1522"/>
              <a:gd name="T85" fmla="*/ 531 h 1429"/>
              <a:gd name="T86" fmla="*/ 295 w 1522"/>
              <a:gd name="T87" fmla="*/ 503 h 1429"/>
              <a:gd name="T88" fmla="*/ 313 w 1522"/>
              <a:gd name="T89" fmla="*/ 436 h 1429"/>
              <a:gd name="T90" fmla="*/ 323 w 1522"/>
              <a:gd name="T91" fmla="*/ 399 h 1429"/>
              <a:gd name="T92" fmla="*/ 306 w 1522"/>
              <a:gd name="T93" fmla="*/ 359 h 1429"/>
              <a:gd name="T94" fmla="*/ 352 w 1522"/>
              <a:gd name="T95" fmla="*/ 281 h 1429"/>
              <a:gd name="T96" fmla="*/ 340 w 1522"/>
              <a:gd name="T97" fmla="*/ 227 h 1429"/>
              <a:gd name="T98" fmla="*/ 330 w 1522"/>
              <a:gd name="T99" fmla="*/ 181 h 1429"/>
              <a:gd name="T100" fmla="*/ 347 w 1522"/>
              <a:gd name="T101" fmla="*/ 155 h 1429"/>
              <a:gd name="T102" fmla="*/ 385 w 1522"/>
              <a:gd name="T103" fmla="*/ 122 h 1429"/>
              <a:gd name="T104" fmla="*/ 386 w 1522"/>
              <a:gd name="T105" fmla="*/ 78 h 1429"/>
              <a:gd name="T106" fmla="*/ 413 w 1522"/>
              <a:gd name="T107" fmla="*/ 32 h 1429"/>
              <a:gd name="T108" fmla="*/ 485 w 1522"/>
              <a:gd name="T109" fmla="*/ 22 h 1429"/>
              <a:gd name="T110" fmla="*/ 561 w 1522"/>
              <a:gd name="T111" fmla="*/ 19 h 1429"/>
              <a:gd name="T112" fmla="*/ 611 w 1522"/>
              <a:gd name="T113" fmla="*/ 124 h 1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22" h="1429">
                <a:moveTo>
                  <a:pt x="625" y="147"/>
                </a:moveTo>
                <a:lnTo>
                  <a:pt x="635" y="146"/>
                </a:lnTo>
                <a:lnTo>
                  <a:pt x="666" y="139"/>
                </a:lnTo>
                <a:lnTo>
                  <a:pt x="679" y="141"/>
                </a:lnTo>
                <a:lnTo>
                  <a:pt x="689" y="147"/>
                </a:lnTo>
                <a:lnTo>
                  <a:pt x="696" y="162"/>
                </a:lnTo>
                <a:lnTo>
                  <a:pt x="705" y="207"/>
                </a:lnTo>
                <a:lnTo>
                  <a:pt x="718" y="226"/>
                </a:lnTo>
                <a:lnTo>
                  <a:pt x="720" y="232"/>
                </a:lnTo>
                <a:lnTo>
                  <a:pt x="720" y="247"/>
                </a:lnTo>
                <a:lnTo>
                  <a:pt x="722" y="255"/>
                </a:lnTo>
                <a:lnTo>
                  <a:pt x="732" y="273"/>
                </a:lnTo>
                <a:lnTo>
                  <a:pt x="735" y="281"/>
                </a:lnTo>
                <a:lnTo>
                  <a:pt x="737" y="302"/>
                </a:lnTo>
                <a:lnTo>
                  <a:pt x="739" y="312"/>
                </a:lnTo>
                <a:lnTo>
                  <a:pt x="745" y="319"/>
                </a:lnTo>
                <a:lnTo>
                  <a:pt x="757" y="326"/>
                </a:lnTo>
                <a:lnTo>
                  <a:pt x="784" y="332"/>
                </a:lnTo>
                <a:lnTo>
                  <a:pt x="797" y="337"/>
                </a:lnTo>
                <a:lnTo>
                  <a:pt x="806" y="345"/>
                </a:lnTo>
                <a:lnTo>
                  <a:pt x="809" y="355"/>
                </a:lnTo>
                <a:lnTo>
                  <a:pt x="812" y="367"/>
                </a:lnTo>
                <a:lnTo>
                  <a:pt x="816" y="377"/>
                </a:lnTo>
                <a:lnTo>
                  <a:pt x="825" y="385"/>
                </a:lnTo>
                <a:lnTo>
                  <a:pt x="836" y="389"/>
                </a:lnTo>
                <a:lnTo>
                  <a:pt x="859" y="395"/>
                </a:lnTo>
                <a:lnTo>
                  <a:pt x="1043" y="473"/>
                </a:lnTo>
                <a:lnTo>
                  <a:pt x="1197" y="573"/>
                </a:lnTo>
                <a:lnTo>
                  <a:pt x="1209" y="576"/>
                </a:lnTo>
                <a:lnTo>
                  <a:pt x="1218" y="580"/>
                </a:lnTo>
                <a:lnTo>
                  <a:pt x="1226" y="590"/>
                </a:lnTo>
                <a:lnTo>
                  <a:pt x="1239" y="612"/>
                </a:lnTo>
                <a:lnTo>
                  <a:pt x="1262" y="640"/>
                </a:lnTo>
                <a:lnTo>
                  <a:pt x="1268" y="650"/>
                </a:lnTo>
                <a:lnTo>
                  <a:pt x="1273" y="653"/>
                </a:lnTo>
                <a:lnTo>
                  <a:pt x="1278" y="658"/>
                </a:lnTo>
                <a:lnTo>
                  <a:pt x="1280" y="664"/>
                </a:lnTo>
                <a:lnTo>
                  <a:pt x="1281" y="667"/>
                </a:lnTo>
                <a:lnTo>
                  <a:pt x="1289" y="690"/>
                </a:lnTo>
                <a:lnTo>
                  <a:pt x="1305" y="709"/>
                </a:lnTo>
                <a:lnTo>
                  <a:pt x="1328" y="723"/>
                </a:lnTo>
                <a:lnTo>
                  <a:pt x="1355" y="732"/>
                </a:lnTo>
                <a:lnTo>
                  <a:pt x="1385" y="731"/>
                </a:lnTo>
                <a:lnTo>
                  <a:pt x="1406" y="725"/>
                </a:lnTo>
                <a:lnTo>
                  <a:pt x="1413" y="725"/>
                </a:lnTo>
                <a:lnTo>
                  <a:pt x="1424" y="733"/>
                </a:lnTo>
                <a:lnTo>
                  <a:pt x="1433" y="738"/>
                </a:lnTo>
                <a:lnTo>
                  <a:pt x="1456" y="743"/>
                </a:lnTo>
                <a:lnTo>
                  <a:pt x="1484" y="757"/>
                </a:lnTo>
                <a:lnTo>
                  <a:pt x="1499" y="752"/>
                </a:lnTo>
                <a:lnTo>
                  <a:pt x="1512" y="746"/>
                </a:lnTo>
                <a:lnTo>
                  <a:pt x="1522" y="748"/>
                </a:lnTo>
                <a:lnTo>
                  <a:pt x="1522" y="748"/>
                </a:lnTo>
                <a:lnTo>
                  <a:pt x="1512" y="754"/>
                </a:lnTo>
                <a:lnTo>
                  <a:pt x="1450" y="775"/>
                </a:lnTo>
                <a:lnTo>
                  <a:pt x="1366" y="806"/>
                </a:lnTo>
                <a:lnTo>
                  <a:pt x="1282" y="835"/>
                </a:lnTo>
                <a:lnTo>
                  <a:pt x="1198" y="864"/>
                </a:lnTo>
                <a:lnTo>
                  <a:pt x="1113" y="894"/>
                </a:lnTo>
                <a:lnTo>
                  <a:pt x="1029" y="923"/>
                </a:lnTo>
                <a:lnTo>
                  <a:pt x="945" y="953"/>
                </a:lnTo>
                <a:lnTo>
                  <a:pt x="861" y="982"/>
                </a:lnTo>
                <a:lnTo>
                  <a:pt x="776" y="1012"/>
                </a:lnTo>
                <a:lnTo>
                  <a:pt x="758" y="1018"/>
                </a:lnTo>
                <a:lnTo>
                  <a:pt x="732" y="1027"/>
                </a:lnTo>
                <a:lnTo>
                  <a:pt x="720" y="1033"/>
                </a:lnTo>
                <a:lnTo>
                  <a:pt x="670" y="1077"/>
                </a:lnTo>
                <a:lnTo>
                  <a:pt x="603" y="1168"/>
                </a:lnTo>
                <a:lnTo>
                  <a:pt x="570" y="1195"/>
                </a:lnTo>
                <a:lnTo>
                  <a:pt x="561" y="1205"/>
                </a:lnTo>
                <a:lnTo>
                  <a:pt x="540" y="1245"/>
                </a:lnTo>
                <a:lnTo>
                  <a:pt x="531" y="1257"/>
                </a:lnTo>
                <a:lnTo>
                  <a:pt x="508" y="1274"/>
                </a:lnTo>
                <a:lnTo>
                  <a:pt x="500" y="1284"/>
                </a:lnTo>
                <a:lnTo>
                  <a:pt x="500" y="1299"/>
                </a:lnTo>
                <a:lnTo>
                  <a:pt x="508" y="1311"/>
                </a:lnTo>
                <a:lnTo>
                  <a:pt x="517" y="1318"/>
                </a:lnTo>
                <a:lnTo>
                  <a:pt x="526" y="1328"/>
                </a:lnTo>
                <a:lnTo>
                  <a:pt x="528" y="1346"/>
                </a:lnTo>
                <a:lnTo>
                  <a:pt x="522" y="1361"/>
                </a:lnTo>
                <a:lnTo>
                  <a:pt x="511" y="1365"/>
                </a:lnTo>
                <a:lnTo>
                  <a:pt x="499" y="1367"/>
                </a:lnTo>
                <a:lnTo>
                  <a:pt x="489" y="1376"/>
                </a:lnTo>
                <a:lnTo>
                  <a:pt x="479" y="1380"/>
                </a:lnTo>
                <a:lnTo>
                  <a:pt x="473" y="1368"/>
                </a:lnTo>
                <a:lnTo>
                  <a:pt x="464" y="1325"/>
                </a:lnTo>
                <a:lnTo>
                  <a:pt x="459" y="1315"/>
                </a:lnTo>
                <a:lnTo>
                  <a:pt x="450" y="1307"/>
                </a:lnTo>
                <a:lnTo>
                  <a:pt x="422" y="1300"/>
                </a:lnTo>
                <a:lnTo>
                  <a:pt x="408" y="1298"/>
                </a:lnTo>
                <a:lnTo>
                  <a:pt x="396" y="1301"/>
                </a:lnTo>
                <a:lnTo>
                  <a:pt x="388" y="1314"/>
                </a:lnTo>
                <a:lnTo>
                  <a:pt x="390" y="1318"/>
                </a:lnTo>
                <a:lnTo>
                  <a:pt x="394" y="1331"/>
                </a:lnTo>
                <a:lnTo>
                  <a:pt x="393" y="1339"/>
                </a:lnTo>
                <a:lnTo>
                  <a:pt x="388" y="1368"/>
                </a:lnTo>
                <a:lnTo>
                  <a:pt x="380" y="1395"/>
                </a:lnTo>
                <a:lnTo>
                  <a:pt x="379" y="1395"/>
                </a:lnTo>
                <a:lnTo>
                  <a:pt x="295" y="1394"/>
                </a:lnTo>
                <a:lnTo>
                  <a:pt x="247" y="1404"/>
                </a:lnTo>
                <a:lnTo>
                  <a:pt x="234" y="1404"/>
                </a:lnTo>
                <a:lnTo>
                  <a:pt x="208" y="1401"/>
                </a:lnTo>
                <a:lnTo>
                  <a:pt x="199" y="1402"/>
                </a:lnTo>
                <a:lnTo>
                  <a:pt x="193" y="1404"/>
                </a:lnTo>
                <a:lnTo>
                  <a:pt x="189" y="1406"/>
                </a:lnTo>
                <a:lnTo>
                  <a:pt x="187" y="1409"/>
                </a:lnTo>
                <a:lnTo>
                  <a:pt x="180" y="1421"/>
                </a:lnTo>
                <a:lnTo>
                  <a:pt x="177" y="1426"/>
                </a:lnTo>
                <a:lnTo>
                  <a:pt x="173" y="1429"/>
                </a:lnTo>
                <a:lnTo>
                  <a:pt x="169" y="1428"/>
                </a:lnTo>
                <a:lnTo>
                  <a:pt x="157" y="1422"/>
                </a:lnTo>
                <a:lnTo>
                  <a:pt x="150" y="1420"/>
                </a:lnTo>
                <a:lnTo>
                  <a:pt x="127" y="1417"/>
                </a:lnTo>
                <a:lnTo>
                  <a:pt x="99" y="1409"/>
                </a:lnTo>
                <a:lnTo>
                  <a:pt x="81" y="1407"/>
                </a:lnTo>
                <a:lnTo>
                  <a:pt x="73" y="1403"/>
                </a:lnTo>
                <a:lnTo>
                  <a:pt x="70" y="1400"/>
                </a:lnTo>
                <a:lnTo>
                  <a:pt x="69" y="1394"/>
                </a:lnTo>
                <a:lnTo>
                  <a:pt x="67" y="1391"/>
                </a:lnTo>
                <a:lnTo>
                  <a:pt x="65" y="1387"/>
                </a:lnTo>
                <a:lnTo>
                  <a:pt x="59" y="1382"/>
                </a:lnTo>
                <a:lnTo>
                  <a:pt x="56" y="1378"/>
                </a:lnTo>
                <a:lnTo>
                  <a:pt x="53" y="1374"/>
                </a:lnTo>
                <a:lnTo>
                  <a:pt x="52" y="1369"/>
                </a:lnTo>
                <a:lnTo>
                  <a:pt x="50" y="1363"/>
                </a:lnTo>
                <a:lnTo>
                  <a:pt x="49" y="1351"/>
                </a:lnTo>
                <a:lnTo>
                  <a:pt x="46" y="1341"/>
                </a:lnTo>
                <a:lnTo>
                  <a:pt x="46" y="1337"/>
                </a:lnTo>
                <a:lnTo>
                  <a:pt x="46" y="1332"/>
                </a:lnTo>
                <a:lnTo>
                  <a:pt x="49" y="1328"/>
                </a:lnTo>
                <a:lnTo>
                  <a:pt x="53" y="1325"/>
                </a:lnTo>
                <a:lnTo>
                  <a:pt x="60" y="1317"/>
                </a:lnTo>
                <a:lnTo>
                  <a:pt x="63" y="1314"/>
                </a:lnTo>
                <a:lnTo>
                  <a:pt x="65" y="1310"/>
                </a:lnTo>
                <a:lnTo>
                  <a:pt x="65" y="1306"/>
                </a:lnTo>
                <a:lnTo>
                  <a:pt x="62" y="1301"/>
                </a:lnTo>
                <a:lnTo>
                  <a:pt x="58" y="1296"/>
                </a:lnTo>
                <a:lnTo>
                  <a:pt x="3" y="1257"/>
                </a:lnTo>
                <a:lnTo>
                  <a:pt x="0" y="1245"/>
                </a:lnTo>
                <a:lnTo>
                  <a:pt x="1" y="1239"/>
                </a:lnTo>
                <a:lnTo>
                  <a:pt x="4" y="1233"/>
                </a:lnTo>
                <a:lnTo>
                  <a:pt x="86" y="1167"/>
                </a:lnTo>
                <a:lnTo>
                  <a:pt x="99" y="1154"/>
                </a:lnTo>
                <a:lnTo>
                  <a:pt x="125" y="1146"/>
                </a:lnTo>
                <a:lnTo>
                  <a:pt x="148" y="1133"/>
                </a:lnTo>
                <a:lnTo>
                  <a:pt x="164" y="1120"/>
                </a:lnTo>
                <a:lnTo>
                  <a:pt x="182" y="1101"/>
                </a:lnTo>
                <a:lnTo>
                  <a:pt x="188" y="1089"/>
                </a:lnTo>
                <a:lnTo>
                  <a:pt x="190" y="1077"/>
                </a:lnTo>
                <a:lnTo>
                  <a:pt x="189" y="1067"/>
                </a:lnTo>
                <a:lnTo>
                  <a:pt x="189" y="1056"/>
                </a:lnTo>
                <a:lnTo>
                  <a:pt x="192" y="1045"/>
                </a:lnTo>
                <a:lnTo>
                  <a:pt x="208" y="1012"/>
                </a:lnTo>
                <a:lnTo>
                  <a:pt x="210" y="1005"/>
                </a:lnTo>
                <a:lnTo>
                  <a:pt x="214" y="994"/>
                </a:lnTo>
                <a:lnTo>
                  <a:pt x="245" y="942"/>
                </a:lnTo>
                <a:lnTo>
                  <a:pt x="250" y="933"/>
                </a:lnTo>
                <a:lnTo>
                  <a:pt x="250" y="926"/>
                </a:lnTo>
                <a:lnTo>
                  <a:pt x="247" y="920"/>
                </a:lnTo>
                <a:lnTo>
                  <a:pt x="242" y="913"/>
                </a:lnTo>
                <a:lnTo>
                  <a:pt x="237" y="907"/>
                </a:lnTo>
                <a:lnTo>
                  <a:pt x="232" y="901"/>
                </a:lnTo>
                <a:lnTo>
                  <a:pt x="230" y="897"/>
                </a:lnTo>
                <a:lnTo>
                  <a:pt x="231" y="892"/>
                </a:lnTo>
                <a:lnTo>
                  <a:pt x="252" y="852"/>
                </a:lnTo>
                <a:lnTo>
                  <a:pt x="257" y="846"/>
                </a:lnTo>
                <a:lnTo>
                  <a:pt x="265" y="840"/>
                </a:lnTo>
                <a:lnTo>
                  <a:pt x="339" y="803"/>
                </a:lnTo>
                <a:lnTo>
                  <a:pt x="346" y="796"/>
                </a:lnTo>
                <a:lnTo>
                  <a:pt x="349" y="790"/>
                </a:lnTo>
                <a:lnTo>
                  <a:pt x="349" y="784"/>
                </a:lnTo>
                <a:lnTo>
                  <a:pt x="347" y="779"/>
                </a:lnTo>
                <a:lnTo>
                  <a:pt x="345" y="773"/>
                </a:lnTo>
                <a:lnTo>
                  <a:pt x="340" y="768"/>
                </a:lnTo>
                <a:lnTo>
                  <a:pt x="319" y="753"/>
                </a:lnTo>
                <a:lnTo>
                  <a:pt x="315" y="751"/>
                </a:lnTo>
                <a:lnTo>
                  <a:pt x="309" y="751"/>
                </a:lnTo>
                <a:lnTo>
                  <a:pt x="303" y="753"/>
                </a:lnTo>
                <a:lnTo>
                  <a:pt x="296" y="756"/>
                </a:lnTo>
                <a:lnTo>
                  <a:pt x="290" y="762"/>
                </a:lnTo>
                <a:lnTo>
                  <a:pt x="286" y="769"/>
                </a:lnTo>
                <a:lnTo>
                  <a:pt x="283" y="777"/>
                </a:lnTo>
                <a:lnTo>
                  <a:pt x="281" y="783"/>
                </a:lnTo>
                <a:lnTo>
                  <a:pt x="279" y="787"/>
                </a:lnTo>
                <a:lnTo>
                  <a:pt x="274" y="788"/>
                </a:lnTo>
                <a:lnTo>
                  <a:pt x="268" y="785"/>
                </a:lnTo>
                <a:lnTo>
                  <a:pt x="263" y="780"/>
                </a:lnTo>
                <a:lnTo>
                  <a:pt x="261" y="773"/>
                </a:lnTo>
                <a:lnTo>
                  <a:pt x="260" y="767"/>
                </a:lnTo>
                <a:lnTo>
                  <a:pt x="264" y="747"/>
                </a:lnTo>
                <a:lnTo>
                  <a:pt x="268" y="749"/>
                </a:lnTo>
                <a:lnTo>
                  <a:pt x="270" y="749"/>
                </a:lnTo>
                <a:lnTo>
                  <a:pt x="273" y="749"/>
                </a:lnTo>
                <a:lnTo>
                  <a:pt x="275" y="748"/>
                </a:lnTo>
                <a:lnTo>
                  <a:pt x="278" y="746"/>
                </a:lnTo>
                <a:lnTo>
                  <a:pt x="284" y="739"/>
                </a:lnTo>
                <a:lnTo>
                  <a:pt x="301" y="714"/>
                </a:lnTo>
                <a:lnTo>
                  <a:pt x="303" y="708"/>
                </a:lnTo>
                <a:lnTo>
                  <a:pt x="304" y="703"/>
                </a:lnTo>
                <a:lnTo>
                  <a:pt x="304" y="695"/>
                </a:lnTo>
                <a:lnTo>
                  <a:pt x="305" y="689"/>
                </a:lnTo>
                <a:lnTo>
                  <a:pt x="307" y="677"/>
                </a:lnTo>
                <a:lnTo>
                  <a:pt x="306" y="639"/>
                </a:lnTo>
                <a:lnTo>
                  <a:pt x="307" y="631"/>
                </a:lnTo>
                <a:lnTo>
                  <a:pt x="309" y="625"/>
                </a:lnTo>
                <a:lnTo>
                  <a:pt x="305" y="617"/>
                </a:lnTo>
                <a:lnTo>
                  <a:pt x="294" y="610"/>
                </a:lnTo>
                <a:lnTo>
                  <a:pt x="253" y="591"/>
                </a:lnTo>
                <a:lnTo>
                  <a:pt x="244" y="586"/>
                </a:lnTo>
                <a:lnTo>
                  <a:pt x="243" y="578"/>
                </a:lnTo>
                <a:lnTo>
                  <a:pt x="266" y="562"/>
                </a:lnTo>
                <a:lnTo>
                  <a:pt x="270" y="556"/>
                </a:lnTo>
                <a:lnTo>
                  <a:pt x="274" y="547"/>
                </a:lnTo>
                <a:lnTo>
                  <a:pt x="274" y="540"/>
                </a:lnTo>
                <a:lnTo>
                  <a:pt x="276" y="531"/>
                </a:lnTo>
                <a:lnTo>
                  <a:pt x="282" y="524"/>
                </a:lnTo>
                <a:lnTo>
                  <a:pt x="294" y="516"/>
                </a:lnTo>
                <a:lnTo>
                  <a:pt x="297" y="511"/>
                </a:lnTo>
                <a:lnTo>
                  <a:pt x="297" y="507"/>
                </a:lnTo>
                <a:lnTo>
                  <a:pt x="295" y="503"/>
                </a:lnTo>
                <a:lnTo>
                  <a:pt x="294" y="500"/>
                </a:lnTo>
                <a:lnTo>
                  <a:pt x="292" y="474"/>
                </a:lnTo>
                <a:lnTo>
                  <a:pt x="296" y="455"/>
                </a:lnTo>
                <a:lnTo>
                  <a:pt x="303" y="444"/>
                </a:lnTo>
                <a:lnTo>
                  <a:pt x="313" y="436"/>
                </a:lnTo>
                <a:lnTo>
                  <a:pt x="322" y="432"/>
                </a:lnTo>
                <a:lnTo>
                  <a:pt x="331" y="425"/>
                </a:lnTo>
                <a:lnTo>
                  <a:pt x="333" y="420"/>
                </a:lnTo>
                <a:lnTo>
                  <a:pt x="326" y="407"/>
                </a:lnTo>
                <a:lnTo>
                  <a:pt x="323" y="399"/>
                </a:lnTo>
                <a:lnTo>
                  <a:pt x="323" y="383"/>
                </a:lnTo>
                <a:lnTo>
                  <a:pt x="321" y="375"/>
                </a:lnTo>
                <a:lnTo>
                  <a:pt x="316" y="368"/>
                </a:lnTo>
                <a:lnTo>
                  <a:pt x="312" y="365"/>
                </a:lnTo>
                <a:lnTo>
                  <a:pt x="306" y="359"/>
                </a:lnTo>
                <a:lnTo>
                  <a:pt x="304" y="354"/>
                </a:lnTo>
                <a:lnTo>
                  <a:pt x="303" y="346"/>
                </a:lnTo>
                <a:lnTo>
                  <a:pt x="306" y="339"/>
                </a:lnTo>
                <a:lnTo>
                  <a:pt x="325" y="311"/>
                </a:lnTo>
                <a:lnTo>
                  <a:pt x="352" y="281"/>
                </a:lnTo>
                <a:lnTo>
                  <a:pt x="353" y="273"/>
                </a:lnTo>
                <a:lnTo>
                  <a:pt x="348" y="252"/>
                </a:lnTo>
                <a:lnTo>
                  <a:pt x="346" y="236"/>
                </a:lnTo>
                <a:lnTo>
                  <a:pt x="344" y="230"/>
                </a:lnTo>
                <a:lnTo>
                  <a:pt x="340" y="227"/>
                </a:lnTo>
                <a:lnTo>
                  <a:pt x="336" y="223"/>
                </a:lnTo>
                <a:lnTo>
                  <a:pt x="333" y="217"/>
                </a:lnTo>
                <a:lnTo>
                  <a:pt x="331" y="207"/>
                </a:lnTo>
                <a:lnTo>
                  <a:pt x="330" y="195"/>
                </a:lnTo>
                <a:lnTo>
                  <a:pt x="330" y="181"/>
                </a:lnTo>
                <a:lnTo>
                  <a:pt x="331" y="173"/>
                </a:lnTo>
                <a:lnTo>
                  <a:pt x="334" y="167"/>
                </a:lnTo>
                <a:lnTo>
                  <a:pt x="339" y="163"/>
                </a:lnTo>
                <a:lnTo>
                  <a:pt x="343" y="159"/>
                </a:lnTo>
                <a:lnTo>
                  <a:pt x="347" y="155"/>
                </a:lnTo>
                <a:lnTo>
                  <a:pt x="353" y="147"/>
                </a:lnTo>
                <a:lnTo>
                  <a:pt x="357" y="142"/>
                </a:lnTo>
                <a:lnTo>
                  <a:pt x="364" y="136"/>
                </a:lnTo>
                <a:lnTo>
                  <a:pt x="379" y="128"/>
                </a:lnTo>
                <a:lnTo>
                  <a:pt x="385" y="122"/>
                </a:lnTo>
                <a:lnTo>
                  <a:pt x="391" y="117"/>
                </a:lnTo>
                <a:lnTo>
                  <a:pt x="393" y="110"/>
                </a:lnTo>
                <a:lnTo>
                  <a:pt x="394" y="103"/>
                </a:lnTo>
                <a:lnTo>
                  <a:pt x="393" y="96"/>
                </a:lnTo>
                <a:lnTo>
                  <a:pt x="386" y="78"/>
                </a:lnTo>
                <a:lnTo>
                  <a:pt x="386" y="68"/>
                </a:lnTo>
                <a:lnTo>
                  <a:pt x="388" y="62"/>
                </a:lnTo>
                <a:lnTo>
                  <a:pt x="395" y="53"/>
                </a:lnTo>
                <a:lnTo>
                  <a:pt x="406" y="38"/>
                </a:lnTo>
                <a:lnTo>
                  <a:pt x="413" y="32"/>
                </a:lnTo>
                <a:lnTo>
                  <a:pt x="426" y="25"/>
                </a:lnTo>
                <a:lnTo>
                  <a:pt x="435" y="22"/>
                </a:lnTo>
                <a:lnTo>
                  <a:pt x="458" y="27"/>
                </a:lnTo>
                <a:lnTo>
                  <a:pt x="475" y="26"/>
                </a:lnTo>
                <a:lnTo>
                  <a:pt x="485" y="22"/>
                </a:lnTo>
                <a:lnTo>
                  <a:pt x="496" y="18"/>
                </a:lnTo>
                <a:lnTo>
                  <a:pt x="502" y="13"/>
                </a:lnTo>
                <a:lnTo>
                  <a:pt x="515" y="0"/>
                </a:lnTo>
                <a:lnTo>
                  <a:pt x="544" y="5"/>
                </a:lnTo>
                <a:lnTo>
                  <a:pt x="561" y="19"/>
                </a:lnTo>
                <a:lnTo>
                  <a:pt x="570" y="29"/>
                </a:lnTo>
                <a:lnTo>
                  <a:pt x="579" y="39"/>
                </a:lnTo>
                <a:lnTo>
                  <a:pt x="585" y="48"/>
                </a:lnTo>
                <a:lnTo>
                  <a:pt x="605" y="102"/>
                </a:lnTo>
                <a:lnTo>
                  <a:pt x="611" y="124"/>
                </a:lnTo>
                <a:lnTo>
                  <a:pt x="617" y="139"/>
                </a:lnTo>
                <a:lnTo>
                  <a:pt x="625" y="147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1" name="Freeform 15">
            <a:extLst>
              <a:ext uri="{FF2B5EF4-FFF2-40B4-BE49-F238E27FC236}">
                <a16:creationId xmlns:a16="http://schemas.microsoft.com/office/drawing/2014/main" id="{6FD3BDFE-AE37-3E17-6D8E-3CC850459CA8}"/>
              </a:ext>
            </a:extLst>
          </p:cNvPr>
          <p:cNvSpPr>
            <a:spLocks/>
          </p:cNvSpPr>
          <p:nvPr/>
        </p:nvSpPr>
        <p:spPr bwMode="auto">
          <a:xfrm>
            <a:off x="5783123" y="2280478"/>
            <a:ext cx="1197717" cy="1663667"/>
          </a:xfrm>
          <a:custGeom>
            <a:avLst/>
            <a:gdLst>
              <a:gd name="T0" fmla="*/ 843 w 1011"/>
              <a:gd name="T1" fmla="*/ 134 h 1484"/>
              <a:gd name="T2" fmla="*/ 853 w 1011"/>
              <a:gd name="T3" fmla="*/ 152 h 1484"/>
              <a:gd name="T4" fmla="*/ 890 w 1011"/>
              <a:gd name="T5" fmla="*/ 170 h 1484"/>
              <a:gd name="T6" fmla="*/ 885 w 1011"/>
              <a:gd name="T7" fmla="*/ 194 h 1484"/>
              <a:gd name="T8" fmla="*/ 879 w 1011"/>
              <a:gd name="T9" fmla="*/ 210 h 1484"/>
              <a:gd name="T10" fmla="*/ 869 w 1011"/>
              <a:gd name="T11" fmla="*/ 220 h 1484"/>
              <a:gd name="T12" fmla="*/ 884 w 1011"/>
              <a:gd name="T13" fmla="*/ 260 h 1484"/>
              <a:gd name="T14" fmla="*/ 893 w 1011"/>
              <a:gd name="T15" fmla="*/ 304 h 1484"/>
              <a:gd name="T16" fmla="*/ 954 w 1011"/>
              <a:gd name="T17" fmla="*/ 361 h 1484"/>
              <a:gd name="T18" fmla="*/ 1006 w 1011"/>
              <a:gd name="T19" fmla="*/ 388 h 1484"/>
              <a:gd name="T20" fmla="*/ 973 w 1011"/>
              <a:gd name="T21" fmla="*/ 600 h 1484"/>
              <a:gd name="T22" fmla="*/ 915 w 1011"/>
              <a:gd name="T23" fmla="*/ 721 h 1484"/>
              <a:gd name="T24" fmla="*/ 824 w 1011"/>
              <a:gd name="T25" fmla="*/ 826 h 1484"/>
              <a:gd name="T26" fmla="*/ 765 w 1011"/>
              <a:gd name="T27" fmla="*/ 899 h 1484"/>
              <a:gd name="T28" fmla="*/ 744 w 1011"/>
              <a:gd name="T29" fmla="*/ 936 h 1484"/>
              <a:gd name="T30" fmla="*/ 655 w 1011"/>
              <a:gd name="T31" fmla="*/ 1016 h 1484"/>
              <a:gd name="T32" fmla="*/ 630 w 1011"/>
              <a:gd name="T33" fmla="*/ 999 h 1484"/>
              <a:gd name="T34" fmla="*/ 598 w 1011"/>
              <a:gd name="T35" fmla="*/ 1066 h 1484"/>
              <a:gd name="T36" fmla="*/ 524 w 1011"/>
              <a:gd name="T37" fmla="*/ 1167 h 1484"/>
              <a:gd name="T38" fmla="*/ 488 w 1011"/>
              <a:gd name="T39" fmla="*/ 1203 h 1484"/>
              <a:gd name="T40" fmla="*/ 491 w 1011"/>
              <a:gd name="T41" fmla="*/ 1268 h 1484"/>
              <a:gd name="T42" fmla="*/ 434 w 1011"/>
              <a:gd name="T43" fmla="*/ 1318 h 1484"/>
              <a:gd name="T44" fmla="*/ 460 w 1011"/>
              <a:gd name="T45" fmla="*/ 1343 h 1484"/>
              <a:gd name="T46" fmla="*/ 417 w 1011"/>
              <a:gd name="T47" fmla="*/ 1387 h 1484"/>
              <a:gd name="T48" fmla="*/ 381 w 1011"/>
              <a:gd name="T49" fmla="*/ 1396 h 1484"/>
              <a:gd name="T50" fmla="*/ 339 w 1011"/>
              <a:gd name="T51" fmla="*/ 1435 h 1484"/>
              <a:gd name="T52" fmla="*/ 324 w 1011"/>
              <a:gd name="T53" fmla="*/ 1476 h 1484"/>
              <a:gd name="T54" fmla="*/ 237 w 1011"/>
              <a:gd name="T55" fmla="*/ 1467 h 1484"/>
              <a:gd name="T56" fmla="*/ 252 w 1011"/>
              <a:gd name="T57" fmla="*/ 1407 h 1484"/>
              <a:gd name="T58" fmla="*/ 236 w 1011"/>
              <a:gd name="T59" fmla="*/ 1367 h 1484"/>
              <a:gd name="T60" fmla="*/ 101 w 1011"/>
              <a:gd name="T61" fmla="*/ 1370 h 1484"/>
              <a:gd name="T62" fmla="*/ 41 w 1011"/>
              <a:gd name="T63" fmla="*/ 1324 h 1484"/>
              <a:gd name="T64" fmla="*/ 78 w 1011"/>
              <a:gd name="T65" fmla="*/ 1242 h 1484"/>
              <a:gd name="T66" fmla="*/ 102 w 1011"/>
              <a:gd name="T67" fmla="*/ 1182 h 1484"/>
              <a:gd name="T68" fmla="*/ 9 w 1011"/>
              <a:gd name="T69" fmla="*/ 983 h 1484"/>
              <a:gd name="T70" fmla="*/ 41 w 1011"/>
              <a:gd name="T71" fmla="*/ 912 h 1484"/>
              <a:gd name="T72" fmla="*/ 95 w 1011"/>
              <a:gd name="T73" fmla="*/ 882 h 1484"/>
              <a:gd name="T74" fmla="*/ 150 w 1011"/>
              <a:gd name="T75" fmla="*/ 886 h 1484"/>
              <a:gd name="T76" fmla="*/ 200 w 1011"/>
              <a:gd name="T77" fmla="*/ 881 h 1484"/>
              <a:gd name="T78" fmla="*/ 280 w 1011"/>
              <a:gd name="T79" fmla="*/ 714 h 1484"/>
              <a:gd name="T80" fmla="*/ 332 w 1011"/>
              <a:gd name="T81" fmla="*/ 669 h 1484"/>
              <a:gd name="T82" fmla="*/ 374 w 1011"/>
              <a:gd name="T83" fmla="*/ 677 h 1484"/>
              <a:gd name="T84" fmla="*/ 319 w 1011"/>
              <a:gd name="T85" fmla="*/ 607 h 1484"/>
              <a:gd name="T86" fmla="*/ 302 w 1011"/>
              <a:gd name="T87" fmla="*/ 495 h 1484"/>
              <a:gd name="T88" fmla="*/ 379 w 1011"/>
              <a:gd name="T89" fmla="*/ 395 h 1484"/>
              <a:gd name="T90" fmla="*/ 498 w 1011"/>
              <a:gd name="T91" fmla="*/ 301 h 1484"/>
              <a:gd name="T92" fmla="*/ 569 w 1011"/>
              <a:gd name="T93" fmla="*/ 215 h 1484"/>
              <a:gd name="T94" fmla="*/ 587 w 1011"/>
              <a:gd name="T95" fmla="*/ 19 h 1484"/>
              <a:gd name="T96" fmla="*/ 610 w 1011"/>
              <a:gd name="T97" fmla="*/ 33 h 1484"/>
              <a:gd name="T98" fmla="*/ 649 w 1011"/>
              <a:gd name="T99" fmla="*/ 75 h 1484"/>
              <a:gd name="T100" fmla="*/ 673 w 1011"/>
              <a:gd name="T101" fmla="*/ 67 h 1484"/>
              <a:gd name="T102" fmla="*/ 686 w 1011"/>
              <a:gd name="T103" fmla="*/ 38 h 1484"/>
              <a:gd name="T104" fmla="*/ 746 w 1011"/>
              <a:gd name="T105" fmla="*/ 31 h 1484"/>
              <a:gd name="T106" fmla="*/ 792 w 1011"/>
              <a:gd name="T107" fmla="*/ 0 h 1484"/>
              <a:gd name="T108" fmla="*/ 817 w 1011"/>
              <a:gd name="T109" fmla="*/ 17 h 1484"/>
              <a:gd name="T110" fmla="*/ 805 w 1011"/>
              <a:gd name="T111" fmla="*/ 35 h 1484"/>
              <a:gd name="T112" fmla="*/ 810 w 1011"/>
              <a:gd name="T113" fmla="*/ 52 h 1484"/>
              <a:gd name="T114" fmla="*/ 844 w 1011"/>
              <a:gd name="T115" fmla="*/ 82 h 1484"/>
              <a:gd name="T116" fmla="*/ 811 w 1011"/>
              <a:gd name="T117" fmla="*/ 122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11" h="1484">
                <a:moveTo>
                  <a:pt x="830" y="137"/>
                </a:moveTo>
                <a:lnTo>
                  <a:pt x="832" y="136"/>
                </a:lnTo>
                <a:lnTo>
                  <a:pt x="833" y="135"/>
                </a:lnTo>
                <a:lnTo>
                  <a:pt x="835" y="134"/>
                </a:lnTo>
                <a:lnTo>
                  <a:pt x="837" y="133"/>
                </a:lnTo>
                <a:lnTo>
                  <a:pt x="841" y="133"/>
                </a:lnTo>
                <a:lnTo>
                  <a:pt x="843" y="134"/>
                </a:lnTo>
                <a:lnTo>
                  <a:pt x="844" y="136"/>
                </a:lnTo>
                <a:lnTo>
                  <a:pt x="845" y="148"/>
                </a:lnTo>
                <a:lnTo>
                  <a:pt x="846" y="151"/>
                </a:lnTo>
                <a:lnTo>
                  <a:pt x="847" y="152"/>
                </a:lnTo>
                <a:lnTo>
                  <a:pt x="849" y="153"/>
                </a:lnTo>
                <a:lnTo>
                  <a:pt x="851" y="153"/>
                </a:lnTo>
                <a:lnTo>
                  <a:pt x="853" y="152"/>
                </a:lnTo>
                <a:lnTo>
                  <a:pt x="858" y="148"/>
                </a:lnTo>
                <a:lnTo>
                  <a:pt x="862" y="147"/>
                </a:lnTo>
                <a:lnTo>
                  <a:pt x="866" y="147"/>
                </a:lnTo>
                <a:lnTo>
                  <a:pt x="868" y="150"/>
                </a:lnTo>
                <a:lnTo>
                  <a:pt x="872" y="155"/>
                </a:lnTo>
                <a:lnTo>
                  <a:pt x="885" y="166"/>
                </a:lnTo>
                <a:lnTo>
                  <a:pt x="890" y="170"/>
                </a:lnTo>
                <a:lnTo>
                  <a:pt x="895" y="171"/>
                </a:lnTo>
                <a:lnTo>
                  <a:pt x="899" y="171"/>
                </a:lnTo>
                <a:lnTo>
                  <a:pt x="901" y="172"/>
                </a:lnTo>
                <a:lnTo>
                  <a:pt x="902" y="172"/>
                </a:lnTo>
                <a:lnTo>
                  <a:pt x="902" y="174"/>
                </a:lnTo>
                <a:lnTo>
                  <a:pt x="902" y="175"/>
                </a:lnTo>
                <a:lnTo>
                  <a:pt x="885" y="194"/>
                </a:lnTo>
                <a:lnTo>
                  <a:pt x="883" y="197"/>
                </a:lnTo>
                <a:lnTo>
                  <a:pt x="882" y="199"/>
                </a:lnTo>
                <a:lnTo>
                  <a:pt x="882" y="203"/>
                </a:lnTo>
                <a:lnTo>
                  <a:pt x="881" y="207"/>
                </a:lnTo>
                <a:lnTo>
                  <a:pt x="881" y="209"/>
                </a:lnTo>
                <a:lnTo>
                  <a:pt x="880" y="210"/>
                </a:lnTo>
                <a:lnTo>
                  <a:pt x="879" y="210"/>
                </a:lnTo>
                <a:lnTo>
                  <a:pt x="877" y="211"/>
                </a:lnTo>
                <a:lnTo>
                  <a:pt x="875" y="212"/>
                </a:lnTo>
                <a:lnTo>
                  <a:pt x="873" y="212"/>
                </a:lnTo>
                <a:lnTo>
                  <a:pt x="872" y="214"/>
                </a:lnTo>
                <a:lnTo>
                  <a:pt x="871" y="215"/>
                </a:lnTo>
                <a:lnTo>
                  <a:pt x="870" y="217"/>
                </a:lnTo>
                <a:lnTo>
                  <a:pt x="869" y="220"/>
                </a:lnTo>
                <a:lnTo>
                  <a:pt x="869" y="222"/>
                </a:lnTo>
                <a:lnTo>
                  <a:pt x="869" y="225"/>
                </a:lnTo>
                <a:lnTo>
                  <a:pt x="871" y="230"/>
                </a:lnTo>
                <a:lnTo>
                  <a:pt x="871" y="233"/>
                </a:lnTo>
                <a:lnTo>
                  <a:pt x="871" y="238"/>
                </a:lnTo>
                <a:lnTo>
                  <a:pt x="873" y="242"/>
                </a:lnTo>
                <a:lnTo>
                  <a:pt x="884" y="260"/>
                </a:lnTo>
                <a:lnTo>
                  <a:pt x="879" y="265"/>
                </a:lnTo>
                <a:lnTo>
                  <a:pt x="877" y="270"/>
                </a:lnTo>
                <a:lnTo>
                  <a:pt x="876" y="278"/>
                </a:lnTo>
                <a:lnTo>
                  <a:pt x="879" y="291"/>
                </a:lnTo>
                <a:lnTo>
                  <a:pt x="882" y="299"/>
                </a:lnTo>
                <a:lnTo>
                  <a:pt x="888" y="303"/>
                </a:lnTo>
                <a:lnTo>
                  <a:pt x="893" y="304"/>
                </a:lnTo>
                <a:lnTo>
                  <a:pt x="897" y="306"/>
                </a:lnTo>
                <a:lnTo>
                  <a:pt x="902" y="312"/>
                </a:lnTo>
                <a:lnTo>
                  <a:pt x="911" y="317"/>
                </a:lnTo>
                <a:lnTo>
                  <a:pt x="915" y="321"/>
                </a:lnTo>
                <a:lnTo>
                  <a:pt x="933" y="343"/>
                </a:lnTo>
                <a:lnTo>
                  <a:pt x="950" y="359"/>
                </a:lnTo>
                <a:lnTo>
                  <a:pt x="954" y="361"/>
                </a:lnTo>
                <a:lnTo>
                  <a:pt x="978" y="368"/>
                </a:lnTo>
                <a:lnTo>
                  <a:pt x="983" y="369"/>
                </a:lnTo>
                <a:lnTo>
                  <a:pt x="993" y="368"/>
                </a:lnTo>
                <a:lnTo>
                  <a:pt x="998" y="368"/>
                </a:lnTo>
                <a:lnTo>
                  <a:pt x="1004" y="370"/>
                </a:lnTo>
                <a:lnTo>
                  <a:pt x="1007" y="377"/>
                </a:lnTo>
                <a:lnTo>
                  <a:pt x="1006" y="388"/>
                </a:lnTo>
                <a:lnTo>
                  <a:pt x="1011" y="507"/>
                </a:lnTo>
                <a:lnTo>
                  <a:pt x="1009" y="518"/>
                </a:lnTo>
                <a:lnTo>
                  <a:pt x="1004" y="527"/>
                </a:lnTo>
                <a:lnTo>
                  <a:pt x="983" y="560"/>
                </a:lnTo>
                <a:lnTo>
                  <a:pt x="981" y="575"/>
                </a:lnTo>
                <a:lnTo>
                  <a:pt x="980" y="580"/>
                </a:lnTo>
                <a:lnTo>
                  <a:pt x="973" y="600"/>
                </a:lnTo>
                <a:lnTo>
                  <a:pt x="961" y="615"/>
                </a:lnTo>
                <a:lnTo>
                  <a:pt x="952" y="645"/>
                </a:lnTo>
                <a:lnTo>
                  <a:pt x="947" y="659"/>
                </a:lnTo>
                <a:lnTo>
                  <a:pt x="932" y="690"/>
                </a:lnTo>
                <a:lnTo>
                  <a:pt x="924" y="714"/>
                </a:lnTo>
                <a:lnTo>
                  <a:pt x="922" y="717"/>
                </a:lnTo>
                <a:lnTo>
                  <a:pt x="915" y="721"/>
                </a:lnTo>
                <a:lnTo>
                  <a:pt x="908" y="723"/>
                </a:lnTo>
                <a:lnTo>
                  <a:pt x="902" y="727"/>
                </a:lnTo>
                <a:lnTo>
                  <a:pt x="895" y="734"/>
                </a:lnTo>
                <a:lnTo>
                  <a:pt x="890" y="746"/>
                </a:lnTo>
                <a:lnTo>
                  <a:pt x="881" y="793"/>
                </a:lnTo>
                <a:lnTo>
                  <a:pt x="868" y="820"/>
                </a:lnTo>
                <a:lnTo>
                  <a:pt x="824" y="826"/>
                </a:lnTo>
                <a:lnTo>
                  <a:pt x="814" y="831"/>
                </a:lnTo>
                <a:lnTo>
                  <a:pt x="806" y="835"/>
                </a:lnTo>
                <a:lnTo>
                  <a:pt x="799" y="840"/>
                </a:lnTo>
                <a:lnTo>
                  <a:pt x="773" y="876"/>
                </a:lnTo>
                <a:lnTo>
                  <a:pt x="770" y="884"/>
                </a:lnTo>
                <a:lnTo>
                  <a:pt x="768" y="892"/>
                </a:lnTo>
                <a:lnTo>
                  <a:pt x="765" y="899"/>
                </a:lnTo>
                <a:lnTo>
                  <a:pt x="754" y="905"/>
                </a:lnTo>
                <a:lnTo>
                  <a:pt x="751" y="909"/>
                </a:lnTo>
                <a:lnTo>
                  <a:pt x="750" y="914"/>
                </a:lnTo>
                <a:lnTo>
                  <a:pt x="751" y="920"/>
                </a:lnTo>
                <a:lnTo>
                  <a:pt x="750" y="924"/>
                </a:lnTo>
                <a:lnTo>
                  <a:pt x="747" y="929"/>
                </a:lnTo>
                <a:lnTo>
                  <a:pt x="744" y="936"/>
                </a:lnTo>
                <a:lnTo>
                  <a:pt x="740" y="942"/>
                </a:lnTo>
                <a:lnTo>
                  <a:pt x="730" y="952"/>
                </a:lnTo>
                <a:lnTo>
                  <a:pt x="719" y="970"/>
                </a:lnTo>
                <a:lnTo>
                  <a:pt x="712" y="979"/>
                </a:lnTo>
                <a:lnTo>
                  <a:pt x="677" y="1007"/>
                </a:lnTo>
                <a:lnTo>
                  <a:pt x="667" y="1013"/>
                </a:lnTo>
                <a:lnTo>
                  <a:pt x="655" y="1016"/>
                </a:lnTo>
                <a:lnTo>
                  <a:pt x="649" y="1014"/>
                </a:lnTo>
                <a:lnTo>
                  <a:pt x="645" y="1013"/>
                </a:lnTo>
                <a:lnTo>
                  <a:pt x="634" y="1014"/>
                </a:lnTo>
                <a:lnTo>
                  <a:pt x="629" y="1013"/>
                </a:lnTo>
                <a:lnTo>
                  <a:pt x="628" y="1009"/>
                </a:lnTo>
                <a:lnTo>
                  <a:pt x="630" y="1003"/>
                </a:lnTo>
                <a:lnTo>
                  <a:pt x="630" y="999"/>
                </a:lnTo>
                <a:lnTo>
                  <a:pt x="628" y="996"/>
                </a:lnTo>
                <a:lnTo>
                  <a:pt x="624" y="1000"/>
                </a:lnTo>
                <a:lnTo>
                  <a:pt x="617" y="1006"/>
                </a:lnTo>
                <a:lnTo>
                  <a:pt x="613" y="1016"/>
                </a:lnTo>
                <a:lnTo>
                  <a:pt x="609" y="1031"/>
                </a:lnTo>
                <a:lnTo>
                  <a:pt x="603" y="1045"/>
                </a:lnTo>
                <a:lnTo>
                  <a:pt x="598" y="1066"/>
                </a:lnTo>
                <a:lnTo>
                  <a:pt x="584" y="1102"/>
                </a:lnTo>
                <a:lnTo>
                  <a:pt x="578" y="1110"/>
                </a:lnTo>
                <a:lnTo>
                  <a:pt x="552" y="1131"/>
                </a:lnTo>
                <a:lnTo>
                  <a:pt x="537" y="1137"/>
                </a:lnTo>
                <a:lnTo>
                  <a:pt x="530" y="1144"/>
                </a:lnTo>
                <a:lnTo>
                  <a:pt x="525" y="1154"/>
                </a:lnTo>
                <a:lnTo>
                  <a:pt x="524" y="1167"/>
                </a:lnTo>
                <a:lnTo>
                  <a:pt x="526" y="1183"/>
                </a:lnTo>
                <a:lnTo>
                  <a:pt x="525" y="1186"/>
                </a:lnTo>
                <a:lnTo>
                  <a:pt x="522" y="1189"/>
                </a:lnTo>
                <a:lnTo>
                  <a:pt x="507" y="1194"/>
                </a:lnTo>
                <a:lnTo>
                  <a:pt x="496" y="1200"/>
                </a:lnTo>
                <a:lnTo>
                  <a:pt x="492" y="1201"/>
                </a:lnTo>
                <a:lnTo>
                  <a:pt x="488" y="1203"/>
                </a:lnTo>
                <a:lnTo>
                  <a:pt x="485" y="1209"/>
                </a:lnTo>
                <a:lnTo>
                  <a:pt x="482" y="1216"/>
                </a:lnTo>
                <a:lnTo>
                  <a:pt x="479" y="1234"/>
                </a:lnTo>
                <a:lnTo>
                  <a:pt x="479" y="1242"/>
                </a:lnTo>
                <a:lnTo>
                  <a:pt x="480" y="1250"/>
                </a:lnTo>
                <a:lnTo>
                  <a:pt x="483" y="1258"/>
                </a:lnTo>
                <a:lnTo>
                  <a:pt x="491" y="1268"/>
                </a:lnTo>
                <a:lnTo>
                  <a:pt x="491" y="1274"/>
                </a:lnTo>
                <a:lnTo>
                  <a:pt x="487" y="1279"/>
                </a:lnTo>
                <a:lnTo>
                  <a:pt x="465" y="1294"/>
                </a:lnTo>
                <a:lnTo>
                  <a:pt x="423" y="1300"/>
                </a:lnTo>
                <a:lnTo>
                  <a:pt x="423" y="1305"/>
                </a:lnTo>
                <a:lnTo>
                  <a:pt x="427" y="1311"/>
                </a:lnTo>
                <a:lnTo>
                  <a:pt x="434" y="1318"/>
                </a:lnTo>
                <a:lnTo>
                  <a:pt x="443" y="1326"/>
                </a:lnTo>
                <a:lnTo>
                  <a:pt x="449" y="1329"/>
                </a:lnTo>
                <a:lnTo>
                  <a:pt x="456" y="1330"/>
                </a:lnTo>
                <a:lnTo>
                  <a:pt x="460" y="1332"/>
                </a:lnTo>
                <a:lnTo>
                  <a:pt x="461" y="1335"/>
                </a:lnTo>
                <a:lnTo>
                  <a:pt x="461" y="1338"/>
                </a:lnTo>
                <a:lnTo>
                  <a:pt x="460" y="1343"/>
                </a:lnTo>
                <a:lnTo>
                  <a:pt x="461" y="1350"/>
                </a:lnTo>
                <a:lnTo>
                  <a:pt x="468" y="1369"/>
                </a:lnTo>
                <a:lnTo>
                  <a:pt x="465" y="1376"/>
                </a:lnTo>
                <a:lnTo>
                  <a:pt x="456" y="1379"/>
                </a:lnTo>
                <a:lnTo>
                  <a:pt x="430" y="1377"/>
                </a:lnTo>
                <a:lnTo>
                  <a:pt x="420" y="1382"/>
                </a:lnTo>
                <a:lnTo>
                  <a:pt x="417" y="1387"/>
                </a:lnTo>
                <a:lnTo>
                  <a:pt x="413" y="1388"/>
                </a:lnTo>
                <a:lnTo>
                  <a:pt x="408" y="1384"/>
                </a:lnTo>
                <a:lnTo>
                  <a:pt x="403" y="1380"/>
                </a:lnTo>
                <a:lnTo>
                  <a:pt x="399" y="1378"/>
                </a:lnTo>
                <a:lnTo>
                  <a:pt x="393" y="1380"/>
                </a:lnTo>
                <a:lnTo>
                  <a:pt x="388" y="1385"/>
                </a:lnTo>
                <a:lnTo>
                  <a:pt x="381" y="1396"/>
                </a:lnTo>
                <a:lnTo>
                  <a:pt x="377" y="1401"/>
                </a:lnTo>
                <a:lnTo>
                  <a:pt x="367" y="1404"/>
                </a:lnTo>
                <a:lnTo>
                  <a:pt x="361" y="1407"/>
                </a:lnTo>
                <a:lnTo>
                  <a:pt x="353" y="1414"/>
                </a:lnTo>
                <a:lnTo>
                  <a:pt x="348" y="1420"/>
                </a:lnTo>
                <a:lnTo>
                  <a:pt x="344" y="1428"/>
                </a:lnTo>
                <a:lnTo>
                  <a:pt x="339" y="1435"/>
                </a:lnTo>
                <a:lnTo>
                  <a:pt x="334" y="1442"/>
                </a:lnTo>
                <a:lnTo>
                  <a:pt x="328" y="1449"/>
                </a:lnTo>
                <a:lnTo>
                  <a:pt x="327" y="1456"/>
                </a:lnTo>
                <a:lnTo>
                  <a:pt x="327" y="1462"/>
                </a:lnTo>
                <a:lnTo>
                  <a:pt x="326" y="1467"/>
                </a:lnTo>
                <a:lnTo>
                  <a:pt x="325" y="1471"/>
                </a:lnTo>
                <a:lnTo>
                  <a:pt x="324" y="1476"/>
                </a:lnTo>
                <a:lnTo>
                  <a:pt x="321" y="1480"/>
                </a:lnTo>
                <a:lnTo>
                  <a:pt x="315" y="1482"/>
                </a:lnTo>
                <a:lnTo>
                  <a:pt x="296" y="1484"/>
                </a:lnTo>
                <a:lnTo>
                  <a:pt x="267" y="1483"/>
                </a:lnTo>
                <a:lnTo>
                  <a:pt x="253" y="1480"/>
                </a:lnTo>
                <a:lnTo>
                  <a:pt x="244" y="1474"/>
                </a:lnTo>
                <a:lnTo>
                  <a:pt x="237" y="1467"/>
                </a:lnTo>
                <a:lnTo>
                  <a:pt x="236" y="1461"/>
                </a:lnTo>
                <a:lnTo>
                  <a:pt x="236" y="1455"/>
                </a:lnTo>
                <a:lnTo>
                  <a:pt x="238" y="1448"/>
                </a:lnTo>
                <a:lnTo>
                  <a:pt x="240" y="1443"/>
                </a:lnTo>
                <a:lnTo>
                  <a:pt x="248" y="1431"/>
                </a:lnTo>
                <a:lnTo>
                  <a:pt x="249" y="1427"/>
                </a:lnTo>
                <a:lnTo>
                  <a:pt x="252" y="1407"/>
                </a:lnTo>
                <a:lnTo>
                  <a:pt x="251" y="1401"/>
                </a:lnTo>
                <a:lnTo>
                  <a:pt x="248" y="1396"/>
                </a:lnTo>
                <a:lnTo>
                  <a:pt x="239" y="1388"/>
                </a:lnTo>
                <a:lnTo>
                  <a:pt x="238" y="1383"/>
                </a:lnTo>
                <a:lnTo>
                  <a:pt x="238" y="1379"/>
                </a:lnTo>
                <a:lnTo>
                  <a:pt x="239" y="1372"/>
                </a:lnTo>
                <a:lnTo>
                  <a:pt x="236" y="1367"/>
                </a:lnTo>
                <a:lnTo>
                  <a:pt x="226" y="1362"/>
                </a:lnTo>
                <a:lnTo>
                  <a:pt x="207" y="1359"/>
                </a:lnTo>
                <a:lnTo>
                  <a:pt x="195" y="1359"/>
                </a:lnTo>
                <a:lnTo>
                  <a:pt x="171" y="1367"/>
                </a:lnTo>
                <a:lnTo>
                  <a:pt x="158" y="1370"/>
                </a:lnTo>
                <a:lnTo>
                  <a:pt x="110" y="1367"/>
                </a:lnTo>
                <a:lnTo>
                  <a:pt x="101" y="1370"/>
                </a:lnTo>
                <a:lnTo>
                  <a:pt x="96" y="1371"/>
                </a:lnTo>
                <a:lnTo>
                  <a:pt x="83" y="1369"/>
                </a:lnTo>
                <a:lnTo>
                  <a:pt x="66" y="1374"/>
                </a:lnTo>
                <a:lnTo>
                  <a:pt x="66" y="1374"/>
                </a:lnTo>
                <a:lnTo>
                  <a:pt x="54" y="1344"/>
                </a:lnTo>
                <a:lnTo>
                  <a:pt x="44" y="1332"/>
                </a:lnTo>
                <a:lnTo>
                  <a:pt x="41" y="1324"/>
                </a:lnTo>
                <a:lnTo>
                  <a:pt x="40" y="1314"/>
                </a:lnTo>
                <a:lnTo>
                  <a:pt x="43" y="1306"/>
                </a:lnTo>
                <a:lnTo>
                  <a:pt x="67" y="1290"/>
                </a:lnTo>
                <a:lnTo>
                  <a:pt x="64" y="1274"/>
                </a:lnTo>
                <a:lnTo>
                  <a:pt x="64" y="1254"/>
                </a:lnTo>
                <a:lnTo>
                  <a:pt x="70" y="1249"/>
                </a:lnTo>
                <a:lnTo>
                  <a:pt x="78" y="1242"/>
                </a:lnTo>
                <a:lnTo>
                  <a:pt x="87" y="1240"/>
                </a:lnTo>
                <a:lnTo>
                  <a:pt x="97" y="1240"/>
                </a:lnTo>
                <a:lnTo>
                  <a:pt x="100" y="1232"/>
                </a:lnTo>
                <a:lnTo>
                  <a:pt x="100" y="1222"/>
                </a:lnTo>
                <a:lnTo>
                  <a:pt x="101" y="1209"/>
                </a:lnTo>
                <a:lnTo>
                  <a:pt x="105" y="1197"/>
                </a:lnTo>
                <a:lnTo>
                  <a:pt x="102" y="1182"/>
                </a:lnTo>
                <a:lnTo>
                  <a:pt x="104" y="1172"/>
                </a:lnTo>
                <a:lnTo>
                  <a:pt x="116" y="1167"/>
                </a:lnTo>
                <a:lnTo>
                  <a:pt x="115" y="1150"/>
                </a:lnTo>
                <a:lnTo>
                  <a:pt x="95" y="1122"/>
                </a:lnTo>
                <a:lnTo>
                  <a:pt x="55" y="1074"/>
                </a:lnTo>
                <a:lnTo>
                  <a:pt x="23" y="1018"/>
                </a:lnTo>
                <a:lnTo>
                  <a:pt x="9" y="983"/>
                </a:lnTo>
                <a:lnTo>
                  <a:pt x="0" y="964"/>
                </a:lnTo>
                <a:lnTo>
                  <a:pt x="4" y="950"/>
                </a:lnTo>
                <a:lnTo>
                  <a:pt x="13" y="942"/>
                </a:lnTo>
                <a:lnTo>
                  <a:pt x="22" y="934"/>
                </a:lnTo>
                <a:lnTo>
                  <a:pt x="30" y="925"/>
                </a:lnTo>
                <a:lnTo>
                  <a:pt x="36" y="918"/>
                </a:lnTo>
                <a:lnTo>
                  <a:pt x="41" y="912"/>
                </a:lnTo>
                <a:lnTo>
                  <a:pt x="50" y="902"/>
                </a:lnTo>
                <a:lnTo>
                  <a:pt x="57" y="892"/>
                </a:lnTo>
                <a:lnTo>
                  <a:pt x="59" y="887"/>
                </a:lnTo>
                <a:lnTo>
                  <a:pt x="67" y="884"/>
                </a:lnTo>
                <a:lnTo>
                  <a:pt x="76" y="887"/>
                </a:lnTo>
                <a:lnTo>
                  <a:pt x="85" y="887"/>
                </a:lnTo>
                <a:lnTo>
                  <a:pt x="95" y="882"/>
                </a:lnTo>
                <a:lnTo>
                  <a:pt x="104" y="877"/>
                </a:lnTo>
                <a:lnTo>
                  <a:pt x="114" y="879"/>
                </a:lnTo>
                <a:lnTo>
                  <a:pt x="121" y="877"/>
                </a:lnTo>
                <a:lnTo>
                  <a:pt x="130" y="874"/>
                </a:lnTo>
                <a:lnTo>
                  <a:pt x="129" y="879"/>
                </a:lnTo>
                <a:lnTo>
                  <a:pt x="141" y="886"/>
                </a:lnTo>
                <a:lnTo>
                  <a:pt x="150" y="886"/>
                </a:lnTo>
                <a:lnTo>
                  <a:pt x="159" y="879"/>
                </a:lnTo>
                <a:lnTo>
                  <a:pt x="163" y="877"/>
                </a:lnTo>
                <a:lnTo>
                  <a:pt x="169" y="871"/>
                </a:lnTo>
                <a:lnTo>
                  <a:pt x="176" y="869"/>
                </a:lnTo>
                <a:lnTo>
                  <a:pt x="183" y="878"/>
                </a:lnTo>
                <a:lnTo>
                  <a:pt x="188" y="879"/>
                </a:lnTo>
                <a:lnTo>
                  <a:pt x="200" y="881"/>
                </a:lnTo>
                <a:lnTo>
                  <a:pt x="218" y="874"/>
                </a:lnTo>
                <a:lnTo>
                  <a:pt x="232" y="861"/>
                </a:lnTo>
                <a:lnTo>
                  <a:pt x="247" y="846"/>
                </a:lnTo>
                <a:lnTo>
                  <a:pt x="257" y="804"/>
                </a:lnTo>
                <a:lnTo>
                  <a:pt x="259" y="791"/>
                </a:lnTo>
                <a:lnTo>
                  <a:pt x="267" y="747"/>
                </a:lnTo>
                <a:lnTo>
                  <a:pt x="280" y="714"/>
                </a:lnTo>
                <a:lnTo>
                  <a:pt x="296" y="683"/>
                </a:lnTo>
                <a:lnTo>
                  <a:pt x="303" y="664"/>
                </a:lnTo>
                <a:lnTo>
                  <a:pt x="306" y="661"/>
                </a:lnTo>
                <a:lnTo>
                  <a:pt x="313" y="656"/>
                </a:lnTo>
                <a:lnTo>
                  <a:pt x="322" y="655"/>
                </a:lnTo>
                <a:lnTo>
                  <a:pt x="330" y="652"/>
                </a:lnTo>
                <a:lnTo>
                  <a:pt x="332" y="669"/>
                </a:lnTo>
                <a:lnTo>
                  <a:pt x="341" y="683"/>
                </a:lnTo>
                <a:lnTo>
                  <a:pt x="360" y="691"/>
                </a:lnTo>
                <a:lnTo>
                  <a:pt x="377" y="693"/>
                </a:lnTo>
                <a:lnTo>
                  <a:pt x="413" y="694"/>
                </a:lnTo>
                <a:lnTo>
                  <a:pt x="413" y="685"/>
                </a:lnTo>
                <a:lnTo>
                  <a:pt x="394" y="681"/>
                </a:lnTo>
                <a:lnTo>
                  <a:pt x="374" y="677"/>
                </a:lnTo>
                <a:lnTo>
                  <a:pt x="361" y="677"/>
                </a:lnTo>
                <a:lnTo>
                  <a:pt x="351" y="669"/>
                </a:lnTo>
                <a:lnTo>
                  <a:pt x="343" y="651"/>
                </a:lnTo>
                <a:lnTo>
                  <a:pt x="335" y="635"/>
                </a:lnTo>
                <a:lnTo>
                  <a:pt x="326" y="631"/>
                </a:lnTo>
                <a:lnTo>
                  <a:pt x="321" y="624"/>
                </a:lnTo>
                <a:lnTo>
                  <a:pt x="319" y="607"/>
                </a:lnTo>
                <a:lnTo>
                  <a:pt x="313" y="589"/>
                </a:lnTo>
                <a:lnTo>
                  <a:pt x="311" y="570"/>
                </a:lnTo>
                <a:lnTo>
                  <a:pt x="301" y="549"/>
                </a:lnTo>
                <a:lnTo>
                  <a:pt x="289" y="534"/>
                </a:lnTo>
                <a:lnTo>
                  <a:pt x="280" y="506"/>
                </a:lnTo>
                <a:lnTo>
                  <a:pt x="288" y="496"/>
                </a:lnTo>
                <a:lnTo>
                  <a:pt x="302" y="495"/>
                </a:lnTo>
                <a:lnTo>
                  <a:pt x="324" y="477"/>
                </a:lnTo>
                <a:lnTo>
                  <a:pt x="344" y="446"/>
                </a:lnTo>
                <a:lnTo>
                  <a:pt x="351" y="434"/>
                </a:lnTo>
                <a:lnTo>
                  <a:pt x="353" y="425"/>
                </a:lnTo>
                <a:lnTo>
                  <a:pt x="358" y="410"/>
                </a:lnTo>
                <a:lnTo>
                  <a:pt x="365" y="399"/>
                </a:lnTo>
                <a:lnTo>
                  <a:pt x="379" y="395"/>
                </a:lnTo>
                <a:lnTo>
                  <a:pt x="388" y="381"/>
                </a:lnTo>
                <a:lnTo>
                  <a:pt x="396" y="367"/>
                </a:lnTo>
                <a:lnTo>
                  <a:pt x="408" y="378"/>
                </a:lnTo>
                <a:lnTo>
                  <a:pt x="423" y="370"/>
                </a:lnTo>
                <a:lnTo>
                  <a:pt x="440" y="358"/>
                </a:lnTo>
                <a:lnTo>
                  <a:pt x="458" y="344"/>
                </a:lnTo>
                <a:lnTo>
                  <a:pt x="498" y="301"/>
                </a:lnTo>
                <a:lnTo>
                  <a:pt x="530" y="260"/>
                </a:lnTo>
                <a:lnTo>
                  <a:pt x="541" y="246"/>
                </a:lnTo>
                <a:lnTo>
                  <a:pt x="546" y="233"/>
                </a:lnTo>
                <a:lnTo>
                  <a:pt x="547" y="224"/>
                </a:lnTo>
                <a:lnTo>
                  <a:pt x="550" y="222"/>
                </a:lnTo>
                <a:lnTo>
                  <a:pt x="555" y="220"/>
                </a:lnTo>
                <a:lnTo>
                  <a:pt x="569" y="215"/>
                </a:lnTo>
                <a:lnTo>
                  <a:pt x="578" y="190"/>
                </a:lnTo>
                <a:lnTo>
                  <a:pt x="585" y="168"/>
                </a:lnTo>
                <a:lnTo>
                  <a:pt x="588" y="133"/>
                </a:lnTo>
                <a:lnTo>
                  <a:pt x="587" y="117"/>
                </a:lnTo>
                <a:lnTo>
                  <a:pt x="583" y="88"/>
                </a:lnTo>
                <a:lnTo>
                  <a:pt x="581" y="38"/>
                </a:lnTo>
                <a:lnTo>
                  <a:pt x="587" y="19"/>
                </a:lnTo>
                <a:lnTo>
                  <a:pt x="587" y="14"/>
                </a:lnTo>
                <a:lnTo>
                  <a:pt x="589" y="12"/>
                </a:lnTo>
                <a:lnTo>
                  <a:pt x="596" y="15"/>
                </a:lnTo>
                <a:lnTo>
                  <a:pt x="599" y="18"/>
                </a:lnTo>
                <a:lnTo>
                  <a:pt x="601" y="23"/>
                </a:lnTo>
                <a:lnTo>
                  <a:pt x="604" y="33"/>
                </a:lnTo>
                <a:lnTo>
                  <a:pt x="610" y="33"/>
                </a:lnTo>
                <a:lnTo>
                  <a:pt x="611" y="25"/>
                </a:lnTo>
                <a:lnTo>
                  <a:pt x="613" y="19"/>
                </a:lnTo>
                <a:lnTo>
                  <a:pt x="613" y="19"/>
                </a:lnTo>
                <a:lnTo>
                  <a:pt x="630" y="60"/>
                </a:lnTo>
                <a:lnTo>
                  <a:pt x="639" y="72"/>
                </a:lnTo>
                <a:lnTo>
                  <a:pt x="643" y="74"/>
                </a:lnTo>
                <a:lnTo>
                  <a:pt x="649" y="75"/>
                </a:lnTo>
                <a:lnTo>
                  <a:pt x="653" y="77"/>
                </a:lnTo>
                <a:lnTo>
                  <a:pt x="658" y="77"/>
                </a:lnTo>
                <a:lnTo>
                  <a:pt x="661" y="77"/>
                </a:lnTo>
                <a:lnTo>
                  <a:pt x="663" y="75"/>
                </a:lnTo>
                <a:lnTo>
                  <a:pt x="667" y="71"/>
                </a:lnTo>
                <a:lnTo>
                  <a:pt x="669" y="69"/>
                </a:lnTo>
                <a:lnTo>
                  <a:pt x="673" y="67"/>
                </a:lnTo>
                <a:lnTo>
                  <a:pt x="675" y="65"/>
                </a:lnTo>
                <a:lnTo>
                  <a:pt x="677" y="61"/>
                </a:lnTo>
                <a:lnTo>
                  <a:pt x="679" y="56"/>
                </a:lnTo>
                <a:lnTo>
                  <a:pt x="682" y="48"/>
                </a:lnTo>
                <a:lnTo>
                  <a:pt x="685" y="41"/>
                </a:lnTo>
                <a:lnTo>
                  <a:pt x="685" y="40"/>
                </a:lnTo>
                <a:lnTo>
                  <a:pt x="686" y="38"/>
                </a:lnTo>
                <a:lnTo>
                  <a:pt x="687" y="38"/>
                </a:lnTo>
                <a:lnTo>
                  <a:pt x="689" y="36"/>
                </a:lnTo>
                <a:lnTo>
                  <a:pt x="691" y="36"/>
                </a:lnTo>
                <a:lnTo>
                  <a:pt x="714" y="38"/>
                </a:lnTo>
                <a:lnTo>
                  <a:pt x="725" y="36"/>
                </a:lnTo>
                <a:lnTo>
                  <a:pt x="738" y="34"/>
                </a:lnTo>
                <a:lnTo>
                  <a:pt x="746" y="31"/>
                </a:lnTo>
                <a:lnTo>
                  <a:pt x="750" y="29"/>
                </a:lnTo>
                <a:lnTo>
                  <a:pt x="757" y="23"/>
                </a:lnTo>
                <a:lnTo>
                  <a:pt x="771" y="8"/>
                </a:lnTo>
                <a:lnTo>
                  <a:pt x="775" y="6"/>
                </a:lnTo>
                <a:lnTo>
                  <a:pt x="779" y="3"/>
                </a:lnTo>
                <a:lnTo>
                  <a:pt x="786" y="0"/>
                </a:lnTo>
                <a:lnTo>
                  <a:pt x="792" y="0"/>
                </a:lnTo>
                <a:lnTo>
                  <a:pt x="796" y="0"/>
                </a:lnTo>
                <a:lnTo>
                  <a:pt x="799" y="1"/>
                </a:lnTo>
                <a:lnTo>
                  <a:pt x="803" y="2"/>
                </a:lnTo>
                <a:lnTo>
                  <a:pt x="809" y="7"/>
                </a:lnTo>
                <a:lnTo>
                  <a:pt x="815" y="13"/>
                </a:lnTo>
                <a:lnTo>
                  <a:pt x="816" y="15"/>
                </a:lnTo>
                <a:lnTo>
                  <a:pt x="817" y="17"/>
                </a:lnTo>
                <a:lnTo>
                  <a:pt x="817" y="18"/>
                </a:lnTo>
                <a:lnTo>
                  <a:pt x="817" y="19"/>
                </a:lnTo>
                <a:lnTo>
                  <a:pt x="817" y="20"/>
                </a:lnTo>
                <a:lnTo>
                  <a:pt x="816" y="21"/>
                </a:lnTo>
                <a:lnTo>
                  <a:pt x="809" y="29"/>
                </a:lnTo>
                <a:lnTo>
                  <a:pt x="807" y="33"/>
                </a:lnTo>
                <a:lnTo>
                  <a:pt x="805" y="35"/>
                </a:lnTo>
                <a:lnTo>
                  <a:pt x="805" y="38"/>
                </a:lnTo>
                <a:lnTo>
                  <a:pt x="804" y="40"/>
                </a:lnTo>
                <a:lnTo>
                  <a:pt x="804" y="42"/>
                </a:lnTo>
                <a:lnTo>
                  <a:pt x="805" y="45"/>
                </a:lnTo>
                <a:lnTo>
                  <a:pt x="806" y="47"/>
                </a:lnTo>
                <a:lnTo>
                  <a:pt x="808" y="49"/>
                </a:lnTo>
                <a:lnTo>
                  <a:pt x="810" y="52"/>
                </a:lnTo>
                <a:lnTo>
                  <a:pt x="842" y="71"/>
                </a:lnTo>
                <a:lnTo>
                  <a:pt x="844" y="73"/>
                </a:lnTo>
                <a:lnTo>
                  <a:pt x="846" y="75"/>
                </a:lnTo>
                <a:lnTo>
                  <a:pt x="846" y="77"/>
                </a:lnTo>
                <a:lnTo>
                  <a:pt x="846" y="79"/>
                </a:lnTo>
                <a:lnTo>
                  <a:pt x="845" y="80"/>
                </a:lnTo>
                <a:lnTo>
                  <a:pt x="844" y="82"/>
                </a:lnTo>
                <a:lnTo>
                  <a:pt x="840" y="86"/>
                </a:lnTo>
                <a:lnTo>
                  <a:pt x="835" y="90"/>
                </a:lnTo>
                <a:lnTo>
                  <a:pt x="832" y="93"/>
                </a:lnTo>
                <a:lnTo>
                  <a:pt x="828" y="98"/>
                </a:lnTo>
                <a:lnTo>
                  <a:pt x="825" y="103"/>
                </a:lnTo>
                <a:lnTo>
                  <a:pt x="812" y="121"/>
                </a:lnTo>
                <a:lnTo>
                  <a:pt x="811" y="122"/>
                </a:lnTo>
                <a:lnTo>
                  <a:pt x="812" y="125"/>
                </a:lnTo>
                <a:lnTo>
                  <a:pt x="815" y="127"/>
                </a:lnTo>
                <a:lnTo>
                  <a:pt x="822" y="134"/>
                </a:lnTo>
                <a:lnTo>
                  <a:pt x="827" y="136"/>
                </a:lnTo>
                <a:lnTo>
                  <a:pt x="830" y="137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2" name="Freeform 16">
            <a:extLst>
              <a:ext uri="{FF2B5EF4-FFF2-40B4-BE49-F238E27FC236}">
                <a16:creationId xmlns:a16="http://schemas.microsoft.com/office/drawing/2014/main" id="{576DD5C2-CBA9-2AF4-8A14-F9F92819A52E}"/>
              </a:ext>
            </a:extLst>
          </p:cNvPr>
          <p:cNvSpPr>
            <a:spLocks/>
          </p:cNvSpPr>
          <p:nvPr/>
        </p:nvSpPr>
        <p:spPr bwMode="auto">
          <a:xfrm>
            <a:off x="6612402" y="2969935"/>
            <a:ext cx="620776" cy="1208512"/>
          </a:xfrm>
          <a:custGeom>
            <a:avLst/>
            <a:gdLst>
              <a:gd name="T0" fmla="*/ 354 w 524"/>
              <a:gd name="T1" fmla="*/ 7 h 1078"/>
              <a:gd name="T2" fmla="*/ 345 w 524"/>
              <a:gd name="T3" fmla="*/ 31 h 1078"/>
              <a:gd name="T4" fmla="*/ 343 w 524"/>
              <a:gd name="T5" fmla="*/ 68 h 1078"/>
              <a:gd name="T6" fmla="*/ 348 w 524"/>
              <a:gd name="T7" fmla="*/ 92 h 1078"/>
              <a:gd name="T8" fmla="*/ 380 w 524"/>
              <a:gd name="T9" fmla="*/ 101 h 1078"/>
              <a:gd name="T10" fmla="*/ 411 w 524"/>
              <a:gd name="T11" fmla="*/ 77 h 1078"/>
              <a:gd name="T12" fmla="*/ 495 w 524"/>
              <a:gd name="T13" fmla="*/ 8 h 1078"/>
              <a:gd name="T14" fmla="*/ 518 w 524"/>
              <a:gd name="T15" fmla="*/ 35 h 1078"/>
              <a:gd name="T16" fmla="*/ 452 w 524"/>
              <a:gd name="T17" fmla="*/ 170 h 1078"/>
              <a:gd name="T18" fmla="*/ 417 w 524"/>
              <a:gd name="T19" fmla="*/ 218 h 1078"/>
              <a:gd name="T20" fmla="*/ 388 w 524"/>
              <a:gd name="T21" fmla="*/ 247 h 1078"/>
              <a:gd name="T22" fmla="*/ 379 w 524"/>
              <a:gd name="T23" fmla="*/ 307 h 1078"/>
              <a:gd name="T24" fmla="*/ 372 w 524"/>
              <a:gd name="T25" fmla="*/ 397 h 1078"/>
              <a:gd name="T26" fmla="*/ 351 w 524"/>
              <a:gd name="T27" fmla="*/ 472 h 1078"/>
              <a:gd name="T28" fmla="*/ 325 w 524"/>
              <a:gd name="T29" fmla="*/ 522 h 1078"/>
              <a:gd name="T30" fmla="*/ 349 w 524"/>
              <a:gd name="T31" fmla="*/ 504 h 1078"/>
              <a:gd name="T32" fmla="*/ 368 w 524"/>
              <a:gd name="T33" fmla="*/ 515 h 1078"/>
              <a:gd name="T34" fmla="*/ 382 w 524"/>
              <a:gd name="T35" fmla="*/ 539 h 1078"/>
              <a:gd name="T36" fmla="*/ 369 w 524"/>
              <a:gd name="T37" fmla="*/ 546 h 1078"/>
              <a:gd name="T38" fmla="*/ 376 w 524"/>
              <a:gd name="T39" fmla="*/ 630 h 1078"/>
              <a:gd name="T40" fmla="*/ 416 w 524"/>
              <a:gd name="T41" fmla="*/ 667 h 1078"/>
              <a:gd name="T42" fmla="*/ 404 w 524"/>
              <a:gd name="T43" fmla="*/ 698 h 1078"/>
              <a:gd name="T44" fmla="*/ 391 w 524"/>
              <a:gd name="T45" fmla="*/ 696 h 1078"/>
              <a:gd name="T46" fmla="*/ 358 w 524"/>
              <a:gd name="T47" fmla="*/ 726 h 1078"/>
              <a:gd name="T48" fmla="*/ 358 w 524"/>
              <a:gd name="T49" fmla="*/ 737 h 1078"/>
              <a:gd name="T50" fmla="*/ 374 w 524"/>
              <a:gd name="T51" fmla="*/ 746 h 1078"/>
              <a:gd name="T52" fmla="*/ 395 w 524"/>
              <a:gd name="T53" fmla="*/ 768 h 1078"/>
              <a:gd name="T54" fmla="*/ 414 w 524"/>
              <a:gd name="T55" fmla="*/ 824 h 1078"/>
              <a:gd name="T56" fmla="*/ 429 w 524"/>
              <a:gd name="T57" fmla="*/ 856 h 1078"/>
              <a:gd name="T58" fmla="*/ 407 w 524"/>
              <a:gd name="T59" fmla="*/ 926 h 1078"/>
              <a:gd name="T60" fmla="*/ 418 w 524"/>
              <a:gd name="T61" fmla="*/ 972 h 1078"/>
              <a:gd name="T62" fmla="*/ 441 w 524"/>
              <a:gd name="T63" fmla="*/ 1035 h 1078"/>
              <a:gd name="T64" fmla="*/ 341 w 524"/>
              <a:gd name="T65" fmla="*/ 963 h 1078"/>
              <a:gd name="T66" fmla="*/ 290 w 524"/>
              <a:gd name="T67" fmla="*/ 926 h 1078"/>
              <a:gd name="T68" fmla="*/ 220 w 524"/>
              <a:gd name="T69" fmla="*/ 899 h 1078"/>
              <a:gd name="T70" fmla="*/ 143 w 524"/>
              <a:gd name="T71" fmla="*/ 907 h 1078"/>
              <a:gd name="T72" fmla="*/ 110 w 524"/>
              <a:gd name="T73" fmla="*/ 833 h 1078"/>
              <a:gd name="T74" fmla="*/ 75 w 524"/>
              <a:gd name="T75" fmla="*/ 772 h 1078"/>
              <a:gd name="T76" fmla="*/ 5 w 524"/>
              <a:gd name="T77" fmla="*/ 723 h 1078"/>
              <a:gd name="T78" fmla="*/ 10 w 524"/>
              <a:gd name="T79" fmla="*/ 689 h 1078"/>
              <a:gd name="T80" fmla="*/ 5 w 524"/>
              <a:gd name="T81" fmla="*/ 602 h 1078"/>
              <a:gd name="T82" fmla="*/ 39 w 524"/>
              <a:gd name="T83" fmla="*/ 541 h 1078"/>
              <a:gd name="T84" fmla="*/ 85 w 524"/>
              <a:gd name="T85" fmla="*/ 450 h 1078"/>
              <a:gd name="T86" fmla="*/ 91 w 524"/>
              <a:gd name="T87" fmla="*/ 427 h 1078"/>
              <a:gd name="T88" fmla="*/ 107 w 524"/>
              <a:gd name="T89" fmla="*/ 419 h 1078"/>
              <a:gd name="T90" fmla="*/ 115 w 524"/>
              <a:gd name="T91" fmla="*/ 406 h 1078"/>
              <a:gd name="T92" fmla="*/ 128 w 524"/>
              <a:gd name="T93" fmla="*/ 394 h 1078"/>
              <a:gd name="T94" fmla="*/ 146 w 524"/>
              <a:gd name="T95" fmla="*/ 378 h 1078"/>
              <a:gd name="T96" fmla="*/ 167 w 524"/>
              <a:gd name="T97" fmla="*/ 353 h 1078"/>
              <a:gd name="T98" fmla="*/ 189 w 524"/>
              <a:gd name="T99" fmla="*/ 344 h 1078"/>
              <a:gd name="T100" fmla="*/ 203 w 524"/>
              <a:gd name="T101" fmla="*/ 303 h 1078"/>
              <a:gd name="T102" fmla="*/ 222 w 524"/>
              <a:gd name="T103" fmla="*/ 284 h 1078"/>
              <a:gd name="T104" fmla="*/ 223 w 524"/>
              <a:gd name="T105" fmla="*/ 262 h 1078"/>
              <a:gd name="T106" fmla="*/ 224 w 524"/>
              <a:gd name="T107" fmla="*/ 196 h 1078"/>
              <a:gd name="T108" fmla="*/ 181 w 524"/>
              <a:gd name="T109" fmla="*/ 178 h 1078"/>
              <a:gd name="T110" fmla="*/ 208 w 524"/>
              <a:gd name="T111" fmla="*/ 108 h 1078"/>
              <a:gd name="T112" fmla="*/ 232 w 524"/>
              <a:gd name="T113" fmla="*/ 75 h 1078"/>
              <a:gd name="T114" fmla="*/ 281 w 524"/>
              <a:gd name="T115" fmla="*/ 0 h 1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4" h="1078">
                <a:moveTo>
                  <a:pt x="296" y="2"/>
                </a:moveTo>
                <a:lnTo>
                  <a:pt x="332" y="1"/>
                </a:lnTo>
                <a:lnTo>
                  <a:pt x="348" y="3"/>
                </a:lnTo>
                <a:lnTo>
                  <a:pt x="354" y="7"/>
                </a:lnTo>
                <a:lnTo>
                  <a:pt x="351" y="11"/>
                </a:lnTo>
                <a:lnTo>
                  <a:pt x="346" y="15"/>
                </a:lnTo>
                <a:lnTo>
                  <a:pt x="343" y="22"/>
                </a:lnTo>
                <a:lnTo>
                  <a:pt x="345" y="31"/>
                </a:lnTo>
                <a:lnTo>
                  <a:pt x="349" y="42"/>
                </a:lnTo>
                <a:lnTo>
                  <a:pt x="351" y="52"/>
                </a:lnTo>
                <a:lnTo>
                  <a:pt x="348" y="60"/>
                </a:lnTo>
                <a:lnTo>
                  <a:pt x="343" y="68"/>
                </a:lnTo>
                <a:lnTo>
                  <a:pt x="341" y="75"/>
                </a:lnTo>
                <a:lnTo>
                  <a:pt x="343" y="81"/>
                </a:lnTo>
                <a:lnTo>
                  <a:pt x="344" y="87"/>
                </a:lnTo>
                <a:lnTo>
                  <a:pt x="348" y="92"/>
                </a:lnTo>
                <a:lnTo>
                  <a:pt x="354" y="96"/>
                </a:lnTo>
                <a:lnTo>
                  <a:pt x="363" y="100"/>
                </a:lnTo>
                <a:lnTo>
                  <a:pt x="371" y="102"/>
                </a:lnTo>
                <a:lnTo>
                  <a:pt x="380" y="101"/>
                </a:lnTo>
                <a:lnTo>
                  <a:pt x="389" y="99"/>
                </a:lnTo>
                <a:lnTo>
                  <a:pt x="395" y="94"/>
                </a:lnTo>
                <a:lnTo>
                  <a:pt x="403" y="86"/>
                </a:lnTo>
                <a:lnTo>
                  <a:pt x="411" y="77"/>
                </a:lnTo>
                <a:lnTo>
                  <a:pt x="420" y="70"/>
                </a:lnTo>
                <a:lnTo>
                  <a:pt x="437" y="62"/>
                </a:lnTo>
                <a:lnTo>
                  <a:pt x="445" y="56"/>
                </a:lnTo>
                <a:lnTo>
                  <a:pt x="495" y="8"/>
                </a:lnTo>
                <a:lnTo>
                  <a:pt x="506" y="1"/>
                </a:lnTo>
                <a:lnTo>
                  <a:pt x="512" y="1"/>
                </a:lnTo>
                <a:lnTo>
                  <a:pt x="524" y="5"/>
                </a:lnTo>
                <a:lnTo>
                  <a:pt x="518" y="35"/>
                </a:lnTo>
                <a:lnTo>
                  <a:pt x="471" y="143"/>
                </a:lnTo>
                <a:lnTo>
                  <a:pt x="461" y="161"/>
                </a:lnTo>
                <a:lnTo>
                  <a:pt x="457" y="167"/>
                </a:lnTo>
                <a:lnTo>
                  <a:pt x="452" y="170"/>
                </a:lnTo>
                <a:lnTo>
                  <a:pt x="446" y="173"/>
                </a:lnTo>
                <a:lnTo>
                  <a:pt x="440" y="179"/>
                </a:lnTo>
                <a:lnTo>
                  <a:pt x="434" y="184"/>
                </a:lnTo>
                <a:lnTo>
                  <a:pt x="417" y="218"/>
                </a:lnTo>
                <a:lnTo>
                  <a:pt x="409" y="224"/>
                </a:lnTo>
                <a:lnTo>
                  <a:pt x="401" y="231"/>
                </a:lnTo>
                <a:lnTo>
                  <a:pt x="394" y="237"/>
                </a:lnTo>
                <a:lnTo>
                  <a:pt x="388" y="247"/>
                </a:lnTo>
                <a:lnTo>
                  <a:pt x="379" y="271"/>
                </a:lnTo>
                <a:lnTo>
                  <a:pt x="378" y="283"/>
                </a:lnTo>
                <a:lnTo>
                  <a:pt x="377" y="295"/>
                </a:lnTo>
                <a:lnTo>
                  <a:pt x="379" y="307"/>
                </a:lnTo>
                <a:lnTo>
                  <a:pt x="368" y="353"/>
                </a:lnTo>
                <a:lnTo>
                  <a:pt x="367" y="371"/>
                </a:lnTo>
                <a:lnTo>
                  <a:pt x="366" y="386"/>
                </a:lnTo>
                <a:lnTo>
                  <a:pt x="372" y="397"/>
                </a:lnTo>
                <a:lnTo>
                  <a:pt x="390" y="419"/>
                </a:lnTo>
                <a:lnTo>
                  <a:pt x="395" y="441"/>
                </a:lnTo>
                <a:lnTo>
                  <a:pt x="363" y="456"/>
                </a:lnTo>
                <a:lnTo>
                  <a:pt x="351" y="472"/>
                </a:lnTo>
                <a:lnTo>
                  <a:pt x="335" y="498"/>
                </a:lnTo>
                <a:lnTo>
                  <a:pt x="325" y="509"/>
                </a:lnTo>
                <a:lnTo>
                  <a:pt x="323" y="518"/>
                </a:lnTo>
                <a:lnTo>
                  <a:pt x="325" y="522"/>
                </a:lnTo>
                <a:lnTo>
                  <a:pt x="330" y="523"/>
                </a:lnTo>
                <a:lnTo>
                  <a:pt x="336" y="521"/>
                </a:lnTo>
                <a:lnTo>
                  <a:pt x="340" y="517"/>
                </a:lnTo>
                <a:lnTo>
                  <a:pt x="349" y="504"/>
                </a:lnTo>
                <a:lnTo>
                  <a:pt x="353" y="500"/>
                </a:lnTo>
                <a:lnTo>
                  <a:pt x="357" y="500"/>
                </a:lnTo>
                <a:lnTo>
                  <a:pt x="362" y="503"/>
                </a:lnTo>
                <a:lnTo>
                  <a:pt x="368" y="515"/>
                </a:lnTo>
                <a:lnTo>
                  <a:pt x="388" y="529"/>
                </a:lnTo>
                <a:lnTo>
                  <a:pt x="388" y="532"/>
                </a:lnTo>
                <a:lnTo>
                  <a:pt x="385" y="536"/>
                </a:lnTo>
                <a:lnTo>
                  <a:pt x="382" y="539"/>
                </a:lnTo>
                <a:lnTo>
                  <a:pt x="379" y="541"/>
                </a:lnTo>
                <a:lnTo>
                  <a:pt x="375" y="541"/>
                </a:lnTo>
                <a:lnTo>
                  <a:pt x="372" y="542"/>
                </a:lnTo>
                <a:lnTo>
                  <a:pt x="369" y="546"/>
                </a:lnTo>
                <a:lnTo>
                  <a:pt x="368" y="553"/>
                </a:lnTo>
                <a:lnTo>
                  <a:pt x="367" y="605"/>
                </a:lnTo>
                <a:lnTo>
                  <a:pt x="369" y="619"/>
                </a:lnTo>
                <a:lnTo>
                  <a:pt x="376" y="630"/>
                </a:lnTo>
                <a:lnTo>
                  <a:pt x="384" y="639"/>
                </a:lnTo>
                <a:lnTo>
                  <a:pt x="406" y="653"/>
                </a:lnTo>
                <a:lnTo>
                  <a:pt x="411" y="659"/>
                </a:lnTo>
                <a:lnTo>
                  <a:pt x="416" y="667"/>
                </a:lnTo>
                <a:lnTo>
                  <a:pt x="415" y="676"/>
                </a:lnTo>
                <a:lnTo>
                  <a:pt x="411" y="686"/>
                </a:lnTo>
                <a:lnTo>
                  <a:pt x="408" y="691"/>
                </a:lnTo>
                <a:lnTo>
                  <a:pt x="404" y="698"/>
                </a:lnTo>
                <a:lnTo>
                  <a:pt x="402" y="700"/>
                </a:lnTo>
                <a:lnTo>
                  <a:pt x="398" y="700"/>
                </a:lnTo>
                <a:lnTo>
                  <a:pt x="394" y="697"/>
                </a:lnTo>
                <a:lnTo>
                  <a:pt x="391" y="696"/>
                </a:lnTo>
                <a:lnTo>
                  <a:pt x="387" y="697"/>
                </a:lnTo>
                <a:lnTo>
                  <a:pt x="368" y="718"/>
                </a:lnTo>
                <a:lnTo>
                  <a:pt x="364" y="723"/>
                </a:lnTo>
                <a:lnTo>
                  <a:pt x="358" y="726"/>
                </a:lnTo>
                <a:lnTo>
                  <a:pt x="354" y="728"/>
                </a:lnTo>
                <a:lnTo>
                  <a:pt x="353" y="733"/>
                </a:lnTo>
                <a:lnTo>
                  <a:pt x="355" y="736"/>
                </a:lnTo>
                <a:lnTo>
                  <a:pt x="358" y="737"/>
                </a:lnTo>
                <a:lnTo>
                  <a:pt x="364" y="738"/>
                </a:lnTo>
                <a:lnTo>
                  <a:pt x="367" y="740"/>
                </a:lnTo>
                <a:lnTo>
                  <a:pt x="370" y="743"/>
                </a:lnTo>
                <a:lnTo>
                  <a:pt x="374" y="746"/>
                </a:lnTo>
                <a:lnTo>
                  <a:pt x="378" y="744"/>
                </a:lnTo>
                <a:lnTo>
                  <a:pt x="382" y="747"/>
                </a:lnTo>
                <a:lnTo>
                  <a:pt x="388" y="754"/>
                </a:lnTo>
                <a:lnTo>
                  <a:pt x="395" y="768"/>
                </a:lnTo>
                <a:lnTo>
                  <a:pt x="415" y="799"/>
                </a:lnTo>
                <a:lnTo>
                  <a:pt x="416" y="804"/>
                </a:lnTo>
                <a:lnTo>
                  <a:pt x="413" y="817"/>
                </a:lnTo>
                <a:lnTo>
                  <a:pt x="414" y="824"/>
                </a:lnTo>
                <a:lnTo>
                  <a:pt x="416" y="832"/>
                </a:lnTo>
                <a:lnTo>
                  <a:pt x="421" y="842"/>
                </a:lnTo>
                <a:lnTo>
                  <a:pt x="426" y="848"/>
                </a:lnTo>
                <a:lnTo>
                  <a:pt x="429" y="856"/>
                </a:lnTo>
                <a:lnTo>
                  <a:pt x="428" y="866"/>
                </a:lnTo>
                <a:lnTo>
                  <a:pt x="421" y="879"/>
                </a:lnTo>
                <a:lnTo>
                  <a:pt x="409" y="923"/>
                </a:lnTo>
                <a:lnTo>
                  <a:pt x="407" y="926"/>
                </a:lnTo>
                <a:lnTo>
                  <a:pt x="398" y="932"/>
                </a:lnTo>
                <a:lnTo>
                  <a:pt x="395" y="938"/>
                </a:lnTo>
                <a:lnTo>
                  <a:pt x="396" y="944"/>
                </a:lnTo>
                <a:lnTo>
                  <a:pt x="418" y="972"/>
                </a:lnTo>
                <a:lnTo>
                  <a:pt x="441" y="1009"/>
                </a:lnTo>
                <a:lnTo>
                  <a:pt x="445" y="1019"/>
                </a:lnTo>
                <a:lnTo>
                  <a:pt x="445" y="1024"/>
                </a:lnTo>
                <a:lnTo>
                  <a:pt x="441" y="1035"/>
                </a:lnTo>
                <a:lnTo>
                  <a:pt x="435" y="1058"/>
                </a:lnTo>
                <a:lnTo>
                  <a:pt x="426" y="1078"/>
                </a:lnTo>
                <a:lnTo>
                  <a:pt x="391" y="1047"/>
                </a:lnTo>
                <a:lnTo>
                  <a:pt x="341" y="963"/>
                </a:lnTo>
                <a:lnTo>
                  <a:pt x="333" y="955"/>
                </a:lnTo>
                <a:lnTo>
                  <a:pt x="313" y="939"/>
                </a:lnTo>
                <a:lnTo>
                  <a:pt x="305" y="934"/>
                </a:lnTo>
                <a:lnTo>
                  <a:pt x="290" y="926"/>
                </a:lnTo>
                <a:lnTo>
                  <a:pt x="260" y="906"/>
                </a:lnTo>
                <a:lnTo>
                  <a:pt x="247" y="899"/>
                </a:lnTo>
                <a:lnTo>
                  <a:pt x="233" y="898"/>
                </a:lnTo>
                <a:lnTo>
                  <a:pt x="220" y="899"/>
                </a:lnTo>
                <a:lnTo>
                  <a:pt x="186" y="911"/>
                </a:lnTo>
                <a:lnTo>
                  <a:pt x="163" y="916"/>
                </a:lnTo>
                <a:lnTo>
                  <a:pt x="148" y="912"/>
                </a:lnTo>
                <a:lnTo>
                  <a:pt x="143" y="907"/>
                </a:lnTo>
                <a:lnTo>
                  <a:pt x="138" y="892"/>
                </a:lnTo>
                <a:lnTo>
                  <a:pt x="123" y="864"/>
                </a:lnTo>
                <a:lnTo>
                  <a:pt x="115" y="841"/>
                </a:lnTo>
                <a:lnTo>
                  <a:pt x="110" y="833"/>
                </a:lnTo>
                <a:lnTo>
                  <a:pt x="93" y="811"/>
                </a:lnTo>
                <a:lnTo>
                  <a:pt x="86" y="800"/>
                </a:lnTo>
                <a:lnTo>
                  <a:pt x="82" y="786"/>
                </a:lnTo>
                <a:lnTo>
                  <a:pt x="75" y="772"/>
                </a:lnTo>
                <a:lnTo>
                  <a:pt x="65" y="763"/>
                </a:lnTo>
                <a:lnTo>
                  <a:pt x="11" y="735"/>
                </a:lnTo>
                <a:lnTo>
                  <a:pt x="7" y="729"/>
                </a:lnTo>
                <a:lnTo>
                  <a:pt x="5" y="723"/>
                </a:lnTo>
                <a:lnTo>
                  <a:pt x="4" y="713"/>
                </a:lnTo>
                <a:lnTo>
                  <a:pt x="5" y="705"/>
                </a:lnTo>
                <a:lnTo>
                  <a:pt x="8" y="693"/>
                </a:lnTo>
                <a:lnTo>
                  <a:pt x="10" y="689"/>
                </a:lnTo>
                <a:lnTo>
                  <a:pt x="1" y="660"/>
                </a:lnTo>
                <a:lnTo>
                  <a:pt x="0" y="652"/>
                </a:lnTo>
                <a:lnTo>
                  <a:pt x="3" y="610"/>
                </a:lnTo>
                <a:lnTo>
                  <a:pt x="5" y="602"/>
                </a:lnTo>
                <a:lnTo>
                  <a:pt x="15" y="572"/>
                </a:lnTo>
                <a:lnTo>
                  <a:pt x="18" y="566"/>
                </a:lnTo>
                <a:lnTo>
                  <a:pt x="27" y="554"/>
                </a:lnTo>
                <a:lnTo>
                  <a:pt x="39" y="541"/>
                </a:lnTo>
                <a:lnTo>
                  <a:pt x="44" y="533"/>
                </a:lnTo>
                <a:lnTo>
                  <a:pt x="82" y="463"/>
                </a:lnTo>
                <a:lnTo>
                  <a:pt x="84" y="456"/>
                </a:lnTo>
                <a:lnTo>
                  <a:pt x="85" y="450"/>
                </a:lnTo>
                <a:lnTo>
                  <a:pt x="85" y="436"/>
                </a:lnTo>
                <a:lnTo>
                  <a:pt x="86" y="431"/>
                </a:lnTo>
                <a:lnTo>
                  <a:pt x="89" y="429"/>
                </a:lnTo>
                <a:lnTo>
                  <a:pt x="91" y="427"/>
                </a:lnTo>
                <a:lnTo>
                  <a:pt x="94" y="426"/>
                </a:lnTo>
                <a:lnTo>
                  <a:pt x="102" y="424"/>
                </a:lnTo>
                <a:lnTo>
                  <a:pt x="105" y="423"/>
                </a:lnTo>
                <a:lnTo>
                  <a:pt x="107" y="419"/>
                </a:lnTo>
                <a:lnTo>
                  <a:pt x="108" y="412"/>
                </a:lnTo>
                <a:lnTo>
                  <a:pt x="109" y="409"/>
                </a:lnTo>
                <a:lnTo>
                  <a:pt x="112" y="406"/>
                </a:lnTo>
                <a:lnTo>
                  <a:pt x="115" y="406"/>
                </a:lnTo>
                <a:lnTo>
                  <a:pt x="119" y="405"/>
                </a:lnTo>
                <a:lnTo>
                  <a:pt x="123" y="403"/>
                </a:lnTo>
                <a:lnTo>
                  <a:pt x="125" y="399"/>
                </a:lnTo>
                <a:lnTo>
                  <a:pt x="128" y="394"/>
                </a:lnTo>
                <a:lnTo>
                  <a:pt x="129" y="386"/>
                </a:lnTo>
                <a:lnTo>
                  <a:pt x="132" y="381"/>
                </a:lnTo>
                <a:lnTo>
                  <a:pt x="136" y="379"/>
                </a:lnTo>
                <a:lnTo>
                  <a:pt x="146" y="378"/>
                </a:lnTo>
                <a:lnTo>
                  <a:pt x="150" y="375"/>
                </a:lnTo>
                <a:lnTo>
                  <a:pt x="157" y="365"/>
                </a:lnTo>
                <a:lnTo>
                  <a:pt x="164" y="357"/>
                </a:lnTo>
                <a:lnTo>
                  <a:pt x="167" y="353"/>
                </a:lnTo>
                <a:lnTo>
                  <a:pt x="171" y="349"/>
                </a:lnTo>
                <a:lnTo>
                  <a:pt x="177" y="347"/>
                </a:lnTo>
                <a:lnTo>
                  <a:pt x="184" y="346"/>
                </a:lnTo>
                <a:lnTo>
                  <a:pt x="189" y="344"/>
                </a:lnTo>
                <a:lnTo>
                  <a:pt x="194" y="339"/>
                </a:lnTo>
                <a:lnTo>
                  <a:pt x="197" y="332"/>
                </a:lnTo>
                <a:lnTo>
                  <a:pt x="201" y="309"/>
                </a:lnTo>
                <a:lnTo>
                  <a:pt x="203" y="303"/>
                </a:lnTo>
                <a:lnTo>
                  <a:pt x="207" y="296"/>
                </a:lnTo>
                <a:lnTo>
                  <a:pt x="211" y="290"/>
                </a:lnTo>
                <a:lnTo>
                  <a:pt x="216" y="287"/>
                </a:lnTo>
                <a:lnTo>
                  <a:pt x="222" y="284"/>
                </a:lnTo>
                <a:lnTo>
                  <a:pt x="226" y="277"/>
                </a:lnTo>
                <a:lnTo>
                  <a:pt x="225" y="274"/>
                </a:lnTo>
                <a:lnTo>
                  <a:pt x="223" y="269"/>
                </a:lnTo>
                <a:lnTo>
                  <a:pt x="223" y="262"/>
                </a:lnTo>
                <a:lnTo>
                  <a:pt x="234" y="233"/>
                </a:lnTo>
                <a:lnTo>
                  <a:pt x="237" y="211"/>
                </a:lnTo>
                <a:lnTo>
                  <a:pt x="233" y="202"/>
                </a:lnTo>
                <a:lnTo>
                  <a:pt x="224" y="196"/>
                </a:lnTo>
                <a:lnTo>
                  <a:pt x="213" y="196"/>
                </a:lnTo>
                <a:lnTo>
                  <a:pt x="189" y="198"/>
                </a:lnTo>
                <a:lnTo>
                  <a:pt x="168" y="205"/>
                </a:lnTo>
                <a:lnTo>
                  <a:pt x="181" y="178"/>
                </a:lnTo>
                <a:lnTo>
                  <a:pt x="190" y="131"/>
                </a:lnTo>
                <a:lnTo>
                  <a:pt x="195" y="119"/>
                </a:lnTo>
                <a:lnTo>
                  <a:pt x="202" y="112"/>
                </a:lnTo>
                <a:lnTo>
                  <a:pt x="208" y="108"/>
                </a:lnTo>
                <a:lnTo>
                  <a:pt x="215" y="106"/>
                </a:lnTo>
                <a:lnTo>
                  <a:pt x="222" y="102"/>
                </a:lnTo>
                <a:lnTo>
                  <a:pt x="224" y="99"/>
                </a:lnTo>
                <a:lnTo>
                  <a:pt x="232" y="75"/>
                </a:lnTo>
                <a:lnTo>
                  <a:pt x="247" y="44"/>
                </a:lnTo>
                <a:lnTo>
                  <a:pt x="252" y="30"/>
                </a:lnTo>
                <a:lnTo>
                  <a:pt x="261" y="0"/>
                </a:lnTo>
                <a:lnTo>
                  <a:pt x="281" y="0"/>
                </a:lnTo>
                <a:lnTo>
                  <a:pt x="296" y="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3" name="Freeform 17">
            <a:extLst>
              <a:ext uri="{FF2B5EF4-FFF2-40B4-BE49-F238E27FC236}">
                <a16:creationId xmlns:a16="http://schemas.microsoft.com/office/drawing/2014/main" id="{289DE4F6-C4CA-8D19-FC91-C2CF91692385}"/>
              </a:ext>
            </a:extLst>
          </p:cNvPr>
          <p:cNvSpPr>
            <a:spLocks/>
          </p:cNvSpPr>
          <p:nvPr/>
        </p:nvSpPr>
        <p:spPr bwMode="auto">
          <a:xfrm>
            <a:off x="6101803" y="5060730"/>
            <a:ext cx="1120713" cy="1085195"/>
          </a:xfrm>
          <a:custGeom>
            <a:avLst/>
            <a:gdLst>
              <a:gd name="T0" fmla="*/ 808 w 946"/>
              <a:gd name="T1" fmla="*/ 19 h 968"/>
              <a:gd name="T2" fmla="*/ 818 w 946"/>
              <a:gd name="T3" fmla="*/ 73 h 968"/>
              <a:gd name="T4" fmla="*/ 884 w 946"/>
              <a:gd name="T5" fmla="*/ 78 h 968"/>
              <a:gd name="T6" fmla="*/ 926 w 946"/>
              <a:gd name="T7" fmla="*/ 141 h 968"/>
              <a:gd name="T8" fmla="*/ 932 w 946"/>
              <a:gd name="T9" fmla="*/ 223 h 968"/>
              <a:gd name="T10" fmla="*/ 915 w 946"/>
              <a:gd name="T11" fmla="*/ 252 h 968"/>
              <a:gd name="T12" fmla="*/ 894 w 946"/>
              <a:gd name="T13" fmla="*/ 260 h 968"/>
              <a:gd name="T14" fmla="*/ 886 w 946"/>
              <a:gd name="T15" fmla="*/ 276 h 968"/>
              <a:gd name="T16" fmla="*/ 923 w 946"/>
              <a:gd name="T17" fmla="*/ 341 h 968"/>
              <a:gd name="T18" fmla="*/ 930 w 946"/>
              <a:gd name="T19" fmla="*/ 387 h 968"/>
              <a:gd name="T20" fmla="*/ 923 w 946"/>
              <a:gd name="T21" fmla="*/ 472 h 968"/>
              <a:gd name="T22" fmla="*/ 912 w 946"/>
              <a:gd name="T23" fmla="*/ 549 h 968"/>
              <a:gd name="T24" fmla="*/ 927 w 946"/>
              <a:gd name="T25" fmla="*/ 561 h 968"/>
              <a:gd name="T26" fmla="*/ 944 w 946"/>
              <a:gd name="T27" fmla="*/ 584 h 968"/>
              <a:gd name="T28" fmla="*/ 941 w 946"/>
              <a:gd name="T29" fmla="*/ 665 h 968"/>
              <a:gd name="T30" fmla="*/ 936 w 946"/>
              <a:gd name="T31" fmla="*/ 730 h 968"/>
              <a:gd name="T32" fmla="*/ 905 w 946"/>
              <a:gd name="T33" fmla="*/ 770 h 968"/>
              <a:gd name="T34" fmla="*/ 880 w 946"/>
              <a:gd name="T35" fmla="*/ 784 h 968"/>
              <a:gd name="T36" fmla="*/ 852 w 946"/>
              <a:gd name="T37" fmla="*/ 776 h 968"/>
              <a:gd name="T38" fmla="*/ 819 w 946"/>
              <a:gd name="T39" fmla="*/ 775 h 968"/>
              <a:gd name="T40" fmla="*/ 797 w 946"/>
              <a:gd name="T41" fmla="*/ 822 h 968"/>
              <a:gd name="T42" fmla="*/ 771 w 946"/>
              <a:gd name="T43" fmla="*/ 889 h 968"/>
              <a:gd name="T44" fmla="*/ 705 w 946"/>
              <a:gd name="T45" fmla="*/ 967 h 968"/>
              <a:gd name="T46" fmla="*/ 677 w 946"/>
              <a:gd name="T47" fmla="*/ 824 h 968"/>
              <a:gd name="T48" fmla="*/ 640 w 946"/>
              <a:gd name="T49" fmla="*/ 797 h 968"/>
              <a:gd name="T50" fmla="*/ 549 w 946"/>
              <a:gd name="T51" fmla="*/ 749 h 968"/>
              <a:gd name="T52" fmla="*/ 425 w 946"/>
              <a:gd name="T53" fmla="*/ 734 h 968"/>
              <a:gd name="T54" fmla="*/ 339 w 946"/>
              <a:gd name="T55" fmla="*/ 702 h 968"/>
              <a:gd name="T56" fmla="*/ 266 w 946"/>
              <a:gd name="T57" fmla="*/ 652 h 968"/>
              <a:gd name="T58" fmla="*/ 214 w 946"/>
              <a:gd name="T59" fmla="*/ 648 h 968"/>
              <a:gd name="T60" fmla="*/ 184 w 946"/>
              <a:gd name="T61" fmla="*/ 699 h 968"/>
              <a:gd name="T62" fmla="*/ 83 w 946"/>
              <a:gd name="T63" fmla="*/ 771 h 968"/>
              <a:gd name="T64" fmla="*/ 15 w 946"/>
              <a:gd name="T65" fmla="*/ 728 h 968"/>
              <a:gd name="T66" fmla="*/ 53 w 946"/>
              <a:gd name="T67" fmla="*/ 597 h 968"/>
              <a:gd name="T68" fmla="*/ 18 w 946"/>
              <a:gd name="T69" fmla="*/ 539 h 968"/>
              <a:gd name="T70" fmla="*/ 2 w 946"/>
              <a:gd name="T71" fmla="*/ 494 h 968"/>
              <a:gd name="T72" fmla="*/ 44 w 946"/>
              <a:gd name="T73" fmla="*/ 440 h 968"/>
              <a:gd name="T74" fmla="*/ 126 w 946"/>
              <a:gd name="T75" fmla="*/ 461 h 968"/>
              <a:gd name="T76" fmla="*/ 223 w 946"/>
              <a:gd name="T77" fmla="*/ 389 h 968"/>
              <a:gd name="T78" fmla="*/ 335 w 946"/>
              <a:gd name="T79" fmla="*/ 358 h 968"/>
              <a:gd name="T80" fmla="*/ 449 w 946"/>
              <a:gd name="T81" fmla="*/ 335 h 968"/>
              <a:gd name="T82" fmla="*/ 541 w 946"/>
              <a:gd name="T83" fmla="*/ 330 h 968"/>
              <a:gd name="T84" fmla="*/ 602 w 946"/>
              <a:gd name="T85" fmla="*/ 285 h 968"/>
              <a:gd name="T86" fmla="*/ 631 w 946"/>
              <a:gd name="T87" fmla="*/ 310 h 968"/>
              <a:gd name="T88" fmla="*/ 694 w 946"/>
              <a:gd name="T89" fmla="*/ 317 h 968"/>
              <a:gd name="T90" fmla="*/ 741 w 946"/>
              <a:gd name="T91" fmla="*/ 306 h 968"/>
              <a:gd name="T92" fmla="*/ 744 w 946"/>
              <a:gd name="T93" fmla="*/ 264 h 968"/>
              <a:gd name="T94" fmla="*/ 767 w 946"/>
              <a:gd name="T95" fmla="*/ 228 h 968"/>
              <a:gd name="T96" fmla="*/ 755 w 946"/>
              <a:gd name="T97" fmla="*/ 193 h 968"/>
              <a:gd name="T98" fmla="*/ 721 w 946"/>
              <a:gd name="T99" fmla="*/ 177 h 968"/>
              <a:gd name="T100" fmla="*/ 692 w 946"/>
              <a:gd name="T101" fmla="*/ 206 h 968"/>
              <a:gd name="T102" fmla="*/ 697 w 946"/>
              <a:gd name="T103" fmla="*/ 147 h 968"/>
              <a:gd name="T104" fmla="*/ 730 w 946"/>
              <a:gd name="T105" fmla="*/ 85 h 968"/>
              <a:gd name="T106" fmla="*/ 720 w 946"/>
              <a:gd name="T107" fmla="*/ 69 h 968"/>
              <a:gd name="T108" fmla="*/ 704 w 946"/>
              <a:gd name="T109" fmla="*/ 36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" h="968">
                <a:moveTo>
                  <a:pt x="766" y="10"/>
                </a:moveTo>
                <a:lnTo>
                  <a:pt x="784" y="8"/>
                </a:lnTo>
                <a:lnTo>
                  <a:pt x="793" y="8"/>
                </a:lnTo>
                <a:lnTo>
                  <a:pt x="801" y="13"/>
                </a:lnTo>
                <a:lnTo>
                  <a:pt x="808" y="19"/>
                </a:lnTo>
                <a:lnTo>
                  <a:pt x="812" y="30"/>
                </a:lnTo>
                <a:lnTo>
                  <a:pt x="813" y="37"/>
                </a:lnTo>
                <a:lnTo>
                  <a:pt x="812" y="50"/>
                </a:lnTo>
                <a:lnTo>
                  <a:pt x="813" y="65"/>
                </a:lnTo>
                <a:lnTo>
                  <a:pt x="818" y="73"/>
                </a:lnTo>
                <a:lnTo>
                  <a:pt x="825" y="82"/>
                </a:lnTo>
                <a:lnTo>
                  <a:pt x="842" y="89"/>
                </a:lnTo>
                <a:lnTo>
                  <a:pt x="855" y="89"/>
                </a:lnTo>
                <a:lnTo>
                  <a:pt x="865" y="88"/>
                </a:lnTo>
                <a:lnTo>
                  <a:pt x="884" y="78"/>
                </a:lnTo>
                <a:lnTo>
                  <a:pt x="890" y="77"/>
                </a:lnTo>
                <a:lnTo>
                  <a:pt x="894" y="81"/>
                </a:lnTo>
                <a:lnTo>
                  <a:pt x="899" y="94"/>
                </a:lnTo>
                <a:lnTo>
                  <a:pt x="906" y="108"/>
                </a:lnTo>
                <a:lnTo>
                  <a:pt x="926" y="141"/>
                </a:lnTo>
                <a:lnTo>
                  <a:pt x="931" y="154"/>
                </a:lnTo>
                <a:lnTo>
                  <a:pt x="931" y="169"/>
                </a:lnTo>
                <a:lnTo>
                  <a:pt x="933" y="189"/>
                </a:lnTo>
                <a:lnTo>
                  <a:pt x="945" y="207"/>
                </a:lnTo>
                <a:lnTo>
                  <a:pt x="932" y="223"/>
                </a:lnTo>
                <a:lnTo>
                  <a:pt x="927" y="225"/>
                </a:lnTo>
                <a:lnTo>
                  <a:pt x="917" y="234"/>
                </a:lnTo>
                <a:lnTo>
                  <a:pt x="915" y="238"/>
                </a:lnTo>
                <a:lnTo>
                  <a:pt x="915" y="248"/>
                </a:lnTo>
                <a:lnTo>
                  <a:pt x="915" y="252"/>
                </a:lnTo>
                <a:lnTo>
                  <a:pt x="912" y="257"/>
                </a:lnTo>
                <a:lnTo>
                  <a:pt x="909" y="259"/>
                </a:lnTo>
                <a:lnTo>
                  <a:pt x="905" y="260"/>
                </a:lnTo>
                <a:lnTo>
                  <a:pt x="898" y="261"/>
                </a:lnTo>
                <a:lnTo>
                  <a:pt x="894" y="260"/>
                </a:lnTo>
                <a:lnTo>
                  <a:pt x="890" y="261"/>
                </a:lnTo>
                <a:lnTo>
                  <a:pt x="887" y="262"/>
                </a:lnTo>
                <a:lnTo>
                  <a:pt x="885" y="265"/>
                </a:lnTo>
                <a:lnTo>
                  <a:pt x="884" y="271"/>
                </a:lnTo>
                <a:lnTo>
                  <a:pt x="886" y="276"/>
                </a:lnTo>
                <a:lnTo>
                  <a:pt x="887" y="282"/>
                </a:lnTo>
                <a:lnTo>
                  <a:pt x="893" y="293"/>
                </a:lnTo>
                <a:lnTo>
                  <a:pt x="903" y="316"/>
                </a:lnTo>
                <a:lnTo>
                  <a:pt x="910" y="326"/>
                </a:lnTo>
                <a:lnTo>
                  <a:pt x="923" y="341"/>
                </a:lnTo>
                <a:lnTo>
                  <a:pt x="930" y="355"/>
                </a:lnTo>
                <a:lnTo>
                  <a:pt x="932" y="362"/>
                </a:lnTo>
                <a:lnTo>
                  <a:pt x="933" y="373"/>
                </a:lnTo>
                <a:lnTo>
                  <a:pt x="933" y="379"/>
                </a:lnTo>
                <a:lnTo>
                  <a:pt x="930" y="387"/>
                </a:lnTo>
                <a:lnTo>
                  <a:pt x="925" y="401"/>
                </a:lnTo>
                <a:lnTo>
                  <a:pt x="920" y="416"/>
                </a:lnTo>
                <a:lnTo>
                  <a:pt x="918" y="436"/>
                </a:lnTo>
                <a:lnTo>
                  <a:pt x="919" y="452"/>
                </a:lnTo>
                <a:lnTo>
                  <a:pt x="923" y="472"/>
                </a:lnTo>
                <a:lnTo>
                  <a:pt x="922" y="482"/>
                </a:lnTo>
                <a:lnTo>
                  <a:pt x="912" y="520"/>
                </a:lnTo>
                <a:lnTo>
                  <a:pt x="911" y="534"/>
                </a:lnTo>
                <a:lnTo>
                  <a:pt x="910" y="544"/>
                </a:lnTo>
                <a:lnTo>
                  <a:pt x="912" y="549"/>
                </a:lnTo>
                <a:lnTo>
                  <a:pt x="914" y="552"/>
                </a:lnTo>
                <a:lnTo>
                  <a:pt x="915" y="555"/>
                </a:lnTo>
                <a:lnTo>
                  <a:pt x="917" y="557"/>
                </a:lnTo>
                <a:lnTo>
                  <a:pt x="920" y="558"/>
                </a:lnTo>
                <a:lnTo>
                  <a:pt x="927" y="561"/>
                </a:lnTo>
                <a:lnTo>
                  <a:pt x="930" y="563"/>
                </a:lnTo>
                <a:lnTo>
                  <a:pt x="933" y="566"/>
                </a:lnTo>
                <a:lnTo>
                  <a:pt x="936" y="570"/>
                </a:lnTo>
                <a:lnTo>
                  <a:pt x="942" y="578"/>
                </a:lnTo>
                <a:lnTo>
                  <a:pt x="944" y="584"/>
                </a:lnTo>
                <a:lnTo>
                  <a:pt x="945" y="589"/>
                </a:lnTo>
                <a:lnTo>
                  <a:pt x="945" y="601"/>
                </a:lnTo>
                <a:lnTo>
                  <a:pt x="944" y="610"/>
                </a:lnTo>
                <a:lnTo>
                  <a:pt x="946" y="627"/>
                </a:lnTo>
                <a:lnTo>
                  <a:pt x="941" y="665"/>
                </a:lnTo>
                <a:lnTo>
                  <a:pt x="942" y="673"/>
                </a:lnTo>
                <a:lnTo>
                  <a:pt x="943" y="689"/>
                </a:lnTo>
                <a:lnTo>
                  <a:pt x="942" y="703"/>
                </a:lnTo>
                <a:lnTo>
                  <a:pt x="938" y="725"/>
                </a:lnTo>
                <a:lnTo>
                  <a:pt x="936" y="730"/>
                </a:lnTo>
                <a:lnTo>
                  <a:pt x="932" y="734"/>
                </a:lnTo>
                <a:lnTo>
                  <a:pt x="925" y="742"/>
                </a:lnTo>
                <a:lnTo>
                  <a:pt x="915" y="756"/>
                </a:lnTo>
                <a:lnTo>
                  <a:pt x="910" y="766"/>
                </a:lnTo>
                <a:lnTo>
                  <a:pt x="905" y="770"/>
                </a:lnTo>
                <a:lnTo>
                  <a:pt x="899" y="772"/>
                </a:lnTo>
                <a:lnTo>
                  <a:pt x="893" y="773"/>
                </a:lnTo>
                <a:lnTo>
                  <a:pt x="888" y="776"/>
                </a:lnTo>
                <a:lnTo>
                  <a:pt x="884" y="779"/>
                </a:lnTo>
                <a:lnTo>
                  <a:pt x="880" y="784"/>
                </a:lnTo>
                <a:lnTo>
                  <a:pt x="876" y="789"/>
                </a:lnTo>
                <a:lnTo>
                  <a:pt x="871" y="789"/>
                </a:lnTo>
                <a:lnTo>
                  <a:pt x="864" y="783"/>
                </a:lnTo>
                <a:lnTo>
                  <a:pt x="858" y="779"/>
                </a:lnTo>
                <a:lnTo>
                  <a:pt x="852" y="776"/>
                </a:lnTo>
                <a:lnTo>
                  <a:pt x="844" y="775"/>
                </a:lnTo>
                <a:lnTo>
                  <a:pt x="835" y="771"/>
                </a:lnTo>
                <a:lnTo>
                  <a:pt x="828" y="770"/>
                </a:lnTo>
                <a:lnTo>
                  <a:pt x="823" y="770"/>
                </a:lnTo>
                <a:lnTo>
                  <a:pt x="819" y="775"/>
                </a:lnTo>
                <a:lnTo>
                  <a:pt x="814" y="782"/>
                </a:lnTo>
                <a:lnTo>
                  <a:pt x="811" y="788"/>
                </a:lnTo>
                <a:lnTo>
                  <a:pt x="800" y="795"/>
                </a:lnTo>
                <a:lnTo>
                  <a:pt x="797" y="816"/>
                </a:lnTo>
                <a:lnTo>
                  <a:pt x="797" y="822"/>
                </a:lnTo>
                <a:lnTo>
                  <a:pt x="800" y="835"/>
                </a:lnTo>
                <a:lnTo>
                  <a:pt x="799" y="842"/>
                </a:lnTo>
                <a:lnTo>
                  <a:pt x="796" y="851"/>
                </a:lnTo>
                <a:lnTo>
                  <a:pt x="792" y="859"/>
                </a:lnTo>
                <a:lnTo>
                  <a:pt x="771" y="889"/>
                </a:lnTo>
                <a:lnTo>
                  <a:pt x="762" y="898"/>
                </a:lnTo>
                <a:lnTo>
                  <a:pt x="740" y="934"/>
                </a:lnTo>
                <a:lnTo>
                  <a:pt x="711" y="965"/>
                </a:lnTo>
                <a:lnTo>
                  <a:pt x="705" y="968"/>
                </a:lnTo>
                <a:lnTo>
                  <a:pt x="705" y="967"/>
                </a:lnTo>
                <a:lnTo>
                  <a:pt x="688" y="934"/>
                </a:lnTo>
                <a:lnTo>
                  <a:pt x="680" y="895"/>
                </a:lnTo>
                <a:lnTo>
                  <a:pt x="660" y="866"/>
                </a:lnTo>
                <a:lnTo>
                  <a:pt x="660" y="851"/>
                </a:lnTo>
                <a:lnTo>
                  <a:pt x="677" y="824"/>
                </a:lnTo>
                <a:lnTo>
                  <a:pt x="678" y="814"/>
                </a:lnTo>
                <a:lnTo>
                  <a:pt x="675" y="808"/>
                </a:lnTo>
                <a:lnTo>
                  <a:pt x="660" y="799"/>
                </a:lnTo>
                <a:lnTo>
                  <a:pt x="644" y="799"/>
                </a:lnTo>
                <a:lnTo>
                  <a:pt x="640" y="797"/>
                </a:lnTo>
                <a:lnTo>
                  <a:pt x="631" y="791"/>
                </a:lnTo>
                <a:lnTo>
                  <a:pt x="626" y="789"/>
                </a:lnTo>
                <a:lnTo>
                  <a:pt x="592" y="755"/>
                </a:lnTo>
                <a:lnTo>
                  <a:pt x="573" y="745"/>
                </a:lnTo>
                <a:lnTo>
                  <a:pt x="549" y="749"/>
                </a:lnTo>
                <a:lnTo>
                  <a:pt x="526" y="763"/>
                </a:lnTo>
                <a:lnTo>
                  <a:pt x="481" y="777"/>
                </a:lnTo>
                <a:lnTo>
                  <a:pt x="456" y="772"/>
                </a:lnTo>
                <a:lnTo>
                  <a:pt x="439" y="755"/>
                </a:lnTo>
                <a:lnTo>
                  <a:pt x="425" y="734"/>
                </a:lnTo>
                <a:lnTo>
                  <a:pt x="408" y="718"/>
                </a:lnTo>
                <a:lnTo>
                  <a:pt x="391" y="714"/>
                </a:lnTo>
                <a:lnTo>
                  <a:pt x="373" y="714"/>
                </a:lnTo>
                <a:lnTo>
                  <a:pt x="356" y="712"/>
                </a:lnTo>
                <a:lnTo>
                  <a:pt x="339" y="702"/>
                </a:lnTo>
                <a:lnTo>
                  <a:pt x="325" y="692"/>
                </a:lnTo>
                <a:lnTo>
                  <a:pt x="303" y="668"/>
                </a:lnTo>
                <a:lnTo>
                  <a:pt x="291" y="659"/>
                </a:lnTo>
                <a:lnTo>
                  <a:pt x="279" y="654"/>
                </a:lnTo>
                <a:lnTo>
                  <a:pt x="266" y="652"/>
                </a:lnTo>
                <a:lnTo>
                  <a:pt x="254" y="648"/>
                </a:lnTo>
                <a:lnTo>
                  <a:pt x="250" y="641"/>
                </a:lnTo>
                <a:lnTo>
                  <a:pt x="249" y="641"/>
                </a:lnTo>
                <a:lnTo>
                  <a:pt x="222" y="646"/>
                </a:lnTo>
                <a:lnTo>
                  <a:pt x="214" y="648"/>
                </a:lnTo>
                <a:lnTo>
                  <a:pt x="206" y="651"/>
                </a:lnTo>
                <a:lnTo>
                  <a:pt x="201" y="655"/>
                </a:lnTo>
                <a:lnTo>
                  <a:pt x="196" y="665"/>
                </a:lnTo>
                <a:lnTo>
                  <a:pt x="189" y="689"/>
                </a:lnTo>
                <a:lnTo>
                  <a:pt x="184" y="699"/>
                </a:lnTo>
                <a:lnTo>
                  <a:pt x="173" y="711"/>
                </a:lnTo>
                <a:lnTo>
                  <a:pt x="122" y="750"/>
                </a:lnTo>
                <a:lnTo>
                  <a:pt x="94" y="765"/>
                </a:lnTo>
                <a:lnTo>
                  <a:pt x="88" y="770"/>
                </a:lnTo>
                <a:lnTo>
                  <a:pt x="83" y="771"/>
                </a:lnTo>
                <a:lnTo>
                  <a:pt x="71" y="771"/>
                </a:lnTo>
                <a:lnTo>
                  <a:pt x="59" y="767"/>
                </a:lnTo>
                <a:lnTo>
                  <a:pt x="30" y="751"/>
                </a:lnTo>
                <a:lnTo>
                  <a:pt x="20" y="742"/>
                </a:lnTo>
                <a:lnTo>
                  <a:pt x="15" y="728"/>
                </a:lnTo>
                <a:lnTo>
                  <a:pt x="17" y="717"/>
                </a:lnTo>
                <a:lnTo>
                  <a:pt x="106" y="599"/>
                </a:lnTo>
                <a:lnTo>
                  <a:pt x="113" y="584"/>
                </a:lnTo>
                <a:lnTo>
                  <a:pt x="82" y="588"/>
                </a:lnTo>
                <a:lnTo>
                  <a:pt x="53" y="597"/>
                </a:lnTo>
                <a:lnTo>
                  <a:pt x="30" y="594"/>
                </a:lnTo>
                <a:lnTo>
                  <a:pt x="16" y="564"/>
                </a:lnTo>
                <a:lnTo>
                  <a:pt x="16" y="558"/>
                </a:lnTo>
                <a:lnTo>
                  <a:pt x="18" y="545"/>
                </a:lnTo>
                <a:lnTo>
                  <a:pt x="18" y="539"/>
                </a:lnTo>
                <a:lnTo>
                  <a:pt x="15" y="531"/>
                </a:lnTo>
                <a:lnTo>
                  <a:pt x="4" y="516"/>
                </a:lnTo>
                <a:lnTo>
                  <a:pt x="0" y="507"/>
                </a:lnTo>
                <a:lnTo>
                  <a:pt x="2" y="495"/>
                </a:lnTo>
                <a:lnTo>
                  <a:pt x="2" y="494"/>
                </a:lnTo>
                <a:lnTo>
                  <a:pt x="7" y="477"/>
                </a:lnTo>
                <a:lnTo>
                  <a:pt x="15" y="460"/>
                </a:lnTo>
                <a:lnTo>
                  <a:pt x="22" y="451"/>
                </a:lnTo>
                <a:lnTo>
                  <a:pt x="32" y="443"/>
                </a:lnTo>
                <a:lnTo>
                  <a:pt x="44" y="440"/>
                </a:lnTo>
                <a:lnTo>
                  <a:pt x="58" y="439"/>
                </a:lnTo>
                <a:lnTo>
                  <a:pt x="72" y="439"/>
                </a:lnTo>
                <a:lnTo>
                  <a:pt x="85" y="443"/>
                </a:lnTo>
                <a:lnTo>
                  <a:pt x="113" y="458"/>
                </a:lnTo>
                <a:lnTo>
                  <a:pt x="126" y="461"/>
                </a:lnTo>
                <a:lnTo>
                  <a:pt x="140" y="454"/>
                </a:lnTo>
                <a:lnTo>
                  <a:pt x="151" y="441"/>
                </a:lnTo>
                <a:lnTo>
                  <a:pt x="161" y="425"/>
                </a:lnTo>
                <a:lnTo>
                  <a:pt x="171" y="413"/>
                </a:lnTo>
                <a:lnTo>
                  <a:pt x="223" y="389"/>
                </a:lnTo>
                <a:lnTo>
                  <a:pt x="234" y="377"/>
                </a:lnTo>
                <a:lnTo>
                  <a:pt x="234" y="370"/>
                </a:lnTo>
                <a:lnTo>
                  <a:pt x="243" y="370"/>
                </a:lnTo>
                <a:lnTo>
                  <a:pt x="293" y="367"/>
                </a:lnTo>
                <a:lnTo>
                  <a:pt x="335" y="358"/>
                </a:lnTo>
                <a:lnTo>
                  <a:pt x="374" y="339"/>
                </a:lnTo>
                <a:lnTo>
                  <a:pt x="387" y="337"/>
                </a:lnTo>
                <a:lnTo>
                  <a:pt x="426" y="332"/>
                </a:lnTo>
                <a:lnTo>
                  <a:pt x="438" y="332"/>
                </a:lnTo>
                <a:lnTo>
                  <a:pt x="449" y="335"/>
                </a:lnTo>
                <a:lnTo>
                  <a:pt x="462" y="340"/>
                </a:lnTo>
                <a:lnTo>
                  <a:pt x="474" y="341"/>
                </a:lnTo>
                <a:lnTo>
                  <a:pt x="517" y="339"/>
                </a:lnTo>
                <a:lnTo>
                  <a:pt x="532" y="336"/>
                </a:lnTo>
                <a:lnTo>
                  <a:pt x="541" y="330"/>
                </a:lnTo>
                <a:lnTo>
                  <a:pt x="559" y="311"/>
                </a:lnTo>
                <a:lnTo>
                  <a:pt x="565" y="304"/>
                </a:lnTo>
                <a:lnTo>
                  <a:pt x="586" y="293"/>
                </a:lnTo>
                <a:lnTo>
                  <a:pt x="595" y="289"/>
                </a:lnTo>
                <a:lnTo>
                  <a:pt x="602" y="285"/>
                </a:lnTo>
                <a:lnTo>
                  <a:pt x="607" y="285"/>
                </a:lnTo>
                <a:lnTo>
                  <a:pt x="612" y="286"/>
                </a:lnTo>
                <a:lnTo>
                  <a:pt x="616" y="295"/>
                </a:lnTo>
                <a:lnTo>
                  <a:pt x="620" y="300"/>
                </a:lnTo>
                <a:lnTo>
                  <a:pt x="631" y="310"/>
                </a:lnTo>
                <a:lnTo>
                  <a:pt x="639" y="313"/>
                </a:lnTo>
                <a:lnTo>
                  <a:pt x="650" y="314"/>
                </a:lnTo>
                <a:lnTo>
                  <a:pt x="673" y="311"/>
                </a:lnTo>
                <a:lnTo>
                  <a:pt x="682" y="313"/>
                </a:lnTo>
                <a:lnTo>
                  <a:pt x="694" y="317"/>
                </a:lnTo>
                <a:lnTo>
                  <a:pt x="703" y="319"/>
                </a:lnTo>
                <a:lnTo>
                  <a:pt x="715" y="321"/>
                </a:lnTo>
                <a:lnTo>
                  <a:pt x="727" y="317"/>
                </a:lnTo>
                <a:lnTo>
                  <a:pt x="735" y="312"/>
                </a:lnTo>
                <a:lnTo>
                  <a:pt x="741" y="306"/>
                </a:lnTo>
                <a:lnTo>
                  <a:pt x="746" y="300"/>
                </a:lnTo>
                <a:lnTo>
                  <a:pt x="748" y="293"/>
                </a:lnTo>
                <a:lnTo>
                  <a:pt x="748" y="287"/>
                </a:lnTo>
                <a:lnTo>
                  <a:pt x="744" y="269"/>
                </a:lnTo>
                <a:lnTo>
                  <a:pt x="744" y="264"/>
                </a:lnTo>
                <a:lnTo>
                  <a:pt x="747" y="260"/>
                </a:lnTo>
                <a:lnTo>
                  <a:pt x="758" y="250"/>
                </a:lnTo>
                <a:lnTo>
                  <a:pt x="761" y="246"/>
                </a:lnTo>
                <a:lnTo>
                  <a:pt x="764" y="239"/>
                </a:lnTo>
                <a:lnTo>
                  <a:pt x="767" y="228"/>
                </a:lnTo>
                <a:lnTo>
                  <a:pt x="769" y="219"/>
                </a:lnTo>
                <a:lnTo>
                  <a:pt x="767" y="209"/>
                </a:lnTo>
                <a:lnTo>
                  <a:pt x="764" y="201"/>
                </a:lnTo>
                <a:lnTo>
                  <a:pt x="759" y="196"/>
                </a:lnTo>
                <a:lnTo>
                  <a:pt x="755" y="193"/>
                </a:lnTo>
                <a:lnTo>
                  <a:pt x="747" y="187"/>
                </a:lnTo>
                <a:lnTo>
                  <a:pt x="740" y="181"/>
                </a:lnTo>
                <a:lnTo>
                  <a:pt x="734" y="177"/>
                </a:lnTo>
                <a:lnTo>
                  <a:pt x="728" y="175"/>
                </a:lnTo>
                <a:lnTo>
                  <a:pt x="721" y="177"/>
                </a:lnTo>
                <a:lnTo>
                  <a:pt x="717" y="182"/>
                </a:lnTo>
                <a:lnTo>
                  <a:pt x="709" y="192"/>
                </a:lnTo>
                <a:lnTo>
                  <a:pt x="701" y="200"/>
                </a:lnTo>
                <a:lnTo>
                  <a:pt x="696" y="205"/>
                </a:lnTo>
                <a:lnTo>
                  <a:pt x="692" y="206"/>
                </a:lnTo>
                <a:lnTo>
                  <a:pt x="689" y="201"/>
                </a:lnTo>
                <a:lnTo>
                  <a:pt x="688" y="195"/>
                </a:lnTo>
                <a:lnTo>
                  <a:pt x="689" y="186"/>
                </a:lnTo>
                <a:lnTo>
                  <a:pt x="698" y="156"/>
                </a:lnTo>
                <a:lnTo>
                  <a:pt x="697" y="147"/>
                </a:lnTo>
                <a:lnTo>
                  <a:pt x="698" y="131"/>
                </a:lnTo>
                <a:lnTo>
                  <a:pt x="701" y="123"/>
                </a:lnTo>
                <a:lnTo>
                  <a:pt x="705" y="116"/>
                </a:lnTo>
                <a:lnTo>
                  <a:pt x="728" y="90"/>
                </a:lnTo>
                <a:lnTo>
                  <a:pt x="730" y="85"/>
                </a:lnTo>
                <a:lnTo>
                  <a:pt x="731" y="81"/>
                </a:lnTo>
                <a:lnTo>
                  <a:pt x="731" y="78"/>
                </a:lnTo>
                <a:lnTo>
                  <a:pt x="728" y="73"/>
                </a:lnTo>
                <a:lnTo>
                  <a:pt x="724" y="70"/>
                </a:lnTo>
                <a:lnTo>
                  <a:pt x="720" y="69"/>
                </a:lnTo>
                <a:lnTo>
                  <a:pt x="715" y="68"/>
                </a:lnTo>
                <a:lnTo>
                  <a:pt x="711" y="65"/>
                </a:lnTo>
                <a:lnTo>
                  <a:pt x="708" y="58"/>
                </a:lnTo>
                <a:lnTo>
                  <a:pt x="705" y="47"/>
                </a:lnTo>
                <a:lnTo>
                  <a:pt x="704" y="36"/>
                </a:lnTo>
                <a:lnTo>
                  <a:pt x="707" y="0"/>
                </a:lnTo>
                <a:lnTo>
                  <a:pt x="724" y="6"/>
                </a:lnTo>
                <a:lnTo>
                  <a:pt x="743" y="10"/>
                </a:lnTo>
                <a:lnTo>
                  <a:pt x="766" y="1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7C24CA7D-B40B-045C-F23A-939C5BA1C44B}"/>
              </a:ext>
            </a:extLst>
          </p:cNvPr>
          <p:cNvSpPr>
            <a:spLocks/>
          </p:cNvSpPr>
          <p:nvPr/>
        </p:nvSpPr>
        <p:spPr bwMode="auto">
          <a:xfrm>
            <a:off x="7293597" y="1907162"/>
            <a:ext cx="950118" cy="553808"/>
          </a:xfrm>
          <a:custGeom>
            <a:avLst/>
            <a:gdLst>
              <a:gd name="T0" fmla="*/ 776 w 802"/>
              <a:gd name="T1" fmla="*/ 388 h 494"/>
              <a:gd name="T2" fmla="*/ 778 w 802"/>
              <a:gd name="T3" fmla="*/ 394 h 494"/>
              <a:gd name="T4" fmla="*/ 781 w 802"/>
              <a:gd name="T5" fmla="*/ 397 h 494"/>
              <a:gd name="T6" fmla="*/ 787 w 802"/>
              <a:gd name="T7" fmla="*/ 399 h 494"/>
              <a:gd name="T8" fmla="*/ 785 w 802"/>
              <a:gd name="T9" fmla="*/ 405 h 494"/>
              <a:gd name="T10" fmla="*/ 762 w 802"/>
              <a:gd name="T11" fmla="*/ 434 h 494"/>
              <a:gd name="T12" fmla="*/ 753 w 802"/>
              <a:gd name="T13" fmla="*/ 442 h 494"/>
              <a:gd name="T14" fmla="*/ 737 w 802"/>
              <a:gd name="T15" fmla="*/ 451 h 494"/>
              <a:gd name="T16" fmla="*/ 625 w 802"/>
              <a:gd name="T17" fmla="*/ 451 h 494"/>
              <a:gd name="T18" fmla="*/ 589 w 802"/>
              <a:gd name="T19" fmla="*/ 476 h 494"/>
              <a:gd name="T20" fmla="*/ 525 w 802"/>
              <a:gd name="T21" fmla="*/ 494 h 494"/>
              <a:gd name="T22" fmla="*/ 484 w 802"/>
              <a:gd name="T23" fmla="*/ 475 h 494"/>
              <a:gd name="T24" fmla="*/ 456 w 802"/>
              <a:gd name="T25" fmla="*/ 456 h 494"/>
              <a:gd name="T26" fmla="*/ 432 w 802"/>
              <a:gd name="T27" fmla="*/ 472 h 494"/>
              <a:gd name="T28" fmla="*/ 436 w 802"/>
              <a:gd name="T29" fmla="*/ 452 h 494"/>
              <a:gd name="T30" fmla="*/ 433 w 802"/>
              <a:gd name="T31" fmla="*/ 431 h 494"/>
              <a:gd name="T32" fmla="*/ 400 w 802"/>
              <a:gd name="T33" fmla="*/ 419 h 494"/>
              <a:gd name="T34" fmla="*/ 320 w 802"/>
              <a:gd name="T35" fmla="*/ 427 h 494"/>
              <a:gd name="T36" fmla="*/ 263 w 802"/>
              <a:gd name="T37" fmla="*/ 438 h 494"/>
              <a:gd name="T38" fmla="*/ 172 w 802"/>
              <a:gd name="T39" fmla="*/ 425 h 494"/>
              <a:gd name="T40" fmla="*/ 73 w 802"/>
              <a:gd name="T41" fmla="*/ 438 h 494"/>
              <a:gd name="T42" fmla="*/ 40 w 802"/>
              <a:gd name="T43" fmla="*/ 442 h 494"/>
              <a:gd name="T44" fmla="*/ 12 w 802"/>
              <a:gd name="T45" fmla="*/ 430 h 494"/>
              <a:gd name="T46" fmla="*/ 16 w 802"/>
              <a:gd name="T47" fmla="*/ 404 h 494"/>
              <a:gd name="T48" fmla="*/ 44 w 802"/>
              <a:gd name="T49" fmla="*/ 363 h 494"/>
              <a:gd name="T50" fmla="*/ 67 w 802"/>
              <a:gd name="T51" fmla="*/ 341 h 494"/>
              <a:gd name="T52" fmla="*/ 69 w 802"/>
              <a:gd name="T53" fmla="*/ 329 h 494"/>
              <a:gd name="T54" fmla="*/ 89 w 802"/>
              <a:gd name="T55" fmla="*/ 309 h 494"/>
              <a:gd name="T56" fmla="*/ 117 w 802"/>
              <a:gd name="T57" fmla="*/ 298 h 494"/>
              <a:gd name="T58" fmla="*/ 169 w 802"/>
              <a:gd name="T59" fmla="*/ 310 h 494"/>
              <a:gd name="T60" fmla="*/ 195 w 802"/>
              <a:gd name="T61" fmla="*/ 314 h 494"/>
              <a:gd name="T62" fmla="*/ 216 w 802"/>
              <a:gd name="T63" fmla="*/ 329 h 494"/>
              <a:gd name="T64" fmla="*/ 231 w 802"/>
              <a:gd name="T65" fmla="*/ 334 h 494"/>
              <a:gd name="T66" fmla="*/ 257 w 802"/>
              <a:gd name="T67" fmla="*/ 311 h 494"/>
              <a:gd name="T68" fmla="*/ 311 w 802"/>
              <a:gd name="T69" fmla="*/ 244 h 494"/>
              <a:gd name="T70" fmla="*/ 345 w 802"/>
              <a:gd name="T71" fmla="*/ 221 h 494"/>
              <a:gd name="T72" fmla="*/ 367 w 802"/>
              <a:gd name="T73" fmla="*/ 222 h 494"/>
              <a:gd name="T74" fmla="*/ 389 w 802"/>
              <a:gd name="T75" fmla="*/ 214 h 494"/>
              <a:gd name="T76" fmla="*/ 393 w 802"/>
              <a:gd name="T77" fmla="*/ 191 h 494"/>
              <a:gd name="T78" fmla="*/ 366 w 802"/>
              <a:gd name="T79" fmla="*/ 152 h 494"/>
              <a:gd name="T80" fmla="*/ 355 w 802"/>
              <a:gd name="T81" fmla="*/ 117 h 494"/>
              <a:gd name="T82" fmla="*/ 335 w 802"/>
              <a:gd name="T83" fmla="*/ 70 h 494"/>
              <a:gd name="T84" fmla="*/ 360 w 802"/>
              <a:gd name="T85" fmla="*/ 65 h 494"/>
              <a:gd name="T86" fmla="*/ 376 w 802"/>
              <a:gd name="T87" fmla="*/ 55 h 494"/>
              <a:gd name="T88" fmla="*/ 380 w 802"/>
              <a:gd name="T89" fmla="*/ 25 h 494"/>
              <a:gd name="T90" fmla="*/ 403 w 802"/>
              <a:gd name="T91" fmla="*/ 9 h 494"/>
              <a:gd name="T92" fmla="*/ 442 w 802"/>
              <a:gd name="T93" fmla="*/ 16 h 494"/>
              <a:gd name="T94" fmla="*/ 504 w 802"/>
              <a:gd name="T95" fmla="*/ 64 h 494"/>
              <a:gd name="T96" fmla="*/ 564 w 802"/>
              <a:gd name="T97" fmla="*/ 147 h 494"/>
              <a:gd name="T98" fmla="*/ 577 w 802"/>
              <a:gd name="T99" fmla="*/ 211 h 494"/>
              <a:gd name="T100" fmla="*/ 589 w 802"/>
              <a:gd name="T101" fmla="*/ 245 h 494"/>
              <a:gd name="T102" fmla="*/ 628 w 802"/>
              <a:gd name="T103" fmla="*/ 260 h 494"/>
              <a:gd name="T104" fmla="*/ 677 w 802"/>
              <a:gd name="T105" fmla="*/ 270 h 494"/>
              <a:gd name="T106" fmla="*/ 766 w 802"/>
              <a:gd name="T107" fmla="*/ 323 h 494"/>
              <a:gd name="T108" fmla="*/ 802 w 802"/>
              <a:gd name="T109" fmla="*/ 352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02" h="494">
                <a:moveTo>
                  <a:pt x="802" y="352"/>
                </a:moveTo>
                <a:lnTo>
                  <a:pt x="780" y="379"/>
                </a:lnTo>
                <a:lnTo>
                  <a:pt x="776" y="388"/>
                </a:lnTo>
                <a:lnTo>
                  <a:pt x="776" y="392"/>
                </a:lnTo>
                <a:lnTo>
                  <a:pt x="777" y="393"/>
                </a:lnTo>
                <a:lnTo>
                  <a:pt x="778" y="394"/>
                </a:lnTo>
                <a:lnTo>
                  <a:pt x="779" y="395"/>
                </a:lnTo>
                <a:lnTo>
                  <a:pt x="780" y="397"/>
                </a:lnTo>
                <a:lnTo>
                  <a:pt x="781" y="397"/>
                </a:lnTo>
                <a:lnTo>
                  <a:pt x="783" y="397"/>
                </a:lnTo>
                <a:lnTo>
                  <a:pt x="784" y="398"/>
                </a:lnTo>
                <a:lnTo>
                  <a:pt x="787" y="399"/>
                </a:lnTo>
                <a:lnTo>
                  <a:pt x="788" y="401"/>
                </a:lnTo>
                <a:lnTo>
                  <a:pt x="788" y="403"/>
                </a:lnTo>
                <a:lnTo>
                  <a:pt x="785" y="405"/>
                </a:lnTo>
                <a:lnTo>
                  <a:pt x="782" y="407"/>
                </a:lnTo>
                <a:lnTo>
                  <a:pt x="775" y="417"/>
                </a:lnTo>
                <a:lnTo>
                  <a:pt x="762" y="434"/>
                </a:lnTo>
                <a:lnTo>
                  <a:pt x="758" y="439"/>
                </a:lnTo>
                <a:lnTo>
                  <a:pt x="756" y="440"/>
                </a:lnTo>
                <a:lnTo>
                  <a:pt x="753" y="442"/>
                </a:lnTo>
                <a:lnTo>
                  <a:pt x="750" y="443"/>
                </a:lnTo>
                <a:lnTo>
                  <a:pt x="746" y="444"/>
                </a:lnTo>
                <a:lnTo>
                  <a:pt x="737" y="451"/>
                </a:lnTo>
                <a:lnTo>
                  <a:pt x="714" y="476"/>
                </a:lnTo>
                <a:lnTo>
                  <a:pt x="637" y="452"/>
                </a:lnTo>
                <a:lnTo>
                  <a:pt x="625" y="451"/>
                </a:lnTo>
                <a:lnTo>
                  <a:pt x="616" y="456"/>
                </a:lnTo>
                <a:lnTo>
                  <a:pt x="601" y="468"/>
                </a:lnTo>
                <a:lnTo>
                  <a:pt x="589" y="476"/>
                </a:lnTo>
                <a:lnTo>
                  <a:pt x="560" y="490"/>
                </a:lnTo>
                <a:lnTo>
                  <a:pt x="542" y="493"/>
                </a:lnTo>
                <a:lnTo>
                  <a:pt x="525" y="494"/>
                </a:lnTo>
                <a:lnTo>
                  <a:pt x="507" y="489"/>
                </a:lnTo>
                <a:lnTo>
                  <a:pt x="495" y="482"/>
                </a:lnTo>
                <a:lnTo>
                  <a:pt x="484" y="475"/>
                </a:lnTo>
                <a:lnTo>
                  <a:pt x="470" y="463"/>
                </a:lnTo>
                <a:lnTo>
                  <a:pt x="463" y="457"/>
                </a:lnTo>
                <a:lnTo>
                  <a:pt x="456" y="456"/>
                </a:lnTo>
                <a:lnTo>
                  <a:pt x="449" y="459"/>
                </a:lnTo>
                <a:lnTo>
                  <a:pt x="437" y="470"/>
                </a:lnTo>
                <a:lnTo>
                  <a:pt x="432" y="472"/>
                </a:lnTo>
                <a:lnTo>
                  <a:pt x="431" y="468"/>
                </a:lnTo>
                <a:lnTo>
                  <a:pt x="432" y="464"/>
                </a:lnTo>
                <a:lnTo>
                  <a:pt x="436" y="452"/>
                </a:lnTo>
                <a:lnTo>
                  <a:pt x="437" y="445"/>
                </a:lnTo>
                <a:lnTo>
                  <a:pt x="436" y="438"/>
                </a:lnTo>
                <a:lnTo>
                  <a:pt x="433" y="431"/>
                </a:lnTo>
                <a:lnTo>
                  <a:pt x="429" y="426"/>
                </a:lnTo>
                <a:lnTo>
                  <a:pt x="418" y="421"/>
                </a:lnTo>
                <a:lnTo>
                  <a:pt x="400" y="419"/>
                </a:lnTo>
                <a:lnTo>
                  <a:pt x="364" y="421"/>
                </a:lnTo>
                <a:lnTo>
                  <a:pt x="329" y="428"/>
                </a:lnTo>
                <a:lnTo>
                  <a:pt x="320" y="427"/>
                </a:lnTo>
                <a:lnTo>
                  <a:pt x="306" y="431"/>
                </a:lnTo>
                <a:lnTo>
                  <a:pt x="271" y="436"/>
                </a:lnTo>
                <a:lnTo>
                  <a:pt x="263" y="438"/>
                </a:lnTo>
                <a:lnTo>
                  <a:pt x="255" y="440"/>
                </a:lnTo>
                <a:lnTo>
                  <a:pt x="241" y="439"/>
                </a:lnTo>
                <a:lnTo>
                  <a:pt x="172" y="425"/>
                </a:lnTo>
                <a:lnTo>
                  <a:pt x="156" y="424"/>
                </a:lnTo>
                <a:lnTo>
                  <a:pt x="99" y="429"/>
                </a:lnTo>
                <a:lnTo>
                  <a:pt x="73" y="438"/>
                </a:lnTo>
                <a:lnTo>
                  <a:pt x="59" y="440"/>
                </a:lnTo>
                <a:lnTo>
                  <a:pt x="50" y="442"/>
                </a:lnTo>
                <a:lnTo>
                  <a:pt x="40" y="442"/>
                </a:lnTo>
                <a:lnTo>
                  <a:pt x="28" y="439"/>
                </a:lnTo>
                <a:lnTo>
                  <a:pt x="18" y="434"/>
                </a:lnTo>
                <a:lnTo>
                  <a:pt x="12" y="430"/>
                </a:lnTo>
                <a:lnTo>
                  <a:pt x="0" y="404"/>
                </a:lnTo>
                <a:lnTo>
                  <a:pt x="12" y="405"/>
                </a:lnTo>
                <a:lnTo>
                  <a:pt x="16" y="404"/>
                </a:lnTo>
                <a:lnTo>
                  <a:pt x="20" y="402"/>
                </a:lnTo>
                <a:lnTo>
                  <a:pt x="23" y="398"/>
                </a:lnTo>
                <a:lnTo>
                  <a:pt x="44" y="363"/>
                </a:lnTo>
                <a:lnTo>
                  <a:pt x="59" y="348"/>
                </a:lnTo>
                <a:lnTo>
                  <a:pt x="66" y="343"/>
                </a:lnTo>
                <a:lnTo>
                  <a:pt x="67" y="341"/>
                </a:lnTo>
                <a:lnTo>
                  <a:pt x="67" y="337"/>
                </a:lnTo>
                <a:lnTo>
                  <a:pt x="67" y="334"/>
                </a:lnTo>
                <a:lnTo>
                  <a:pt x="69" y="329"/>
                </a:lnTo>
                <a:lnTo>
                  <a:pt x="73" y="325"/>
                </a:lnTo>
                <a:lnTo>
                  <a:pt x="81" y="315"/>
                </a:lnTo>
                <a:lnTo>
                  <a:pt x="89" y="309"/>
                </a:lnTo>
                <a:lnTo>
                  <a:pt x="102" y="300"/>
                </a:lnTo>
                <a:lnTo>
                  <a:pt x="109" y="298"/>
                </a:lnTo>
                <a:lnTo>
                  <a:pt x="117" y="298"/>
                </a:lnTo>
                <a:lnTo>
                  <a:pt x="138" y="304"/>
                </a:lnTo>
                <a:lnTo>
                  <a:pt x="160" y="307"/>
                </a:lnTo>
                <a:lnTo>
                  <a:pt x="169" y="310"/>
                </a:lnTo>
                <a:lnTo>
                  <a:pt x="182" y="313"/>
                </a:lnTo>
                <a:lnTo>
                  <a:pt x="190" y="313"/>
                </a:lnTo>
                <a:lnTo>
                  <a:pt x="195" y="314"/>
                </a:lnTo>
                <a:lnTo>
                  <a:pt x="202" y="316"/>
                </a:lnTo>
                <a:lnTo>
                  <a:pt x="206" y="320"/>
                </a:lnTo>
                <a:lnTo>
                  <a:pt x="216" y="329"/>
                </a:lnTo>
                <a:lnTo>
                  <a:pt x="221" y="333"/>
                </a:lnTo>
                <a:lnTo>
                  <a:pt x="225" y="335"/>
                </a:lnTo>
                <a:lnTo>
                  <a:pt x="231" y="334"/>
                </a:lnTo>
                <a:lnTo>
                  <a:pt x="235" y="332"/>
                </a:lnTo>
                <a:lnTo>
                  <a:pt x="246" y="323"/>
                </a:lnTo>
                <a:lnTo>
                  <a:pt x="257" y="311"/>
                </a:lnTo>
                <a:lnTo>
                  <a:pt x="280" y="282"/>
                </a:lnTo>
                <a:lnTo>
                  <a:pt x="301" y="258"/>
                </a:lnTo>
                <a:lnTo>
                  <a:pt x="311" y="244"/>
                </a:lnTo>
                <a:lnTo>
                  <a:pt x="316" y="238"/>
                </a:lnTo>
                <a:lnTo>
                  <a:pt x="338" y="223"/>
                </a:lnTo>
                <a:lnTo>
                  <a:pt x="345" y="221"/>
                </a:lnTo>
                <a:lnTo>
                  <a:pt x="350" y="220"/>
                </a:lnTo>
                <a:lnTo>
                  <a:pt x="361" y="222"/>
                </a:lnTo>
                <a:lnTo>
                  <a:pt x="367" y="222"/>
                </a:lnTo>
                <a:lnTo>
                  <a:pt x="377" y="221"/>
                </a:lnTo>
                <a:lnTo>
                  <a:pt x="384" y="218"/>
                </a:lnTo>
                <a:lnTo>
                  <a:pt x="389" y="214"/>
                </a:lnTo>
                <a:lnTo>
                  <a:pt x="392" y="209"/>
                </a:lnTo>
                <a:lnTo>
                  <a:pt x="393" y="200"/>
                </a:lnTo>
                <a:lnTo>
                  <a:pt x="393" y="191"/>
                </a:lnTo>
                <a:lnTo>
                  <a:pt x="388" y="180"/>
                </a:lnTo>
                <a:lnTo>
                  <a:pt x="369" y="158"/>
                </a:lnTo>
                <a:lnTo>
                  <a:pt x="366" y="152"/>
                </a:lnTo>
                <a:lnTo>
                  <a:pt x="363" y="144"/>
                </a:lnTo>
                <a:lnTo>
                  <a:pt x="358" y="123"/>
                </a:lnTo>
                <a:lnTo>
                  <a:pt x="355" y="117"/>
                </a:lnTo>
                <a:lnTo>
                  <a:pt x="335" y="81"/>
                </a:lnTo>
                <a:lnTo>
                  <a:pt x="334" y="75"/>
                </a:lnTo>
                <a:lnTo>
                  <a:pt x="335" y="70"/>
                </a:lnTo>
                <a:lnTo>
                  <a:pt x="341" y="67"/>
                </a:lnTo>
                <a:lnTo>
                  <a:pt x="348" y="65"/>
                </a:lnTo>
                <a:lnTo>
                  <a:pt x="360" y="65"/>
                </a:lnTo>
                <a:lnTo>
                  <a:pt x="365" y="63"/>
                </a:lnTo>
                <a:lnTo>
                  <a:pt x="369" y="61"/>
                </a:lnTo>
                <a:lnTo>
                  <a:pt x="376" y="55"/>
                </a:lnTo>
                <a:lnTo>
                  <a:pt x="379" y="47"/>
                </a:lnTo>
                <a:lnTo>
                  <a:pt x="381" y="37"/>
                </a:lnTo>
                <a:lnTo>
                  <a:pt x="380" y="25"/>
                </a:lnTo>
                <a:lnTo>
                  <a:pt x="381" y="0"/>
                </a:lnTo>
                <a:lnTo>
                  <a:pt x="390" y="4"/>
                </a:lnTo>
                <a:lnTo>
                  <a:pt x="403" y="9"/>
                </a:lnTo>
                <a:lnTo>
                  <a:pt x="428" y="11"/>
                </a:lnTo>
                <a:lnTo>
                  <a:pt x="436" y="12"/>
                </a:lnTo>
                <a:lnTo>
                  <a:pt x="442" y="16"/>
                </a:lnTo>
                <a:lnTo>
                  <a:pt x="453" y="27"/>
                </a:lnTo>
                <a:lnTo>
                  <a:pt x="483" y="47"/>
                </a:lnTo>
                <a:lnTo>
                  <a:pt x="504" y="64"/>
                </a:lnTo>
                <a:lnTo>
                  <a:pt x="520" y="83"/>
                </a:lnTo>
                <a:lnTo>
                  <a:pt x="537" y="114"/>
                </a:lnTo>
                <a:lnTo>
                  <a:pt x="564" y="147"/>
                </a:lnTo>
                <a:lnTo>
                  <a:pt x="579" y="186"/>
                </a:lnTo>
                <a:lnTo>
                  <a:pt x="579" y="192"/>
                </a:lnTo>
                <a:lnTo>
                  <a:pt x="577" y="211"/>
                </a:lnTo>
                <a:lnTo>
                  <a:pt x="579" y="223"/>
                </a:lnTo>
                <a:lnTo>
                  <a:pt x="582" y="235"/>
                </a:lnTo>
                <a:lnTo>
                  <a:pt x="589" y="245"/>
                </a:lnTo>
                <a:lnTo>
                  <a:pt x="615" y="249"/>
                </a:lnTo>
                <a:lnTo>
                  <a:pt x="620" y="255"/>
                </a:lnTo>
                <a:lnTo>
                  <a:pt x="628" y="260"/>
                </a:lnTo>
                <a:lnTo>
                  <a:pt x="641" y="263"/>
                </a:lnTo>
                <a:lnTo>
                  <a:pt x="653" y="264"/>
                </a:lnTo>
                <a:lnTo>
                  <a:pt x="677" y="270"/>
                </a:lnTo>
                <a:lnTo>
                  <a:pt x="707" y="287"/>
                </a:lnTo>
                <a:lnTo>
                  <a:pt x="735" y="306"/>
                </a:lnTo>
                <a:lnTo>
                  <a:pt x="766" y="323"/>
                </a:lnTo>
                <a:lnTo>
                  <a:pt x="774" y="329"/>
                </a:lnTo>
                <a:lnTo>
                  <a:pt x="785" y="343"/>
                </a:lnTo>
                <a:lnTo>
                  <a:pt x="802" y="35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5" name="Freeform 19">
            <a:extLst>
              <a:ext uri="{FF2B5EF4-FFF2-40B4-BE49-F238E27FC236}">
                <a16:creationId xmlns:a16="http://schemas.microsoft.com/office/drawing/2014/main" id="{D8D933E8-8866-619D-DE32-8FD16CFACE97}"/>
              </a:ext>
            </a:extLst>
          </p:cNvPr>
          <p:cNvSpPr>
            <a:spLocks noEditPoints="1"/>
          </p:cNvSpPr>
          <p:nvPr/>
        </p:nvSpPr>
        <p:spPr bwMode="auto">
          <a:xfrm>
            <a:off x="6079294" y="3189666"/>
            <a:ext cx="1121898" cy="1672635"/>
          </a:xfrm>
          <a:custGeom>
            <a:avLst/>
            <a:gdLst>
              <a:gd name="T0" fmla="*/ 190 w 947"/>
              <a:gd name="T1" fmla="*/ 1333 h 1492"/>
              <a:gd name="T2" fmla="*/ 238 w 947"/>
              <a:gd name="T3" fmla="*/ 1468 h 1492"/>
              <a:gd name="T4" fmla="*/ 320 w 947"/>
              <a:gd name="T5" fmla="*/ 1398 h 1492"/>
              <a:gd name="T6" fmla="*/ 364 w 947"/>
              <a:gd name="T7" fmla="*/ 1318 h 1492"/>
              <a:gd name="T8" fmla="*/ 427 w 947"/>
              <a:gd name="T9" fmla="*/ 1265 h 1492"/>
              <a:gd name="T10" fmla="*/ 516 w 947"/>
              <a:gd name="T11" fmla="*/ 1142 h 1492"/>
              <a:gd name="T12" fmla="*/ 458 w 947"/>
              <a:gd name="T13" fmla="*/ 1215 h 1492"/>
              <a:gd name="T14" fmla="*/ 903 w 947"/>
              <a:gd name="T15" fmla="*/ 888 h 1492"/>
              <a:gd name="T16" fmla="*/ 710 w 947"/>
              <a:gd name="T17" fmla="*/ 710 h 1492"/>
              <a:gd name="T18" fmla="*/ 588 w 947"/>
              <a:gd name="T19" fmla="*/ 696 h 1492"/>
              <a:gd name="T20" fmla="*/ 515 w 947"/>
              <a:gd name="T21" fmla="*/ 567 h 1492"/>
              <a:gd name="T22" fmla="*/ 451 w 947"/>
              <a:gd name="T23" fmla="*/ 464 h 1492"/>
              <a:gd name="T24" fmla="*/ 494 w 947"/>
              <a:gd name="T25" fmla="*/ 337 h 1492"/>
              <a:gd name="T26" fmla="*/ 544 w 947"/>
              <a:gd name="T27" fmla="*/ 230 h 1492"/>
              <a:gd name="T28" fmla="*/ 569 w 947"/>
              <a:gd name="T29" fmla="*/ 209 h 1492"/>
              <a:gd name="T30" fmla="*/ 600 w 947"/>
              <a:gd name="T31" fmla="*/ 179 h 1492"/>
              <a:gd name="T32" fmla="*/ 644 w 947"/>
              <a:gd name="T33" fmla="*/ 143 h 1492"/>
              <a:gd name="T34" fmla="*/ 676 w 947"/>
              <a:gd name="T35" fmla="*/ 81 h 1492"/>
              <a:gd name="T36" fmla="*/ 663 w 947"/>
              <a:gd name="T37" fmla="*/ 0 h 1492"/>
              <a:gd name="T38" fmla="*/ 520 w 947"/>
              <a:gd name="T39" fmla="*/ 73 h 1492"/>
              <a:gd name="T40" fmla="*/ 497 w 947"/>
              <a:gd name="T41" fmla="*/ 118 h 1492"/>
              <a:gd name="T42" fmla="*/ 405 w 947"/>
              <a:gd name="T43" fmla="*/ 205 h 1492"/>
              <a:gd name="T44" fmla="*/ 378 w 947"/>
              <a:gd name="T45" fmla="*/ 185 h 1492"/>
              <a:gd name="T46" fmla="*/ 328 w 947"/>
              <a:gd name="T47" fmla="*/ 299 h 1492"/>
              <a:gd name="T48" fmla="*/ 272 w 947"/>
              <a:gd name="T49" fmla="*/ 378 h 1492"/>
              <a:gd name="T50" fmla="*/ 229 w 947"/>
              <a:gd name="T51" fmla="*/ 431 h 1492"/>
              <a:gd name="T52" fmla="*/ 173 w 947"/>
              <a:gd name="T53" fmla="*/ 494 h 1492"/>
              <a:gd name="T54" fmla="*/ 211 w 947"/>
              <a:gd name="T55" fmla="*/ 527 h 1492"/>
              <a:gd name="T56" fmla="*/ 167 w 947"/>
              <a:gd name="T57" fmla="*/ 576 h 1492"/>
              <a:gd name="T58" fmla="*/ 127 w 947"/>
              <a:gd name="T59" fmla="*/ 590 h 1492"/>
              <a:gd name="T60" fmla="*/ 78 w 947"/>
              <a:gd name="T61" fmla="*/ 638 h 1492"/>
              <a:gd name="T62" fmla="*/ 46 w 947"/>
              <a:gd name="T63" fmla="*/ 673 h 1492"/>
              <a:gd name="T64" fmla="*/ 220 w 947"/>
              <a:gd name="T65" fmla="*/ 853 h 1492"/>
              <a:gd name="T66" fmla="*/ 50 w 947"/>
              <a:gd name="T67" fmla="*/ 1193 h 1492"/>
              <a:gd name="T68" fmla="*/ 149 w 947"/>
              <a:gd name="T69" fmla="*/ 1255 h 1492"/>
              <a:gd name="T70" fmla="*/ 176 w 947"/>
              <a:gd name="T71" fmla="*/ 1214 h 1492"/>
              <a:gd name="T72" fmla="*/ 208 w 947"/>
              <a:gd name="T73" fmla="*/ 1200 h 1492"/>
              <a:gd name="T74" fmla="*/ 347 w 947"/>
              <a:gd name="T75" fmla="*/ 1002 h 1492"/>
              <a:gd name="T76" fmla="*/ 383 w 947"/>
              <a:gd name="T77" fmla="*/ 1007 h 1492"/>
              <a:gd name="T78" fmla="*/ 336 w 947"/>
              <a:gd name="T79" fmla="*/ 1087 h 1492"/>
              <a:gd name="T80" fmla="*/ 410 w 947"/>
              <a:gd name="T81" fmla="*/ 1097 h 1492"/>
              <a:gd name="T82" fmla="*/ 362 w 947"/>
              <a:gd name="T83" fmla="*/ 1101 h 1492"/>
              <a:gd name="T84" fmla="*/ 334 w 947"/>
              <a:gd name="T85" fmla="*/ 1174 h 1492"/>
              <a:gd name="T86" fmla="*/ 414 w 947"/>
              <a:gd name="T87" fmla="*/ 1164 h 1492"/>
              <a:gd name="T88" fmla="*/ 430 w 947"/>
              <a:gd name="T89" fmla="*/ 883 h 1492"/>
              <a:gd name="T90" fmla="*/ 476 w 947"/>
              <a:gd name="T91" fmla="*/ 808 h 1492"/>
              <a:gd name="T92" fmla="*/ 477 w 947"/>
              <a:gd name="T93" fmla="*/ 837 h 1492"/>
              <a:gd name="T94" fmla="*/ 453 w 947"/>
              <a:gd name="T95" fmla="*/ 891 h 1492"/>
              <a:gd name="T96" fmla="*/ 465 w 947"/>
              <a:gd name="T97" fmla="*/ 943 h 1492"/>
              <a:gd name="T98" fmla="*/ 504 w 947"/>
              <a:gd name="T99" fmla="*/ 1101 h 1492"/>
              <a:gd name="T100" fmla="*/ 541 w 947"/>
              <a:gd name="T101" fmla="*/ 1189 h 1492"/>
              <a:gd name="T102" fmla="*/ 453 w 947"/>
              <a:gd name="T103" fmla="*/ 1388 h 1492"/>
              <a:gd name="T104" fmla="*/ 438 w 947"/>
              <a:gd name="T105" fmla="*/ 1480 h 1492"/>
              <a:gd name="T106" fmla="*/ 568 w 947"/>
              <a:gd name="T107" fmla="*/ 1415 h 1492"/>
              <a:gd name="T108" fmla="*/ 724 w 947"/>
              <a:gd name="T109" fmla="*/ 1175 h 1492"/>
              <a:gd name="T110" fmla="*/ 721 w 947"/>
              <a:gd name="T111" fmla="*/ 1117 h 1492"/>
              <a:gd name="T112" fmla="*/ 747 w 947"/>
              <a:gd name="T113" fmla="*/ 1053 h 1492"/>
              <a:gd name="T114" fmla="*/ 789 w 947"/>
              <a:gd name="T115" fmla="*/ 985 h 1492"/>
              <a:gd name="T116" fmla="*/ 939 w 947"/>
              <a:gd name="T117" fmla="*/ 929 h 1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7" h="1492">
                <a:moveTo>
                  <a:pt x="353" y="1223"/>
                </a:moveTo>
                <a:lnTo>
                  <a:pt x="323" y="1223"/>
                </a:lnTo>
                <a:lnTo>
                  <a:pt x="309" y="1228"/>
                </a:lnTo>
                <a:lnTo>
                  <a:pt x="272" y="1246"/>
                </a:lnTo>
                <a:lnTo>
                  <a:pt x="232" y="1258"/>
                </a:lnTo>
                <a:lnTo>
                  <a:pt x="222" y="1265"/>
                </a:lnTo>
                <a:lnTo>
                  <a:pt x="212" y="1292"/>
                </a:lnTo>
                <a:lnTo>
                  <a:pt x="190" y="1333"/>
                </a:lnTo>
                <a:lnTo>
                  <a:pt x="188" y="1343"/>
                </a:lnTo>
                <a:lnTo>
                  <a:pt x="185" y="1423"/>
                </a:lnTo>
                <a:lnTo>
                  <a:pt x="181" y="1447"/>
                </a:lnTo>
                <a:lnTo>
                  <a:pt x="185" y="1462"/>
                </a:lnTo>
                <a:lnTo>
                  <a:pt x="195" y="1466"/>
                </a:lnTo>
                <a:lnTo>
                  <a:pt x="210" y="1471"/>
                </a:lnTo>
                <a:lnTo>
                  <a:pt x="227" y="1472"/>
                </a:lnTo>
                <a:lnTo>
                  <a:pt x="238" y="1468"/>
                </a:lnTo>
                <a:lnTo>
                  <a:pt x="252" y="1461"/>
                </a:lnTo>
                <a:lnTo>
                  <a:pt x="275" y="1463"/>
                </a:lnTo>
                <a:lnTo>
                  <a:pt x="286" y="1448"/>
                </a:lnTo>
                <a:lnTo>
                  <a:pt x="291" y="1438"/>
                </a:lnTo>
                <a:lnTo>
                  <a:pt x="300" y="1428"/>
                </a:lnTo>
                <a:lnTo>
                  <a:pt x="300" y="1413"/>
                </a:lnTo>
                <a:lnTo>
                  <a:pt x="309" y="1402"/>
                </a:lnTo>
                <a:lnTo>
                  <a:pt x="320" y="1398"/>
                </a:lnTo>
                <a:lnTo>
                  <a:pt x="324" y="1387"/>
                </a:lnTo>
                <a:lnTo>
                  <a:pt x="333" y="1372"/>
                </a:lnTo>
                <a:lnTo>
                  <a:pt x="340" y="1356"/>
                </a:lnTo>
                <a:lnTo>
                  <a:pt x="348" y="1344"/>
                </a:lnTo>
                <a:lnTo>
                  <a:pt x="349" y="1344"/>
                </a:lnTo>
                <a:lnTo>
                  <a:pt x="354" y="1338"/>
                </a:lnTo>
                <a:lnTo>
                  <a:pt x="360" y="1327"/>
                </a:lnTo>
                <a:lnTo>
                  <a:pt x="364" y="1318"/>
                </a:lnTo>
                <a:lnTo>
                  <a:pt x="366" y="1313"/>
                </a:lnTo>
                <a:lnTo>
                  <a:pt x="376" y="1305"/>
                </a:lnTo>
                <a:lnTo>
                  <a:pt x="378" y="1298"/>
                </a:lnTo>
                <a:lnTo>
                  <a:pt x="412" y="1284"/>
                </a:lnTo>
                <a:lnTo>
                  <a:pt x="419" y="1278"/>
                </a:lnTo>
                <a:lnTo>
                  <a:pt x="423" y="1274"/>
                </a:lnTo>
                <a:lnTo>
                  <a:pt x="425" y="1270"/>
                </a:lnTo>
                <a:lnTo>
                  <a:pt x="427" y="1265"/>
                </a:lnTo>
                <a:lnTo>
                  <a:pt x="428" y="1259"/>
                </a:lnTo>
                <a:lnTo>
                  <a:pt x="400" y="1253"/>
                </a:lnTo>
                <a:lnTo>
                  <a:pt x="353" y="1223"/>
                </a:lnTo>
                <a:close/>
                <a:moveTo>
                  <a:pt x="458" y="1215"/>
                </a:moveTo>
                <a:lnTo>
                  <a:pt x="475" y="1205"/>
                </a:lnTo>
                <a:lnTo>
                  <a:pt x="478" y="1176"/>
                </a:lnTo>
                <a:lnTo>
                  <a:pt x="502" y="1164"/>
                </a:lnTo>
                <a:lnTo>
                  <a:pt x="516" y="1142"/>
                </a:lnTo>
                <a:lnTo>
                  <a:pt x="507" y="1128"/>
                </a:lnTo>
                <a:lnTo>
                  <a:pt x="491" y="1122"/>
                </a:lnTo>
                <a:lnTo>
                  <a:pt x="484" y="1104"/>
                </a:lnTo>
                <a:lnTo>
                  <a:pt x="466" y="1137"/>
                </a:lnTo>
                <a:lnTo>
                  <a:pt x="452" y="1174"/>
                </a:lnTo>
                <a:lnTo>
                  <a:pt x="442" y="1199"/>
                </a:lnTo>
                <a:lnTo>
                  <a:pt x="445" y="1214"/>
                </a:lnTo>
                <a:lnTo>
                  <a:pt x="458" y="1215"/>
                </a:lnTo>
                <a:close/>
                <a:moveTo>
                  <a:pt x="945" y="882"/>
                </a:moveTo>
                <a:lnTo>
                  <a:pt x="939" y="877"/>
                </a:lnTo>
                <a:lnTo>
                  <a:pt x="933" y="877"/>
                </a:lnTo>
                <a:lnTo>
                  <a:pt x="926" y="881"/>
                </a:lnTo>
                <a:lnTo>
                  <a:pt x="922" y="884"/>
                </a:lnTo>
                <a:lnTo>
                  <a:pt x="918" y="888"/>
                </a:lnTo>
                <a:lnTo>
                  <a:pt x="910" y="888"/>
                </a:lnTo>
                <a:lnTo>
                  <a:pt x="903" y="888"/>
                </a:lnTo>
                <a:lnTo>
                  <a:pt x="876" y="882"/>
                </a:lnTo>
                <a:lnTo>
                  <a:pt x="841" y="851"/>
                </a:lnTo>
                <a:lnTo>
                  <a:pt x="791" y="767"/>
                </a:lnTo>
                <a:lnTo>
                  <a:pt x="783" y="759"/>
                </a:lnTo>
                <a:lnTo>
                  <a:pt x="763" y="743"/>
                </a:lnTo>
                <a:lnTo>
                  <a:pt x="755" y="738"/>
                </a:lnTo>
                <a:lnTo>
                  <a:pt x="740" y="730"/>
                </a:lnTo>
                <a:lnTo>
                  <a:pt x="710" y="710"/>
                </a:lnTo>
                <a:lnTo>
                  <a:pt x="697" y="703"/>
                </a:lnTo>
                <a:lnTo>
                  <a:pt x="683" y="702"/>
                </a:lnTo>
                <a:lnTo>
                  <a:pt x="670" y="703"/>
                </a:lnTo>
                <a:lnTo>
                  <a:pt x="636" y="715"/>
                </a:lnTo>
                <a:lnTo>
                  <a:pt x="613" y="720"/>
                </a:lnTo>
                <a:lnTo>
                  <a:pt x="598" y="716"/>
                </a:lnTo>
                <a:lnTo>
                  <a:pt x="593" y="711"/>
                </a:lnTo>
                <a:lnTo>
                  <a:pt x="588" y="696"/>
                </a:lnTo>
                <a:lnTo>
                  <a:pt x="573" y="668"/>
                </a:lnTo>
                <a:lnTo>
                  <a:pt x="565" y="645"/>
                </a:lnTo>
                <a:lnTo>
                  <a:pt x="560" y="637"/>
                </a:lnTo>
                <a:lnTo>
                  <a:pt x="543" y="615"/>
                </a:lnTo>
                <a:lnTo>
                  <a:pt x="536" y="604"/>
                </a:lnTo>
                <a:lnTo>
                  <a:pt x="532" y="590"/>
                </a:lnTo>
                <a:lnTo>
                  <a:pt x="525" y="576"/>
                </a:lnTo>
                <a:lnTo>
                  <a:pt x="515" y="567"/>
                </a:lnTo>
                <a:lnTo>
                  <a:pt x="461" y="539"/>
                </a:lnTo>
                <a:lnTo>
                  <a:pt x="457" y="533"/>
                </a:lnTo>
                <a:lnTo>
                  <a:pt x="455" y="527"/>
                </a:lnTo>
                <a:lnTo>
                  <a:pt x="454" y="517"/>
                </a:lnTo>
                <a:lnTo>
                  <a:pt x="455" y="509"/>
                </a:lnTo>
                <a:lnTo>
                  <a:pt x="458" y="497"/>
                </a:lnTo>
                <a:lnTo>
                  <a:pt x="460" y="493"/>
                </a:lnTo>
                <a:lnTo>
                  <a:pt x="451" y="464"/>
                </a:lnTo>
                <a:lnTo>
                  <a:pt x="450" y="456"/>
                </a:lnTo>
                <a:lnTo>
                  <a:pt x="453" y="414"/>
                </a:lnTo>
                <a:lnTo>
                  <a:pt x="455" y="406"/>
                </a:lnTo>
                <a:lnTo>
                  <a:pt x="465" y="376"/>
                </a:lnTo>
                <a:lnTo>
                  <a:pt x="468" y="370"/>
                </a:lnTo>
                <a:lnTo>
                  <a:pt x="477" y="358"/>
                </a:lnTo>
                <a:lnTo>
                  <a:pt x="489" y="345"/>
                </a:lnTo>
                <a:lnTo>
                  <a:pt x="494" y="337"/>
                </a:lnTo>
                <a:lnTo>
                  <a:pt x="532" y="267"/>
                </a:lnTo>
                <a:lnTo>
                  <a:pt x="534" y="260"/>
                </a:lnTo>
                <a:lnTo>
                  <a:pt x="535" y="254"/>
                </a:lnTo>
                <a:lnTo>
                  <a:pt x="535" y="240"/>
                </a:lnTo>
                <a:lnTo>
                  <a:pt x="536" y="235"/>
                </a:lnTo>
                <a:lnTo>
                  <a:pt x="539" y="233"/>
                </a:lnTo>
                <a:lnTo>
                  <a:pt x="541" y="231"/>
                </a:lnTo>
                <a:lnTo>
                  <a:pt x="544" y="230"/>
                </a:lnTo>
                <a:lnTo>
                  <a:pt x="552" y="228"/>
                </a:lnTo>
                <a:lnTo>
                  <a:pt x="555" y="227"/>
                </a:lnTo>
                <a:lnTo>
                  <a:pt x="557" y="223"/>
                </a:lnTo>
                <a:lnTo>
                  <a:pt x="558" y="216"/>
                </a:lnTo>
                <a:lnTo>
                  <a:pt x="559" y="213"/>
                </a:lnTo>
                <a:lnTo>
                  <a:pt x="562" y="210"/>
                </a:lnTo>
                <a:lnTo>
                  <a:pt x="565" y="210"/>
                </a:lnTo>
                <a:lnTo>
                  <a:pt x="569" y="209"/>
                </a:lnTo>
                <a:lnTo>
                  <a:pt x="573" y="207"/>
                </a:lnTo>
                <a:lnTo>
                  <a:pt x="575" y="203"/>
                </a:lnTo>
                <a:lnTo>
                  <a:pt x="578" y="198"/>
                </a:lnTo>
                <a:lnTo>
                  <a:pt x="579" y="190"/>
                </a:lnTo>
                <a:lnTo>
                  <a:pt x="582" y="185"/>
                </a:lnTo>
                <a:lnTo>
                  <a:pt x="586" y="183"/>
                </a:lnTo>
                <a:lnTo>
                  <a:pt x="596" y="182"/>
                </a:lnTo>
                <a:lnTo>
                  <a:pt x="600" y="179"/>
                </a:lnTo>
                <a:lnTo>
                  <a:pt x="607" y="169"/>
                </a:lnTo>
                <a:lnTo>
                  <a:pt x="614" y="161"/>
                </a:lnTo>
                <a:lnTo>
                  <a:pt x="617" y="157"/>
                </a:lnTo>
                <a:lnTo>
                  <a:pt x="621" y="153"/>
                </a:lnTo>
                <a:lnTo>
                  <a:pt x="627" y="151"/>
                </a:lnTo>
                <a:lnTo>
                  <a:pt x="634" y="150"/>
                </a:lnTo>
                <a:lnTo>
                  <a:pt x="639" y="148"/>
                </a:lnTo>
                <a:lnTo>
                  <a:pt x="644" y="143"/>
                </a:lnTo>
                <a:lnTo>
                  <a:pt x="647" y="136"/>
                </a:lnTo>
                <a:lnTo>
                  <a:pt x="651" y="113"/>
                </a:lnTo>
                <a:lnTo>
                  <a:pt x="653" y="107"/>
                </a:lnTo>
                <a:lnTo>
                  <a:pt x="657" y="100"/>
                </a:lnTo>
                <a:lnTo>
                  <a:pt x="661" y="94"/>
                </a:lnTo>
                <a:lnTo>
                  <a:pt x="666" y="91"/>
                </a:lnTo>
                <a:lnTo>
                  <a:pt x="672" y="88"/>
                </a:lnTo>
                <a:lnTo>
                  <a:pt x="676" y="81"/>
                </a:lnTo>
                <a:lnTo>
                  <a:pt x="675" y="78"/>
                </a:lnTo>
                <a:lnTo>
                  <a:pt x="673" y="73"/>
                </a:lnTo>
                <a:lnTo>
                  <a:pt x="673" y="66"/>
                </a:lnTo>
                <a:lnTo>
                  <a:pt x="684" y="37"/>
                </a:lnTo>
                <a:lnTo>
                  <a:pt x="687" y="15"/>
                </a:lnTo>
                <a:lnTo>
                  <a:pt x="683" y="6"/>
                </a:lnTo>
                <a:lnTo>
                  <a:pt x="674" y="0"/>
                </a:lnTo>
                <a:lnTo>
                  <a:pt x="663" y="0"/>
                </a:lnTo>
                <a:lnTo>
                  <a:pt x="639" y="2"/>
                </a:lnTo>
                <a:lnTo>
                  <a:pt x="618" y="9"/>
                </a:lnTo>
                <a:lnTo>
                  <a:pt x="574" y="15"/>
                </a:lnTo>
                <a:lnTo>
                  <a:pt x="564" y="20"/>
                </a:lnTo>
                <a:lnTo>
                  <a:pt x="556" y="24"/>
                </a:lnTo>
                <a:lnTo>
                  <a:pt x="549" y="29"/>
                </a:lnTo>
                <a:lnTo>
                  <a:pt x="523" y="65"/>
                </a:lnTo>
                <a:lnTo>
                  <a:pt x="520" y="73"/>
                </a:lnTo>
                <a:lnTo>
                  <a:pt x="518" y="81"/>
                </a:lnTo>
                <a:lnTo>
                  <a:pt x="515" y="88"/>
                </a:lnTo>
                <a:lnTo>
                  <a:pt x="504" y="94"/>
                </a:lnTo>
                <a:lnTo>
                  <a:pt x="501" y="98"/>
                </a:lnTo>
                <a:lnTo>
                  <a:pt x="500" y="103"/>
                </a:lnTo>
                <a:lnTo>
                  <a:pt x="501" y="109"/>
                </a:lnTo>
                <a:lnTo>
                  <a:pt x="500" y="113"/>
                </a:lnTo>
                <a:lnTo>
                  <a:pt x="497" y="118"/>
                </a:lnTo>
                <a:lnTo>
                  <a:pt x="494" y="125"/>
                </a:lnTo>
                <a:lnTo>
                  <a:pt x="490" y="131"/>
                </a:lnTo>
                <a:lnTo>
                  <a:pt x="480" y="141"/>
                </a:lnTo>
                <a:lnTo>
                  <a:pt x="469" y="159"/>
                </a:lnTo>
                <a:lnTo>
                  <a:pt x="462" y="168"/>
                </a:lnTo>
                <a:lnTo>
                  <a:pt x="427" y="196"/>
                </a:lnTo>
                <a:lnTo>
                  <a:pt x="417" y="202"/>
                </a:lnTo>
                <a:lnTo>
                  <a:pt x="405" y="205"/>
                </a:lnTo>
                <a:lnTo>
                  <a:pt x="399" y="203"/>
                </a:lnTo>
                <a:lnTo>
                  <a:pt x="395" y="202"/>
                </a:lnTo>
                <a:lnTo>
                  <a:pt x="384" y="203"/>
                </a:lnTo>
                <a:lnTo>
                  <a:pt x="379" y="202"/>
                </a:lnTo>
                <a:lnTo>
                  <a:pt x="378" y="198"/>
                </a:lnTo>
                <a:lnTo>
                  <a:pt x="380" y="192"/>
                </a:lnTo>
                <a:lnTo>
                  <a:pt x="380" y="188"/>
                </a:lnTo>
                <a:lnTo>
                  <a:pt x="378" y="185"/>
                </a:lnTo>
                <a:lnTo>
                  <a:pt x="374" y="189"/>
                </a:lnTo>
                <a:lnTo>
                  <a:pt x="367" y="195"/>
                </a:lnTo>
                <a:lnTo>
                  <a:pt x="363" y="205"/>
                </a:lnTo>
                <a:lnTo>
                  <a:pt x="359" y="220"/>
                </a:lnTo>
                <a:lnTo>
                  <a:pt x="353" y="234"/>
                </a:lnTo>
                <a:lnTo>
                  <a:pt x="348" y="255"/>
                </a:lnTo>
                <a:lnTo>
                  <a:pt x="334" y="291"/>
                </a:lnTo>
                <a:lnTo>
                  <a:pt x="328" y="299"/>
                </a:lnTo>
                <a:lnTo>
                  <a:pt x="302" y="320"/>
                </a:lnTo>
                <a:lnTo>
                  <a:pt x="287" y="326"/>
                </a:lnTo>
                <a:lnTo>
                  <a:pt x="280" y="333"/>
                </a:lnTo>
                <a:lnTo>
                  <a:pt x="275" y="343"/>
                </a:lnTo>
                <a:lnTo>
                  <a:pt x="274" y="356"/>
                </a:lnTo>
                <a:lnTo>
                  <a:pt x="276" y="372"/>
                </a:lnTo>
                <a:lnTo>
                  <a:pt x="275" y="375"/>
                </a:lnTo>
                <a:lnTo>
                  <a:pt x="272" y="378"/>
                </a:lnTo>
                <a:lnTo>
                  <a:pt x="257" y="383"/>
                </a:lnTo>
                <a:lnTo>
                  <a:pt x="246" y="389"/>
                </a:lnTo>
                <a:lnTo>
                  <a:pt x="242" y="390"/>
                </a:lnTo>
                <a:lnTo>
                  <a:pt x="238" y="392"/>
                </a:lnTo>
                <a:lnTo>
                  <a:pt x="235" y="398"/>
                </a:lnTo>
                <a:lnTo>
                  <a:pt x="232" y="405"/>
                </a:lnTo>
                <a:lnTo>
                  <a:pt x="229" y="423"/>
                </a:lnTo>
                <a:lnTo>
                  <a:pt x="229" y="431"/>
                </a:lnTo>
                <a:lnTo>
                  <a:pt x="230" y="439"/>
                </a:lnTo>
                <a:lnTo>
                  <a:pt x="233" y="447"/>
                </a:lnTo>
                <a:lnTo>
                  <a:pt x="241" y="457"/>
                </a:lnTo>
                <a:lnTo>
                  <a:pt x="241" y="463"/>
                </a:lnTo>
                <a:lnTo>
                  <a:pt x="237" y="468"/>
                </a:lnTo>
                <a:lnTo>
                  <a:pt x="215" y="483"/>
                </a:lnTo>
                <a:lnTo>
                  <a:pt x="173" y="489"/>
                </a:lnTo>
                <a:lnTo>
                  <a:pt x="173" y="494"/>
                </a:lnTo>
                <a:lnTo>
                  <a:pt x="177" y="500"/>
                </a:lnTo>
                <a:lnTo>
                  <a:pt x="184" y="507"/>
                </a:lnTo>
                <a:lnTo>
                  <a:pt x="193" y="515"/>
                </a:lnTo>
                <a:lnTo>
                  <a:pt x="199" y="518"/>
                </a:lnTo>
                <a:lnTo>
                  <a:pt x="206" y="519"/>
                </a:lnTo>
                <a:lnTo>
                  <a:pt x="210" y="521"/>
                </a:lnTo>
                <a:lnTo>
                  <a:pt x="211" y="524"/>
                </a:lnTo>
                <a:lnTo>
                  <a:pt x="211" y="527"/>
                </a:lnTo>
                <a:lnTo>
                  <a:pt x="210" y="532"/>
                </a:lnTo>
                <a:lnTo>
                  <a:pt x="211" y="539"/>
                </a:lnTo>
                <a:lnTo>
                  <a:pt x="218" y="558"/>
                </a:lnTo>
                <a:lnTo>
                  <a:pt x="215" y="565"/>
                </a:lnTo>
                <a:lnTo>
                  <a:pt x="206" y="568"/>
                </a:lnTo>
                <a:lnTo>
                  <a:pt x="180" y="566"/>
                </a:lnTo>
                <a:lnTo>
                  <a:pt x="170" y="571"/>
                </a:lnTo>
                <a:lnTo>
                  <a:pt x="167" y="576"/>
                </a:lnTo>
                <a:lnTo>
                  <a:pt x="163" y="577"/>
                </a:lnTo>
                <a:lnTo>
                  <a:pt x="158" y="573"/>
                </a:lnTo>
                <a:lnTo>
                  <a:pt x="153" y="569"/>
                </a:lnTo>
                <a:lnTo>
                  <a:pt x="149" y="567"/>
                </a:lnTo>
                <a:lnTo>
                  <a:pt x="143" y="569"/>
                </a:lnTo>
                <a:lnTo>
                  <a:pt x="138" y="574"/>
                </a:lnTo>
                <a:lnTo>
                  <a:pt x="131" y="585"/>
                </a:lnTo>
                <a:lnTo>
                  <a:pt x="127" y="590"/>
                </a:lnTo>
                <a:lnTo>
                  <a:pt x="117" y="593"/>
                </a:lnTo>
                <a:lnTo>
                  <a:pt x="111" y="596"/>
                </a:lnTo>
                <a:lnTo>
                  <a:pt x="103" y="603"/>
                </a:lnTo>
                <a:lnTo>
                  <a:pt x="98" y="609"/>
                </a:lnTo>
                <a:lnTo>
                  <a:pt x="94" y="617"/>
                </a:lnTo>
                <a:lnTo>
                  <a:pt x="89" y="624"/>
                </a:lnTo>
                <a:lnTo>
                  <a:pt x="84" y="631"/>
                </a:lnTo>
                <a:lnTo>
                  <a:pt x="78" y="638"/>
                </a:lnTo>
                <a:lnTo>
                  <a:pt x="77" y="645"/>
                </a:lnTo>
                <a:lnTo>
                  <a:pt x="77" y="651"/>
                </a:lnTo>
                <a:lnTo>
                  <a:pt x="76" y="656"/>
                </a:lnTo>
                <a:lnTo>
                  <a:pt x="75" y="660"/>
                </a:lnTo>
                <a:lnTo>
                  <a:pt x="74" y="665"/>
                </a:lnTo>
                <a:lnTo>
                  <a:pt x="71" y="669"/>
                </a:lnTo>
                <a:lnTo>
                  <a:pt x="65" y="671"/>
                </a:lnTo>
                <a:lnTo>
                  <a:pt x="46" y="673"/>
                </a:lnTo>
                <a:lnTo>
                  <a:pt x="17" y="672"/>
                </a:lnTo>
                <a:lnTo>
                  <a:pt x="24" y="701"/>
                </a:lnTo>
                <a:lnTo>
                  <a:pt x="43" y="733"/>
                </a:lnTo>
                <a:lnTo>
                  <a:pt x="78" y="753"/>
                </a:lnTo>
                <a:lnTo>
                  <a:pt x="130" y="766"/>
                </a:lnTo>
                <a:lnTo>
                  <a:pt x="170" y="790"/>
                </a:lnTo>
                <a:lnTo>
                  <a:pt x="194" y="813"/>
                </a:lnTo>
                <a:lnTo>
                  <a:pt x="220" y="853"/>
                </a:lnTo>
                <a:lnTo>
                  <a:pt x="219" y="911"/>
                </a:lnTo>
                <a:lnTo>
                  <a:pt x="208" y="980"/>
                </a:lnTo>
                <a:lnTo>
                  <a:pt x="178" y="1025"/>
                </a:lnTo>
                <a:lnTo>
                  <a:pt x="145" y="1044"/>
                </a:lnTo>
                <a:lnTo>
                  <a:pt x="88" y="1058"/>
                </a:lnTo>
                <a:lnTo>
                  <a:pt x="48" y="1088"/>
                </a:lnTo>
                <a:lnTo>
                  <a:pt x="0" y="1134"/>
                </a:lnTo>
                <a:lnTo>
                  <a:pt x="50" y="1193"/>
                </a:lnTo>
                <a:lnTo>
                  <a:pt x="76" y="1209"/>
                </a:lnTo>
                <a:lnTo>
                  <a:pt x="81" y="1210"/>
                </a:lnTo>
                <a:lnTo>
                  <a:pt x="93" y="1213"/>
                </a:lnTo>
                <a:lnTo>
                  <a:pt x="98" y="1214"/>
                </a:lnTo>
                <a:lnTo>
                  <a:pt x="102" y="1217"/>
                </a:lnTo>
                <a:lnTo>
                  <a:pt x="111" y="1226"/>
                </a:lnTo>
                <a:lnTo>
                  <a:pt x="120" y="1231"/>
                </a:lnTo>
                <a:lnTo>
                  <a:pt x="149" y="1255"/>
                </a:lnTo>
                <a:lnTo>
                  <a:pt x="177" y="1266"/>
                </a:lnTo>
                <a:lnTo>
                  <a:pt x="192" y="1268"/>
                </a:lnTo>
                <a:lnTo>
                  <a:pt x="198" y="1262"/>
                </a:lnTo>
                <a:lnTo>
                  <a:pt x="199" y="1247"/>
                </a:lnTo>
                <a:lnTo>
                  <a:pt x="199" y="1240"/>
                </a:lnTo>
                <a:lnTo>
                  <a:pt x="197" y="1234"/>
                </a:lnTo>
                <a:lnTo>
                  <a:pt x="179" y="1216"/>
                </a:lnTo>
                <a:lnTo>
                  <a:pt x="176" y="1214"/>
                </a:lnTo>
                <a:lnTo>
                  <a:pt x="173" y="1201"/>
                </a:lnTo>
                <a:lnTo>
                  <a:pt x="176" y="1189"/>
                </a:lnTo>
                <a:lnTo>
                  <a:pt x="182" y="1184"/>
                </a:lnTo>
                <a:lnTo>
                  <a:pt x="192" y="1189"/>
                </a:lnTo>
                <a:lnTo>
                  <a:pt x="195" y="1193"/>
                </a:lnTo>
                <a:lnTo>
                  <a:pt x="198" y="1197"/>
                </a:lnTo>
                <a:lnTo>
                  <a:pt x="202" y="1200"/>
                </a:lnTo>
                <a:lnTo>
                  <a:pt x="208" y="1200"/>
                </a:lnTo>
                <a:lnTo>
                  <a:pt x="215" y="1196"/>
                </a:lnTo>
                <a:lnTo>
                  <a:pt x="219" y="1190"/>
                </a:lnTo>
                <a:lnTo>
                  <a:pt x="224" y="1181"/>
                </a:lnTo>
                <a:lnTo>
                  <a:pt x="246" y="1171"/>
                </a:lnTo>
                <a:lnTo>
                  <a:pt x="267" y="1150"/>
                </a:lnTo>
                <a:lnTo>
                  <a:pt x="312" y="1086"/>
                </a:lnTo>
                <a:lnTo>
                  <a:pt x="341" y="1011"/>
                </a:lnTo>
                <a:lnTo>
                  <a:pt x="347" y="1002"/>
                </a:lnTo>
                <a:lnTo>
                  <a:pt x="354" y="997"/>
                </a:lnTo>
                <a:lnTo>
                  <a:pt x="361" y="997"/>
                </a:lnTo>
                <a:lnTo>
                  <a:pt x="375" y="998"/>
                </a:lnTo>
                <a:lnTo>
                  <a:pt x="380" y="996"/>
                </a:lnTo>
                <a:lnTo>
                  <a:pt x="387" y="988"/>
                </a:lnTo>
                <a:lnTo>
                  <a:pt x="390" y="986"/>
                </a:lnTo>
                <a:lnTo>
                  <a:pt x="397" y="985"/>
                </a:lnTo>
                <a:lnTo>
                  <a:pt x="383" y="1007"/>
                </a:lnTo>
                <a:lnTo>
                  <a:pt x="378" y="1011"/>
                </a:lnTo>
                <a:lnTo>
                  <a:pt x="371" y="1014"/>
                </a:lnTo>
                <a:lnTo>
                  <a:pt x="363" y="1017"/>
                </a:lnTo>
                <a:lnTo>
                  <a:pt x="358" y="1020"/>
                </a:lnTo>
                <a:lnTo>
                  <a:pt x="354" y="1027"/>
                </a:lnTo>
                <a:lnTo>
                  <a:pt x="352" y="1044"/>
                </a:lnTo>
                <a:lnTo>
                  <a:pt x="339" y="1072"/>
                </a:lnTo>
                <a:lnTo>
                  <a:pt x="336" y="1087"/>
                </a:lnTo>
                <a:lnTo>
                  <a:pt x="340" y="1097"/>
                </a:lnTo>
                <a:lnTo>
                  <a:pt x="350" y="1093"/>
                </a:lnTo>
                <a:lnTo>
                  <a:pt x="363" y="1087"/>
                </a:lnTo>
                <a:lnTo>
                  <a:pt x="378" y="1085"/>
                </a:lnTo>
                <a:lnTo>
                  <a:pt x="393" y="1100"/>
                </a:lnTo>
                <a:lnTo>
                  <a:pt x="403" y="1103"/>
                </a:lnTo>
                <a:lnTo>
                  <a:pt x="405" y="1089"/>
                </a:lnTo>
                <a:lnTo>
                  <a:pt x="410" y="1097"/>
                </a:lnTo>
                <a:lnTo>
                  <a:pt x="411" y="1103"/>
                </a:lnTo>
                <a:lnTo>
                  <a:pt x="408" y="1109"/>
                </a:lnTo>
                <a:lnTo>
                  <a:pt x="401" y="1113"/>
                </a:lnTo>
                <a:lnTo>
                  <a:pt x="393" y="1112"/>
                </a:lnTo>
                <a:lnTo>
                  <a:pt x="388" y="1108"/>
                </a:lnTo>
                <a:lnTo>
                  <a:pt x="385" y="1101"/>
                </a:lnTo>
                <a:lnTo>
                  <a:pt x="380" y="1099"/>
                </a:lnTo>
                <a:lnTo>
                  <a:pt x="362" y="1101"/>
                </a:lnTo>
                <a:lnTo>
                  <a:pt x="356" y="1106"/>
                </a:lnTo>
                <a:lnTo>
                  <a:pt x="352" y="1116"/>
                </a:lnTo>
                <a:lnTo>
                  <a:pt x="346" y="1130"/>
                </a:lnTo>
                <a:lnTo>
                  <a:pt x="326" y="1144"/>
                </a:lnTo>
                <a:lnTo>
                  <a:pt x="318" y="1154"/>
                </a:lnTo>
                <a:lnTo>
                  <a:pt x="321" y="1166"/>
                </a:lnTo>
                <a:lnTo>
                  <a:pt x="330" y="1173"/>
                </a:lnTo>
                <a:lnTo>
                  <a:pt x="334" y="1174"/>
                </a:lnTo>
                <a:lnTo>
                  <a:pt x="348" y="1173"/>
                </a:lnTo>
                <a:lnTo>
                  <a:pt x="353" y="1174"/>
                </a:lnTo>
                <a:lnTo>
                  <a:pt x="358" y="1183"/>
                </a:lnTo>
                <a:lnTo>
                  <a:pt x="364" y="1187"/>
                </a:lnTo>
                <a:lnTo>
                  <a:pt x="374" y="1184"/>
                </a:lnTo>
                <a:lnTo>
                  <a:pt x="397" y="1171"/>
                </a:lnTo>
                <a:lnTo>
                  <a:pt x="408" y="1167"/>
                </a:lnTo>
                <a:lnTo>
                  <a:pt x="414" y="1164"/>
                </a:lnTo>
                <a:lnTo>
                  <a:pt x="432" y="1143"/>
                </a:lnTo>
                <a:lnTo>
                  <a:pt x="438" y="1136"/>
                </a:lnTo>
                <a:lnTo>
                  <a:pt x="444" y="1109"/>
                </a:lnTo>
                <a:lnTo>
                  <a:pt x="455" y="978"/>
                </a:lnTo>
                <a:lnTo>
                  <a:pt x="453" y="958"/>
                </a:lnTo>
                <a:lnTo>
                  <a:pt x="434" y="922"/>
                </a:lnTo>
                <a:lnTo>
                  <a:pt x="429" y="903"/>
                </a:lnTo>
                <a:lnTo>
                  <a:pt x="430" y="883"/>
                </a:lnTo>
                <a:lnTo>
                  <a:pt x="436" y="856"/>
                </a:lnTo>
                <a:lnTo>
                  <a:pt x="441" y="840"/>
                </a:lnTo>
                <a:lnTo>
                  <a:pt x="442" y="834"/>
                </a:lnTo>
                <a:lnTo>
                  <a:pt x="448" y="829"/>
                </a:lnTo>
                <a:lnTo>
                  <a:pt x="469" y="828"/>
                </a:lnTo>
                <a:lnTo>
                  <a:pt x="474" y="826"/>
                </a:lnTo>
                <a:lnTo>
                  <a:pt x="475" y="814"/>
                </a:lnTo>
                <a:lnTo>
                  <a:pt x="476" y="808"/>
                </a:lnTo>
                <a:lnTo>
                  <a:pt x="480" y="805"/>
                </a:lnTo>
                <a:lnTo>
                  <a:pt x="520" y="782"/>
                </a:lnTo>
                <a:lnTo>
                  <a:pt x="515" y="797"/>
                </a:lnTo>
                <a:lnTo>
                  <a:pt x="504" y="804"/>
                </a:lnTo>
                <a:lnTo>
                  <a:pt x="493" y="810"/>
                </a:lnTo>
                <a:lnTo>
                  <a:pt x="488" y="817"/>
                </a:lnTo>
                <a:lnTo>
                  <a:pt x="484" y="832"/>
                </a:lnTo>
                <a:lnTo>
                  <a:pt x="477" y="837"/>
                </a:lnTo>
                <a:lnTo>
                  <a:pt x="466" y="840"/>
                </a:lnTo>
                <a:lnTo>
                  <a:pt x="455" y="851"/>
                </a:lnTo>
                <a:lnTo>
                  <a:pt x="461" y="859"/>
                </a:lnTo>
                <a:lnTo>
                  <a:pt x="460" y="866"/>
                </a:lnTo>
                <a:lnTo>
                  <a:pt x="455" y="871"/>
                </a:lnTo>
                <a:lnTo>
                  <a:pt x="452" y="879"/>
                </a:lnTo>
                <a:lnTo>
                  <a:pt x="451" y="886"/>
                </a:lnTo>
                <a:lnTo>
                  <a:pt x="453" y="891"/>
                </a:lnTo>
                <a:lnTo>
                  <a:pt x="455" y="894"/>
                </a:lnTo>
                <a:lnTo>
                  <a:pt x="455" y="899"/>
                </a:lnTo>
                <a:lnTo>
                  <a:pt x="457" y="901"/>
                </a:lnTo>
                <a:lnTo>
                  <a:pt x="466" y="912"/>
                </a:lnTo>
                <a:lnTo>
                  <a:pt x="467" y="916"/>
                </a:lnTo>
                <a:lnTo>
                  <a:pt x="470" y="919"/>
                </a:lnTo>
                <a:lnTo>
                  <a:pt x="469" y="929"/>
                </a:lnTo>
                <a:lnTo>
                  <a:pt x="465" y="943"/>
                </a:lnTo>
                <a:lnTo>
                  <a:pt x="466" y="951"/>
                </a:lnTo>
                <a:lnTo>
                  <a:pt x="470" y="983"/>
                </a:lnTo>
                <a:lnTo>
                  <a:pt x="469" y="1022"/>
                </a:lnTo>
                <a:lnTo>
                  <a:pt x="470" y="1032"/>
                </a:lnTo>
                <a:lnTo>
                  <a:pt x="475" y="1039"/>
                </a:lnTo>
                <a:lnTo>
                  <a:pt x="483" y="1053"/>
                </a:lnTo>
                <a:lnTo>
                  <a:pt x="496" y="1089"/>
                </a:lnTo>
                <a:lnTo>
                  <a:pt x="504" y="1101"/>
                </a:lnTo>
                <a:lnTo>
                  <a:pt x="509" y="1104"/>
                </a:lnTo>
                <a:lnTo>
                  <a:pt x="517" y="1104"/>
                </a:lnTo>
                <a:lnTo>
                  <a:pt x="532" y="1103"/>
                </a:lnTo>
                <a:lnTo>
                  <a:pt x="534" y="1108"/>
                </a:lnTo>
                <a:lnTo>
                  <a:pt x="543" y="1130"/>
                </a:lnTo>
                <a:lnTo>
                  <a:pt x="547" y="1161"/>
                </a:lnTo>
                <a:lnTo>
                  <a:pt x="546" y="1177"/>
                </a:lnTo>
                <a:lnTo>
                  <a:pt x="541" y="1189"/>
                </a:lnTo>
                <a:lnTo>
                  <a:pt x="520" y="1209"/>
                </a:lnTo>
                <a:lnTo>
                  <a:pt x="513" y="1220"/>
                </a:lnTo>
                <a:lnTo>
                  <a:pt x="499" y="1260"/>
                </a:lnTo>
                <a:lnTo>
                  <a:pt x="496" y="1275"/>
                </a:lnTo>
                <a:lnTo>
                  <a:pt x="490" y="1290"/>
                </a:lnTo>
                <a:lnTo>
                  <a:pt x="488" y="1294"/>
                </a:lnTo>
                <a:lnTo>
                  <a:pt x="474" y="1320"/>
                </a:lnTo>
                <a:lnTo>
                  <a:pt x="453" y="1388"/>
                </a:lnTo>
                <a:lnTo>
                  <a:pt x="452" y="1400"/>
                </a:lnTo>
                <a:lnTo>
                  <a:pt x="443" y="1426"/>
                </a:lnTo>
                <a:lnTo>
                  <a:pt x="440" y="1441"/>
                </a:lnTo>
                <a:lnTo>
                  <a:pt x="447" y="1453"/>
                </a:lnTo>
                <a:lnTo>
                  <a:pt x="441" y="1466"/>
                </a:lnTo>
                <a:lnTo>
                  <a:pt x="432" y="1479"/>
                </a:lnTo>
                <a:lnTo>
                  <a:pt x="434" y="1479"/>
                </a:lnTo>
                <a:lnTo>
                  <a:pt x="438" y="1480"/>
                </a:lnTo>
                <a:lnTo>
                  <a:pt x="490" y="1482"/>
                </a:lnTo>
                <a:lnTo>
                  <a:pt x="496" y="1485"/>
                </a:lnTo>
                <a:lnTo>
                  <a:pt x="523" y="1492"/>
                </a:lnTo>
                <a:lnTo>
                  <a:pt x="525" y="1479"/>
                </a:lnTo>
                <a:lnTo>
                  <a:pt x="527" y="1474"/>
                </a:lnTo>
                <a:lnTo>
                  <a:pt x="531" y="1465"/>
                </a:lnTo>
                <a:lnTo>
                  <a:pt x="568" y="1421"/>
                </a:lnTo>
                <a:lnTo>
                  <a:pt x="568" y="1415"/>
                </a:lnTo>
                <a:lnTo>
                  <a:pt x="567" y="1396"/>
                </a:lnTo>
                <a:lnTo>
                  <a:pt x="562" y="1377"/>
                </a:lnTo>
                <a:lnTo>
                  <a:pt x="561" y="1365"/>
                </a:lnTo>
                <a:lnTo>
                  <a:pt x="565" y="1348"/>
                </a:lnTo>
                <a:lnTo>
                  <a:pt x="570" y="1332"/>
                </a:lnTo>
                <a:lnTo>
                  <a:pt x="717" y="1179"/>
                </a:lnTo>
                <a:lnTo>
                  <a:pt x="720" y="1177"/>
                </a:lnTo>
                <a:lnTo>
                  <a:pt x="724" y="1175"/>
                </a:lnTo>
                <a:lnTo>
                  <a:pt x="728" y="1171"/>
                </a:lnTo>
                <a:lnTo>
                  <a:pt x="734" y="1166"/>
                </a:lnTo>
                <a:lnTo>
                  <a:pt x="749" y="1151"/>
                </a:lnTo>
                <a:lnTo>
                  <a:pt x="752" y="1144"/>
                </a:lnTo>
                <a:lnTo>
                  <a:pt x="753" y="1137"/>
                </a:lnTo>
                <a:lnTo>
                  <a:pt x="748" y="1129"/>
                </a:lnTo>
                <a:lnTo>
                  <a:pt x="740" y="1112"/>
                </a:lnTo>
                <a:lnTo>
                  <a:pt x="721" y="1117"/>
                </a:lnTo>
                <a:lnTo>
                  <a:pt x="704" y="1126"/>
                </a:lnTo>
                <a:lnTo>
                  <a:pt x="695" y="1125"/>
                </a:lnTo>
                <a:lnTo>
                  <a:pt x="689" y="1119"/>
                </a:lnTo>
                <a:lnTo>
                  <a:pt x="688" y="1111"/>
                </a:lnTo>
                <a:lnTo>
                  <a:pt x="726" y="1076"/>
                </a:lnTo>
                <a:lnTo>
                  <a:pt x="748" y="1061"/>
                </a:lnTo>
                <a:lnTo>
                  <a:pt x="749" y="1058"/>
                </a:lnTo>
                <a:lnTo>
                  <a:pt x="747" y="1053"/>
                </a:lnTo>
                <a:lnTo>
                  <a:pt x="744" y="1048"/>
                </a:lnTo>
                <a:lnTo>
                  <a:pt x="744" y="1043"/>
                </a:lnTo>
                <a:lnTo>
                  <a:pt x="748" y="1037"/>
                </a:lnTo>
                <a:lnTo>
                  <a:pt x="748" y="1021"/>
                </a:lnTo>
                <a:lnTo>
                  <a:pt x="754" y="1012"/>
                </a:lnTo>
                <a:lnTo>
                  <a:pt x="761" y="1005"/>
                </a:lnTo>
                <a:lnTo>
                  <a:pt x="779" y="991"/>
                </a:lnTo>
                <a:lnTo>
                  <a:pt x="789" y="985"/>
                </a:lnTo>
                <a:lnTo>
                  <a:pt x="796" y="982"/>
                </a:lnTo>
                <a:lnTo>
                  <a:pt x="876" y="968"/>
                </a:lnTo>
                <a:lnTo>
                  <a:pt x="889" y="963"/>
                </a:lnTo>
                <a:lnTo>
                  <a:pt x="904" y="958"/>
                </a:lnTo>
                <a:lnTo>
                  <a:pt x="920" y="949"/>
                </a:lnTo>
                <a:lnTo>
                  <a:pt x="929" y="942"/>
                </a:lnTo>
                <a:lnTo>
                  <a:pt x="936" y="934"/>
                </a:lnTo>
                <a:lnTo>
                  <a:pt x="939" y="929"/>
                </a:lnTo>
                <a:lnTo>
                  <a:pt x="946" y="916"/>
                </a:lnTo>
                <a:lnTo>
                  <a:pt x="947" y="888"/>
                </a:lnTo>
                <a:lnTo>
                  <a:pt x="945" y="882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6" name="Freeform 20">
            <a:extLst>
              <a:ext uri="{FF2B5EF4-FFF2-40B4-BE49-F238E27FC236}">
                <a16:creationId xmlns:a16="http://schemas.microsoft.com/office/drawing/2014/main" id="{E837347C-9753-4994-9E35-E6D1025E5D36}"/>
              </a:ext>
            </a:extLst>
          </p:cNvPr>
          <p:cNvSpPr>
            <a:spLocks noEditPoints="1"/>
          </p:cNvSpPr>
          <p:nvPr/>
        </p:nvSpPr>
        <p:spPr bwMode="auto">
          <a:xfrm>
            <a:off x="4509527" y="1907162"/>
            <a:ext cx="1117217" cy="899097"/>
          </a:xfrm>
          <a:custGeom>
            <a:avLst/>
            <a:gdLst>
              <a:gd name="T0" fmla="*/ 1554 w 1618"/>
              <a:gd name="T1" fmla="*/ 898 h 1376"/>
              <a:gd name="T2" fmla="*/ 1479 w 1618"/>
              <a:gd name="T3" fmla="*/ 949 h 1376"/>
              <a:gd name="T4" fmla="*/ 1384 w 1618"/>
              <a:gd name="T5" fmla="*/ 1028 h 1376"/>
              <a:gd name="T6" fmla="*/ 1403 w 1618"/>
              <a:gd name="T7" fmla="*/ 1066 h 1376"/>
              <a:gd name="T8" fmla="*/ 1487 w 1618"/>
              <a:gd name="T9" fmla="*/ 1063 h 1376"/>
              <a:gd name="T10" fmla="*/ 1543 w 1618"/>
              <a:gd name="T11" fmla="*/ 993 h 1376"/>
              <a:gd name="T12" fmla="*/ 621 w 1618"/>
              <a:gd name="T13" fmla="*/ 46 h 1376"/>
              <a:gd name="T14" fmla="*/ 762 w 1618"/>
              <a:gd name="T15" fmla="*/ 240 h 1376"/>
              <a:gd name="T16" fmla="*/ 830 w 1618"/>
              <a:gd name="T17" fmla="*/ 249 h 1376"/>
              <a:gd name="T18" fmla="*/ 781 w 1618"/>
              <a:gd name="T19" fmla="*/ 195 h 1376"/>
              <a:gd name="T20" fmla="*/ 175 w 1618"/>
              <a:gd name="T21" fmla="*/ 745 h 1376"/>
              <a:gd name="T22" fmla="*/ 144 w 1618"/>
              <a:gd name="T23" fmla="*/ 610 h 1376"/>
              <a:gd name="T24" fmla="*/ 0 w 1618"/>
              <a:gd name="T25" fmla="*/ 636 h 1376"/>
              <a:gd name="T26" fmla="*/ 40 w 1618"/>
              <a:gd name="T27" fmla="*/ 738 h 1376"/>
              <a:gd name="T28" fmla="*/ 89 w 1618"/>
              <a:gd name="T29" fmla="*/ 754 h 1376"/>
              <a:gd name="T30" fmla="*/ 1337 w 1618"/>
              <a:gd name="T31" fmla="*/ 1336 h 1376"/>
              <a:gd name="T32" fmla="*/ 1377 w 1618"/>
              <a:gd name="T33" fmla="*/ 1355 h 1376"/>
              <a:gd name="T34" fmla="*/ 958 w 1618"/>
              <a:gd name="T35" fmla="*/ 777 h 1376"/>
              <a:gd name="T36" fmla="*/ 865 w 1618"/>
              <a:gd name="T37" fmla="*/ 775 h 1376"/>
              <a:gd name="T38" fmla="*/ 811 w 1618"/>
              <a:gd name="T39" fmla="*/ 781 h 1376"/>
              <a:gd name="T40" fmla="*/ 753 w 1618"/>
              <a:gd name="T41" fmla="*/ 885 h 1376"/>
              <a:gd name="T42" fmla="*/ 816 w 1618"/>
              <a:gd name="T43" fmla="*/ 935 h 1376"/>
              <a:gd name="T44" fmla="*/ 882 w 1618"/>
              <a:gd name="T45" fmla="*/ 959 h 1376"/>
              <a:gd name="T46" fmla="*/ 951 w 1618"/>
              <a:gd name="T47" fmla="*/ 931 h 1376"/>
              <a:gd name="T48" fmla="*/ 993 w 1618"/>
              <a:gd name="T49" fmla="*/ 874 h 1376"/>
              <a:gd name="T50" fmla="*/ 983 w 1618"/>
              <a:gd name="T51" fmla="*/ 798 h 1376"/>
              <a:gd name="T52" fmla="*/ 809 w 1618"/>
              <a:gd name="T53" fmla="*/ 1261 h 1376"/>
              <a:gd name="T54" fmla="*/ 768 w 1618"/>
              <a:gd name="T55" fmla="*/ 1312 h 1376"/>
              <a:gd name="T56" fmla="*/ 855 w 1618"/>
              <a:gd name="T57" fmla="*/ 1321 h 1376"/>
              <a:gd name="T58" fmla="*/ 870 w 1618"/>
              <a:gd name="T59" fmla="*/ 1298 h 1376"/>
              <a:gd name="T60" fmla="*/ 582 w 1618"/>
              <a:gd name="T61" fmla="*/ 930 h 1376"/>
              <a:gd name="T62" fmla="*/ 530 w 1618"/>
              <a:gd name="T63" fmla="*/ 872 h 1376"/>
              <a:gd name="T64" fmla="*/ 471 w 1618"/>
              <a:gd name="T65" fmla="*/ 815 h 1376"/>
              <a:gd name="T66" fmla="*/ 476 w 1618"/>
              <a:gd name="T67" fmla="*/ 732 h 1376"/>
              <a:gd name="T68" fmla="*/ 453 w 1618"/>
              <a:gd name="T69" fmla="*/ 701 h 1376"/>
              <a:gd name="T70" fmla="*/ 364 w 1618"/>
              <a:gd name="T71" fmla="*/ 631 h 1376"/>
              <a:gd name="T72" fmla="*/ 315 w 1618"/>
              <a:gd name="T73" fmla="*/ 473 h 1376"/>
              <a:gd name="T74" fmla="*/ 270 w 1618"/>
              <a:gd name="T75" fmla="*/ 425 h 1376"/>
              <a:gd name="T76" fmla="*/ 233 w 1618"/>
              <a:gd name="T77" fmla="*/ 344 h 1376"/>
              <a:gd name="T78" fmla="*/ 181 w 1618"/>
              <a:gd name="T79" fmla="*/ 356 h 1376"/>
              <a:gd name="T80" fmla="*/ 54 w 1618"/>
              <a:gd name="T81" fmla="*/ 431 h 1376"/>
              <a:gd name="T82" fmla="*/ 85 w 1618"/>
              <a:gd name="T83" fmla="*/ 469 h 1376"/>
              <a:gd name="T84" fmla="*/ 176 w 1618"/>
              <a:gd name="T85" fmla="*/ 496 h 1376"/>
              <a:gd name="T86" fmla="*/ 178 w 1618"/>
              <a:gd name="T87" fmla="*/ 582 h 1376"/>
              <a:gd name="T88" fmla="*/ 263 w 1618"/>
              <a:gd name="T89" fmla="*/ 679 h 1376"/>
              <a:gd name="T90" fmla="*/ 297 w 1618"/>
              <a:gd name="T91" fmla="*/ 738 h 1376"/>
              <a:gd name="T92" fmla="*/ 387 w 1618"/>
              <a:gd name="T93" fmla="*/ 818 h 1376"/>
              <a:gd name="T94" fmla="*/ 358 w 1618"/>
              <a:gd name="T95" fmla="*/ 876 h 1376"/>
              <a:gd name="T96" fmla="*/ 314 w 1618"/>
              <a:gd name="T97" fmla="*/ 888 h 1376"/>
              <a:gd name="T98" fmla="*/ 242 w 1618"/>
              <a:gd name="T99" fmla="*/ 895 h 1376"/>
              <a:gd name="T100" fmla="*/ 113 w 1618"/>
              <a:gd name="T101" fmla="*/ 1037 h 1376"/>
              <a:gd name="T102" fmla="*/ 155 w 1618"/>
              <a:gd name="T103" fmla="*/ 1098 h 1376"/>
              <a:gd name="T104" fmla="*/ 343 w 1618"/>
              <a:gd name="T105" fmla="*/ 1127 h 1376"/>
              <a:gd name="T106" fmla="*/ 505 w 1618"/>
              <a:gd name="T107" fmla="*/ 1076 h 1376"/>
              <a:gd name="T108" fmla="*/ 570 w 1618"/>
              <a:gd name="T109" fmla="*/ 953 h 1376"/>
              <a:gd name="T110" fmla="*/ 750 w 1618"/>
              <a:gd name="T111" fmla="*/ 623 h 1376"/>
              <a:gd name="T112" fmla="*/ 596 w 1618"/>
              <a:gd name="T113" fmla="*/ 540 h 1376"/>
              <a:gd name="T114" fmla="*/ 562 w 1618"/>
              <a:gd name="T115" fmla="*/ 580 h 1376"/>
              <a:gd name="T116" fmla="*/ 599 w 1618"/>
              <a:gd name="T117" fmla="*/ 663 h 1376"/>
              <a:gd name="T118" fmla="*/ 731 w 1618"/>
              <a:gd name="T119" fmla="*/ 667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18" h="1376">
                <a:moveTo>
                  <a:pt x="1617" y="894"/>
                </a:moveTo>
                <a:lnTo>
                  <a:pt x="1608" y="898"/>
                </a:lnTo>
                <a:lnTo>
                  <a:pt x="1599" y="902"/>
                </a:lnTo>
                <a:lnTo>
                  <a:pt x="1591" y="902"/>
                </a:lnTo>
                <a:lnTo>
                  <a:pt x="1582" y="896"/>
                </a:lnTo>
                <a:lnTo>
                  <a:pt x="1574" y="893"/>
                </a:lnTo>
                <a:lnTo>
                  <a:pt x="1554" y="898"/>
                </a:lnTo>
                <a:lnTo>
                  <a:pt x="1543" y="900"/>
                </a:lnTo>
                <a:lnTo>
                  <a:pt x="1536" y="906"/>
                </a:lnTo>
                <a:lnTo>
                  <a:pt x="1512" y="915"/>
                </a:lnTo>
                <a:lnTo>
                  <a:pt x="1507" y="919"/>
                </a:lnTo>
                <a:lnTo>
                  <a:pt x="1503" y="926"/>
                </a:lnTo>
                <a:lnTo>
                  <a:pt x="1486" y="942"/>
                </a:lnTo>
                <a:lnTo>
                  <a:pt x="1479" y="949"/>
                </a:lnTo>
                <a:lnTo>
                  <a:pt x="1469" y="971"/>
                </a:lnTo>
                <a:lnTo>
                  <a:pt x="1462" y="979"/>
                </a:lnTo>
                <a:lnTo>
                  <a:pt x="1434" y="985"/>
                </a:lnTo>
                <a:lnTo>
                  <a:pt x="1426" y="986"/>
                </a:lnTo>
                <a:lnTo>
                  <a:pt x="1419" y="1009"/>
                </a:lnTo>
                <a:lnTo>
                  <a:pt x="1411" y="1017"/>
                </a:lnTo>
                <a:lnTo>
                  <a:pt x="1384" y="1028"/>
                </a:lnTo>
                <a:lnTo>
                  <a:pt x="1378" y="1034"/>
                </a:lnTo>
                <a:lnTo>
                  <a:pt x="1370" y="1044"/>
                </a:lnTo>
                <a:lnTo>
                  <a:pt x="1366" y="1051"/>
                </a:lnTo>
                <a:lnTo>
                  <a:pt x="1366" y="1058"/>
                </a:lnTo>
                <a:lnTo>
                  <a:pt x="1373" y="1060"/>
                </a:lnTo>
                <a:lnTo>
                  <a:pt x="1397" y="1064"/>
                </a:lnTo>
                <a:lnTo>
                  <a:pt x="1403" y="1066"/>
                </a:lnTo>
                <a:lnTo>
                  <a:pt x="1417" y="1076"/>
                </a:lnTo>
                <a:lnTo>
                  <a:pt x="1424" y="1078"/>
                </a:lnTo>
                <a:lnTo>
                  <a:pt x="1434" y="1076"/>
                </a:lnTo>
                <a:lnTo>
                  <a:pt x="1448" y="1066"/>
                </a:lnTo>
                <a:lnTo>
                  <a:pt x="1454" y="1064"/>
                </a:lnTo>
                <a:lnTo>
                  <a:pt x="1477" y="1064"/>
                </a:lnTo>
                <a:lnTo>
                  <a:pt x="1487" y="1063"/>
                </a:lnTo>
                <a:lnTo>
                  <a:pt x="1497" y="1060"/>
                </a:lnTo>
                <a:lnTo>
                  <a:pt x="1507" y="1053"/>
                </a:lnTo>
                <a:lnTo>
                  <a:pt x="1516" y="1044"/>
                </a:lnTo>
                <a:lnTo>
                  <a:pt x="1530" y="1023"/>
                </a:lnTo>
                <a:lnTo>
                  <a:pt x="1538" y="1004"/>
                </a:lnTo>
                <a:lnTo>
                  <a:pt x="1539" y="997"/>
                </a:lnTo>
                <a:lnTo>
                  <a:pt x="1543" y="993"/>
                </a:lnTo>
                <a:lnTo>
                  <a:pt x="1567" y="986"/>
                </a:lnTo>
                <a:lnTo>
                  <a:pt x="1586" y="970"/>
                </a:lnTo>
                <a:lnTo>
                  <a:pt x="1606" y="946"/>
                </a:lnTo>
                <a:lnTo>
                  <a:pt x="1618" y="919"/>
                </a:lnTo>
                <a:lnTo>
                  <a:pt x="1617" y="894"/>
                </a:lnTo>
                <a:close/>
                <a:moveTo>
                  <a:pt x="610" y="66"/>
                </a:moveTo>
                <a:lnTo>
                  <a:pt x="621" y="46"/>
                </a:lnTo>
                <a:lnTo>
                  <a:pt x="612" y="15"/>
                </a:lnTo>
                <a:lnTo>
                  <a:pt x="585" y="0"/>
                </a:lnTo>
                <a:lnTo>
                  <a:pt x="580" y="12"/>
                </a:lnTo>
                <a:lnTo>
                  <a:pt x="585" y="40"/>
                </a:lnTo>
                <a:lnTo>
                  <a:pt x="580" y="54"/>
                </a:lnTo>
                <a:lnTo>
                  <a:pt x="610" y="66"/>
                </a:lnTo>
                <a:close/>
                <a:moveTo>
                  <a:pt x="762" y="240"/>
                </a:moveTo>
                <a:lnTo>
                  <a:pt x="768" y="245"/>
                </a:lnTo>
                <a:lnTo>
                  <a:pt x="775" y="247"/>
                </a:lnTo>
                <a:lnTo>
                  <a:pt x="783" y="249"/>
                </a:lnTo>
                <a:lnTo>
                  <a:pt x="792" y="258"/>
                </a:lnTo>
                <a:lnTo>
                  <a:pt x="801" y="261"/>
                </a:lnTo>
                <a:lnTo>
                  <a:pt x="815" y="258"/>
                </a:lnTo>
                <a:lnTo>
                  <a:pt x="830" y="249"/>
                </a:lnTo>
                <a:lnTo>
                  <a:pt x="842" y="239"/>
                </a:lnTo>
                <a:lnTo>
                  <a:pt x="846" y="229"/>
                </a:lnTo>
                <a:lnTo>
                  <a:pt x="840" y="216"/>
                </a:lnTo>
                <a:lnTo>
                  <a:pt x="827" y="205"/>
                </a:lnTo>
                <a:lnTo>
                  <a:pt x="811" y="197"/>
                </a:lnTo>
                <a:lnTo>
                  <a:pt x="795" y="193"/>
                </a:lnTo>
                <a:lnTo>
                  <a:pt x="781" y="195"/>
                </a:lnTo>
                <a:lnTo>
                  <a:pt x="766" y="203"/>
                </a:lnTo>
                <a:lnTo>
                  <a:pt x="756" y="214"/>
                </a:lnTo>
                <a:lnTo>
                  <a:pt x="754" y="229"/>
                </a:lnTo>
                <a:lnTo>
                  <a:pt x="757" y="233"/>
                </a:lnTo>
                <a:lnTo>
                  <a:pt x="762" y="240"/>
                </a:lnTo>
                <a:close/>
                <a:moveTo>
                  <a:pt x="128" y="763"/>
                </a:moveTo>
                <a:lnTo>
                  <a:pt x="175" y="745"/>
                </a:lnTo>
                <a:lnTo>
                  <a:pt x="181" y="740"/>
                </a:lnTo>
                <a:lnTo>
                  <a:pt x="181" y="683"/>
                </a:lnTo>
                <a:lnTo>
                  <a:pt x="184" y="658"/>
                </a:lnTo>
                <a:lnTo>
                  <a:pt x="182" y="644"/>
                </a:lnTo>
                <a:lnTo>
                  <a:pt x="174" y="637"/>
                </a:lnTo>
                <a:lnTo>
                  <a:pt x="168" y="634"/>
                </a:lnTo>
                <a:lnTo>
                  <a:pt x="144" y="610"/>
                </a:lnTo>
                <a:lnTo>
                  <a:pt x="137" y="605"/>
                </a:lnTo>
                <a:lnTo>
                  <a:pt x="132" y="605"/>
                </a:lnTo>
                <a:lnTo>
                  <a:pt x="117" y="610"/>
                </a:lnTo>
                <a:lnTo>
                  <a:pt x="86" y="617"/>
                </a:lnTo>
                <a:lnTo>
                  <a:pt x="61" y="630"/>
                </a:lnTo>
                <a:lnTo>
                  <a:pt x="2" y="629"/>
                </a:lnTo>
                <a:lnTo>
                  <a:pt x="0" y="636"/>
                </a:lnTo>
                <a:lnTo>
                  <a:pt x="9" y="662"/>
                </a:lnTo>
                <a:lnTo>
                  <a:pt x="13" y="693"/>
                </a:lnTo>
                <a:lnTo>
                  <a:pt x="19" y="708"/>
                </a:lnTo>
                <a:lnTo>
                  <a:pt x="27" y="722"/>
                </a:lnTo>
                <a:lnTo>
                  <a:pt x="39" y="734"/>
                </a:lnTo>
                <a:lnTo>
                  <a:pt x="40" y="736"/>
                </a:lnTo>
                <a:lnTo>
                  <a:pt x="40" y="738"/>
                </a:lnTo>
                <a:lnTo>
                  <a:pt x="40" y="740"/>
                </a:lnTo>
                <a:lnTo>
                  <a:pt x="44" y="742"/>
                </a:lnTo>
                <a:lnTo>
                  <a:pt x="47" y="744"/>
                </a:lnTo>
                <a:lnTo>
                  <a:pt x="53" y="742"/>
                </a:lnTo>
                <a:lnTo>
                  <a:pt x="57" y="742"/>
                </a:lnTo>
                <a:lnTo>
                  <a:pt x="77" y="751"/>
                </a:lnTo>
                <a:lnTo>
                  <a:pt x="89" y="754"/>
                </a:lnTo>
                <a:lnTo>
                  <a:pt x="103" y="764"/>
                </a:lnTo>
                <a:lnTo>
                  <a:pt x="110" y="766"/>
                </a:lnTo>
                <a:lnTo>
                  <a:pt x="116" y="765"/>
                </a:lnTo>
                <a:lnTo>
                  <a:pt x="128" y="763"/>
                </a:lnTo>
                <a:close/>
                <a:moveTo>
                  <a:pt x="1364" y="1341"/>
                </a:moveTo>
                <a:lnTo>
                  <a:pt x="1346" y="1335"/>
                </a:lnTo>
                <a:lnTo>
                  <a:pt x="1337" y="1336"/>
                </a:lnTo>
                <a:lnTo>
                  <a:pt x="1306" y="1337"/>
                </a:lnTo>
                <a:lnTo>
                  <a:pt x="1296" y="1335"/>
                </a:lnTo>
                <a:lnTo>
                  <a:pt x="1282" y="1348"/>
                </a:lnTo>
                <a:lnTo>
                  <a:pt x="1336" y="1373"/>
                </a:lnTo>
                <a:lnTo>
                  <a:pt x="1358" y="1376"/>
                </a:lnTo>
                <a:lnTo>
                  <a:pt x="1378" y="1370"/>
                </a:lnTo>
                <a:lnTo>
                  <a:pt x="1377" y="1355"/>
                </a:lnTo>
                <a:lnTo>
                  <a:pt x="1364" y="1341"/>
                </a:lnTo>
                <a:close/>
                <a:moveTo>
                  <a:pt x="983" y="798"/>
                </a:moveTo>
                <a:lnTo>
                  <a:pt x="970" y="794"/>
                </a:lnTo>
                <a:lnTo>
                  <a:pt x="963" y="793"/>
                </a:lnTo>
                <a:lnTo>
                  <a:pt x="958" y="791"/>
                </a:lnTo>
                <a:lnTo>
                  <a:pt x="958" y="785"/>
                </a:lnTo>
                <a:lnTo>
                  <a:pt x="958" y="777"/>
                </a:lnTo>
                <a:lnTo>
                  <a:pt x="957" y="771"/>
                </a:lnTo>
                <a:lnTo>
                  <a:pt x="954" y="767"/>
                </a:lnTo>
                <a:lnTo>
                  <a:pt x="950" y="764"/>
                </a:lnTo>
                <a:lnTo>
                  <a:pt x="946" y="762"/>
                </a:lnTo>
                <a:lnTo>
                  <a:pt x="943" y="761"/>
                </a:lnTo>
                <a:lnTo>
                  <a:pt x="928" y="768"/>
                </a:lnTo>
                <a:lnTo>
                  <a:pt x="865" y="775"/>
                </a:lnTo>
                <a:lnTo>
                  <a:pt x="860" y="777"/>
                </a:lnTo>
                <a:lnTo>
                  <a:pt x="853" y="783"/>
                </a:lnTo>
                <a:lnTo>
                  <a:pt x="846" y="784"/>
                </a:lnTo>
                <a:lnTo>
                  <a:pt x="841" y="784"/>
                </a:lnTo>
                <a:lnTo>
                  <a:pt x="826" y="779"/>
                </a:lnTo>
                <a:lnTo>
                  <a:pt x="818" y="779"/>
                </a:lnTo>
                <a:lnTo>
                  <a:pt x="811" y="781"/>
                </a:lnTo>
                <a:lnTo>
                  <a:pt x="792" y="789"/>
                </a:lnTo>
                <a:lnTo>
                  <a:pt x="786" y="793"/>
                </a:lnTo>
                <a:lnTo>
                  <a:pt x="776" y="805"/>
                </a:lnTo>
                <a:lnTo>
                  <a:pt x="766" y="819"/>
                </a:lnTo>
                <a:lnTo>
                  <a:pt x="759" y="836"/>
                </a:lnTo>
                <a:lnTo>
                  <a:pt x="754" y="853"/>
                </a:lnTo>
                <a:lnTo>
                  <a:pt x="753" y="885"/>
                </a:lnTo>
                <a:lnTo>
                  <a:pt x="754" y="894"/>
                </a:lnTo>
                <a:lnTo>
                  <a:pt x="762" y="901"/>
                </a:lnTo>
                <a:lnTo>
                  <a:pt x="774" y="906"/>
                </a:lnTo>
                <a:lnTo>
                  <a:pt x="786" y="909"/>
                </a:lnTo>
                <a:lnTo>
                  <a:pt x="795" y="908"/>
                </a:lnTo>
                <a:lnTo>
                  <a:pt x="802" y="915"/>
                </a:lnTo>
                <a:lnTo>
                  <a:pt x="816" y="935"/>
                </a:lnTo>
                <a:lnTo>
                  <a:pt x="820" y="940"/>
                </a:lnTo>
                <a:lnTo>
                  <a:pt x="825" y="942"/>
                </a:lnTo>
                <a:lnTo>
                  <a:pt x="828" y="945"/>
                </a:lnTo>
                <a:lnTo>
                  <a:pt x="832" y="948"/>
                </a:lnTo>
                <a:lnTo>
                  <a:pt x="846" y="950"/>
                </a:lnTo>
                <a:lnTo>
                  <a:pt x="869" y="959"/>
                </a:lnTo>
                <a:lnTo>
                  <a:pt x="882" y="959"/>
                </a:lnTo>
                <a:lnTo>
                  <a:pt x="893" y="958"/>
                </a:lnTo>
                <a:lnTo>
                  <a:pt x="903" y="950"/>
                </a:lnTo>
                <a:lnTo>
                  <a:pt x="906" y="937"/>
                </a:lnTo>
                <a:lnTo>
                  <a:pt x="909" y="935"/>
                </a:lnTo>
                <a:lnTo>
                  <a:pt x="942" y="936"/>
                </a:lnTo>
                <a:lnTo>
                  <a:pt x="945" y="935"/>
                </a:lnTo>
                <a:lnTo>
                  <a:pt x="951" y="931"/>
                </a:lnTo>
                <a:lnTo>
                  <a:pt x="960" y="921"/>
                </a:lnTo>
                <a:lnTo>
                  <a:pt x="967" y="908"/>
                </a:lnTo>
                <a:lnTo>
                  <a:pt x="975" y="898"/>
                </a:lnTo>
                <a:lnTo>
                  <a:pt x="986" y="894"/>
                </a:lnTo>
                <a:lnTo>
                  <a:pt x="986" y="890"/>
                </a:lnTo>
                <a:lnTo>
                  <a:pt x="991" y="876"/>
                </a:lnTo>
                <a:lnTo>
                  <a:pt x="993" y="874"/>
                </a:lnTo>
                <a:lnTo>
                  <a:pt x="993" y="866"/>
                </a:lnTo>
                <a:lnTo>
                  <a:pt x="988" y="856"/>
                </a:lnTo>
                <a:lnTo>
                  <a:pt x="988" y="849"/>
                </a:lnTo>
                <a:lnTo>
                  <a:pt x="997" y="820"/>
                </a:lnTo>
                <a:lnTo>
                  <a:pt x="998" y="804"/>
                </a:lnTo>
                <a:lnTo>
                  <a:pt x="990" y="798"/>
                </a:lnTo>
                <a:lnTo>
                  <a:pt x="983" y="798"/>
                </a:lnTo>
                <a:close/>
                <a:moveTo>
                  <a:pt x="869" y="1281"/>
                </a:moveTo>
                <a:lnTo>
                  <a:pt x="866" y="1279"/>
                </a:lnTo>
                <a:lnTo>
                  <a:pt x="865" y="1278"/>
                </a:lnTo>
                <a:lnTo>
                  <a:pt x="857" y="1269"/>
                </a:lnTo>
                <a:lnTo>
                  <a:pt x="841" y="1261"/>
                </a:lnTo>
                <a:lnTo>
                  <a:pt x="822" y="1258"/>
                </a:lnTo>
                <a:lnTo>
                  <a:pt x="809" y="1261"/>
                </a:lnTo>
                <a:lnTo>
                  <a:pt x="803" y="1252"/>
                </a:lnTo>
                <a:lnTo>
                  <a:pt x="795" y="1256"/>
                </a:lnTo>
                <a:lnTo>
                  <a:pt x="789" y="1267"/>
                </a:lnTo>
                <a:lnTo>
                  <a:pt x="785" y="1286"/>
                </a:lnTo>
                <a:lnTo>
                  <a:pt x="780" y="1296"/>
                </a:lnTo>
                <a:lnTo>
                  <a:pt x="775" y="1305"/>
                </a:lnTo>
                <a:lnTo>
                  <a:pt x="768" y="1312"/>
                </a:lnTo>
                <a:lnTo>
                  <a:pt x="782" y="1320"/>
                </a:lnTo>
                <a:lnTo>
                  <a:pt x="791" y="1329"/>
                </a:lnTo>
                <a:lnTo>
                  <a:pt x="801" y="1336"/>
                </a:lnTo>
                <a:lnTo>
                  <a:pt x="826" y="1339"/>
                </a:lnTo>
                <a:lnTo>
                  <a:pt x="830" y="1338"/>
                </a:lnTo>
                <a:lnTo>
                  <a:pt x="852" y="1325"/>
                </a:lnTo>
                <a:lnTo>
                  <a:pt x="855" y="1321"/>
                </a:lnTo>
                <a:lnTo>
                  <a:pt x="856" y="1318"/>
                </a:lnTo>
                <a:lnTo>
                  <a:pt x="855" y="1310"/>
                </a:lnTo>
                <a:lnTo>
                  <a:pt x="855" y="1307"/>
                </a:lnTo>
                <a:lnTo>
                  <a:pt x="858" y="1306"/>
                </a:lnTo>
                <a:lnTo>
                  <a:pt x="868" y="1303"/>
                </a:lnTo>
                <a:lnTo>
                  <a:pt x="869" y="1300"/>
                </a:lnTo>
                <a:lnTo>
                  <a:pt x="870" y="1298"/>
                </a:lnTo>
                <a:lnTo>
                  <a:pt x="871" y="1296"/>
                </a:lnTo>
                <a:lnTo>
                  <a:pt x="873" y="1294"/>
                </a:lnTo>
                <a:lnTo>
                  <a:pt x="873" y="1290"/>
                </a:lnTo>
                <a:lnTo>
                  <a:pt x="872" y="1284"/>
                </a:lnTo>
                <a:lnTo>
                  <a:pt x="869" y="1281"/>
                </a:lnTo>
                <a:close/>
                <a:moveTo>
                  <a:pt x="586" y="930"/>
                </a:moveTo>
                <a:lnTo>
                  <a:pt x="582" y="930"/>
                </a:lnTo>
                <a:lnTo>
                  <a:pt x="575" y="927"/>
                </a:lnTo>
                <a:lnTo>
                  <a:pt x="553" y="903"/>
                </a:lnTo>
                <a:lnTo>
                  <a:pt x="543" y="900"/>
                </a:lnTo>
                <a:lnTo>
                  <a:pt x="548" y="890"/>
                </a:lnTo>
                <a:lnTo>
                  <a:pt x="544" y="882"/>
                </a:lnTo>
                <a:lnTo>
                  <a:pt x="538" y="876"/>
                </a:lnTo>
                <a:lnTo>
                  <a:pt x="530" y="872"/>
                </a:lnTo>
                <a:lnTo>
                  <a:pt x="520" y="871"/>
                </a:lnTo>
                <a:lnTo>
                  <a:pt x="521" y="856"/>
                </a:lnTo>
                <a:lnTo>
                  <a:pt x="507" y="849"/>
                </a:lnTo>
                <a:lnTo>
                  <a:pt x="479" y="844"/>
                </a:lnTo>
                <a:lnTo>
                  <a:pt x="476" y="833"/>
                </a:lnTo>
                <a:lnTo>
                  <a:pt x="476" y="822"/>
                </a:lnTo>
                <a:lnTo>
                  <a:pt x="471" y="815"/>
                </a:lnTo>
                <a:lnTo>
                  <a:pt x="456" y="825"/>
                </a:lnTo>
                <a:lnTo>
                  <a:pt x="462" y="815"/>
                </a:lnTo>
                <a:lnTo>
                  <a:pt x="480" y="799"/>
                </a:lnTo>
                <a:lnTo>
                  <a:pt x="483" y="787"/>
                </a:lnTo>
                <a:lnTo>
                  <a:pt x="481" y="759"/>
                </a:lnTo>
                <a:lnTo>
                  <a:pt x="475" y="734"/>
                </a:lnTo>
                <a:lnTo>
                  <a:pt x="476" y="732"/>
                </a:lnTo>
                <a:lnTo>
                  <a:pt x="478" y="728"/>
                </a:lnTo>
                <a:lnTo>
                  <a:pt x="479" y="724"/>
                </a:lnTo>
                <a:lnTo>
                  <a:pt x="479" y="720"/>
                </a:lnTo>
                <a:lnTo>
                  <a:pt x="468" y="718"/>
                </a:lnTo>
                <a:lnTo>
                  <a:pt x="465" y="715"/>
                </a:lnTo>
                <a:lnTo>
                  <a:pt x="456" y="707"/>
                </a:lnTo>
                <a:lnTo>
                  <a:pt x="453" y="701"/>
                </a:lnTo>
                <a:lnTo>
                  <a:pt x="451" y="695"/>
                </a:lnTo>
                <a:lnTo>
                  <a:pt x="447" y="687"/>
                </a:lnTo>
                <a:lnTo>
                  <a:pt x="378" y="644"/>
                </a:lnTo>
                <a:lnTo>
                  <a:pt x="376" y="643"/>
                </a:lnTo>
                <a:lnTo>
                  <a:pt x="371" y="642"/>
                </a:lnTo>
                <a:lnTo>
                  <a:pt x="366" y="638"/>
                </a:lnTo>
                <a:lnTo>
                  <a:pt x="364" y="631"/>
                </a:lnTo>
                <a:lnTo>
                  <a:pt x="364" y="622"/>
                </a:lnTo>
                <a:lnTo>
                  <a:pt x="364" y="619"/>
                </a:lnTo>
                <a:lnTo>
                  <a:pt x="361" y="616"/>
                </a:lnTo>
                <a:lnTo>
                  <a:pt x="334" y="591"/>
                </a:lnTo>
                <a:lnTo>
                  <a:pt x="326" y="579"/>
                </a:lnTo>
                <a:lnTo>
                  <a:pt x="313" y="504"/>
                </a:lnTo>
                <a:lnTo>
                  <a:pt x="315" y="473"/>
                </a:lnTo>
                <a:lnTo>
                  <a:pt x="314" y="456"/>
                </a:lnTo>
                <a:lnTo>
                  <a:pt x="310" y="444"/>
                </a:lnTo>
                <a:lnTo>
                  <a:pt x="305" y="442"/>
                </a:lnTo>
                <a:lnTo>
                  <a:pt x="298" y="440"/>
                </a:lnTo>
                <a:lnTo>
                  <a:pt x="284" y="440"/>
                </a:lnTo>
                <a:lnTo>
                  <a:pt x="280" y="437"/>
                </a:lnTo>
                <a:lnTo>
                  <a:pt x="270" y="425"/>
                </a:lnTo>
                <a:lnTo>
                  <a:pt x="266" y="422"/>
                </a:lnTo>
                <a:lnTo>
                  <a:pt x="260" y="415"/>
                </a:lnTo>
                <a:lnTo>
                  <a:pt x="252" y="387"/>
                </a:lnTo>
                <a:lnTo>
                  <a:pt x="243" y="381"/>
                </a:lnTo>
                <a:lnTo>
                  <a:pt x="241" y="374"/>
                </a:lnTo>
                <a:lnTo>
                  <a:pt x="239" y="360"/>
                </a:lnTo>
                <a:lnTo>
                  <a:pt x="233" y="344"/>
                </a:lnTo>
                <a:lnTo>
                  <a:pt x="222" y="334"/>
                </a:lnTo>
                <a:lnTo>
                  <a:pt x="215" y="337"/>
                </a:lnTo>
                <a:lnTo>
                  <a:pt x="203" y="336"/>
                </a:lnTo>
                <a:lnTo>
                  <a:pt x="195" y="339"/>
                </a:lnTo>
                <a:lnTo>
                  <a:pt x="190" y="344"/>
                </a:lnTo>
                <a:lnTo>
                  <a:pt x="185" y="350"/>
                </a:lnTo>
                <a:lnTo>
                  <a:pt x="181" y="356"/>
                </a:lnTo>
                <a:lnTo>
                  <a:pt x="159" y="361"/>
                </a:lnTo>
                <a:lnTo>
                  <a:pt x="146" y="368"/>
                </a:lnTo>
                <a:lnTo>
                  <a:pt x="133" y="372"/>
                </a:lnTo>
                <a:lnTo>
                  <a:pt x="117" y="366"/>
                </a:lnTo>
                <a:lnTo>
                  <a:pt x="112" y="394"/>
                </a:lnTo>
                <a:lnTo>
                  <a:pt x="99" y="407"/>
                </a:lnTo>
                <a:lnTo>
                  <a:pt x="54" y="431"/>
                </a:lnTo>
                <a:lnTo>
                  <a:pt x="49" y="434"/>
                </a:lnTo>
                <a:lnTo>
                  <a:pt x="45" y="437"/>
                </a:lnTo>
                <a:lnTo>
                  <a:pt x="44" y="442"/>
                </a:lnTo>
                <a:lnTo>
                  <a:pt x="46" y="447"/>
                </a:lnTo>
                <a:lnTo>
                  <a:pt x="60" y="465"/>
                </a:lnTo>
                <a:lnTo>
                  <a:pt x="73" y="472"/>
                </a:lnTo>
                <a:lnTo>
                  <a:pt x="85" y="469"/>
                </a:lnTo>
                <a:lnTo>
                  <a:pt x="107" y="454"/>
                </a:lnTo>
                <a:lnTo>
                  <a:pt x="130" y="444"/>
                </a:lnTo>
                <a:lnTo>
                  <a:pt x="152" y="446"/>
                </a:lnTo>
                <a:lnTo>
                  <a:pt x="166" y="456"/>
                </a:lnTo>
                <a:lnTo>
                  <a:pt x="172" y="479"/>
                </a:lnTo>
                <a:lnTo>
                  <a:pt x="172" y="486"/>
                </a:lnTo>
                <a:lnTo>
                  <a:pt x="176" y="496"/>
                </a:lnTo>
                <a:lnTo>
                  <a:pt x="176" y="502"/>
                </a:lnTo>
                <a:lnTo>
                  <a:pt x="176" y="525"/>
                </a:lnTo>
                <a:lnTo>
                  <a:pt x="178" y="537"/>
                </a:lnTo>
                <a:lnTo>
                  <a:pt x="182" y="546"/>
                </a:lnTo>
                <a:lnTo>
                  <a:pt x="195" y="564"/>
                </a:lnTo>
                <a:lnTo>
                  <a:pt x="179" y="569"/>
                </a:lnTo>
                <a:lnTo>
                  <a:pt x="178" y="582"/>
                </a:lnTo>
                <a:lnTo>
                  <a:pt x="187" y="597"/>
                </a:lnTo>
                <a:lnTo>
                  <a:pt x="200" y="605"/>
                </a:lnTo>
                <a:lnTo>
                  <a:pt x="198" y="627"/>
                </a:lnTo>
                <a:lnTo>
                  <a:pt x="214" y="643"/>
                </a:lnTo>
                <a:lnTo>
                  <a:pt x="255" y="664"/>
                </a:lnTo>
                <a:lnTo>
                  <a:pt x="261" y="675"/>
                </a:lnTo>
                <a:lnTo>
                  <a:pt x="263" y="679"/>
                </a:lnTo>
                <a:lnTo>
                  <a:pt x="268" y="681"/>
                </a:lnTo>
                <a:lnTo>
                  <a:pt x="276" y="682"/>
                </a:lnTo>
                <a:lnTo>
                  <a:pt x="282" y="683"/>
                </a:lnTo>
                <a:lnTo>
                  <a:pt x="289" y="689"/>
                </a:lnTo>
                <a:lnTo>
                  <a:pt x="292" y="696"/>
                </a:lnTo>
                <a:lnTo>
                  <a:pt x="291" y="715"/>
                </a:lnTo>
                <a:lnTo>
                  <a:pt x="297" y="738"/>
                </a:lnTo>
                <a:lnTo>
                  <a:pt x="310" y="762"/>
                </a:lnTo>
                <a:lnTo>
                  <a:pt x="325" y="784"/>
                </a:lnTo>
                <a:lnTo>
                  <a:pt x="341" y="798"/>
                </a:lnTo>
                <a:lnTo>
                  <a:pt x="349" y="801"/>
                </a:lnTo>
                <a:lnTo>
                  <a:pt x="370" y="807"/>
                </a:lnTo>
                <a:lnTo>
                  <a:pt x="378" y="812"/>
                </a:lnTo>
                <a:lnTo>
                  <a:pt x="387" y="818"/>
                </a:lnTo>
                <a:lnTo>
                  <a:pt x="391" y="827"/>
                </a:lnTo>
                <a:lnTo>
                  <a:pt x="391" y="838"/>
                </a:lnTo>
                <a:lnTo>
                  <a:pt x="383" y="849"/>
                </a:lnTo>
                <a:lnTo>
                  <a:pt x="373" y="844"/>
                </a:lnTo>
                <a:lnTo>
                  <a:pt x="364" y="855"/>
                </a:lnTo>
                <a:lnTo>
                  <a:pt x="358" y="869"/>
                </a:lnTo>
                <a:lnTo>
                  <a:pt x="358" y="876"/>
                </a:lnTo>
                <a:lnTo>
                  <a:pt x="353" y="878"/>
                </a:lnTo>
                <a:lnTo>
                  <a:pt x="348" y="888"/>
                </a:lnTo>
                <a:lnTo>
                  <a:pt x="344" y="892"/>
                </a:lnTo>
                <a:lnTo>
                  <a:pt x="337" y="894"/>
                </a:lnTo>
                <a:lnTo>
                  <a:pt x="330" y="894"/>
                </a:lnTo>
                <a:lnTo>
                  <a:pt x="319" y="890"/>
                </a:lnTo>
                <a:lnTo>
                  <a:pt x="314" y="888"/>
                </a:lnTo>
                <a:lnTo>
                  <a:pt x="312" y="885"/>
                </a:lnTo>
                <a:lnTo>
                  <a:pt x="308" y="882"/>
                </a:lnTo>
                <a:lnTo>
                  <a:pt x="300" y="880"/>
                </a:lnTo>
                <a:lnTo>
                  <a:pt x="293" y="881"/>
                </a:lnTo>
                <a:lnTo>
                  <a:pt x="269" y="887"/>
                </a:lnTo>
                <a:lnTo>
                  <a:pt x="253" y="894"/>
                </a:lnTo>
                <a:lnTo>
                  <a:pt x="242" y="895"/>
                </a:lnTo>
                <a:lnTo>
                  <a:pt x="240" y="898"/>
                </a:lnTo>
                <a:lnTo>
                  <a:pt x="240" y="903"/>
                </a:lnTo>
                <a:lnTo>
                  <a:pt x="236" y="908"/>
                </a:lnTo>
                <a:lnTo>
                  <a:pt x="158" y="959"/>
                </a:lnTo>
                <a:lnTo>
                  <a:pt x="138" y="979"/>
                </a:lnTo>
                <a:lnTo>
                  <a:pt x="119" y="1007"/>
                </a:lnTo>
                <a:lnTo>
                  <a:pt x="113" y="1037"/>
                </a:lnTo>
                <a:lnTo>
                  <a:pt x="130" y="1064"/>
                </a:lnTo>
                <a:lnTo>
                  <a:pt x="138" y="1066"/>
                </a:lnTo>
                <a:lnTo>
                  <a:pt x="145" y="1066"/>
                </a:lnTo>
                <a:lnTo>
                  <a:pt x="151" y="1068"/>
                </a:lnTo>
                <a:lnTo>
                  <a:pt x="154" y="1075"/>
                </a:lnTo>
                <a:lnTo>
                  <a:pt x="154" y="1091"/>
                </a:lnTo>
                <a:lnTo>
                  <a:pt x="155" y="1098"/>
                </a:lnTo>
                <a:lnTo>
                  <a:pt x="158" y="1105"/>
                </a:lnTo>
                <a:lnTo>
                  <a:pt x="168" y="1115"/>
                </a:lnTo>
                <a:lnTo>
                  <a:pt x="182" y="1120"/>
                </a:lnTo>
                <a:lnTo>
                  <a:pt x="257" y="1118"/>
                </a:lnTo>
                <a:lnTo>
                  <a:pt x="318" y="1127"/>
                </a:lnTo>
                <a:lnTo>
                  <a:pt x="327" y="1124"/>
                </a:lnTo>
                <a:lnTo>
                  <a:pt x="343" y="1127"/>
                </a:lnTo>
                <a:lnTo>
                  <a:pt x="419" y="1102"/>
                </a:lnTo>
                <a:lnTo>
                  <a:pt x="441" y="1086"/>
                </a:lnTo>
                <a:lnTo>
                  <a:pt x="454" y="1083"/>
                </a:lnTo>
                <a:lnTo>
                  <a:pt x="475" y="1081"/>
                </a:lnTo>
                <a:lnTo>
                  <a:pt x="486" y="1082"/>
                </a:lnTo>
                <a:lnTo>
                  <a:pt x="497" y="1087"/>
                </a:lnTo>
                <a:lnTo>
                  <a:pt x="505" y="1076"/>
                </a:lnTo>
                <a:lnTo>
                  <a:pt x="522" y="1057"/>
                </a:lnTo>
                <a:lnTo>
                  <a:pt x="530" y="1046"/>
                </a:lnTo>
                <a:lnTo>
                  <a:pt x="544" y="1050"/>
                </a:lnTo>
                <a:lnTo>
                  <a:pt x="545" y="1038"/>
                </a:lnTo>
                <a:lnTo>
                  <a:pt x="543" y="1022"/>
                </a:lnTo>
                <a:lnTo>
                  <a:pt x="564" y="956"/>
                </a:lnTo>
                <a:lnTo>
                  <a:pt x="570" y="953"/>
                </a:lnTo>
                <a:lnTo>
                  <a:pt x="586" y="946"/>
                </a:lnTo>
                <a:lnTo>
                  <a:pt x="590" y="942"/>
                </a:lnTo>
                <a:lnTo>
                  <a:pt x="588" y="932"/>
                </a:lnTo>
                <a:lnTo>
                  <a:pt x="586" y="930"/>
                </a:lnTo>
                <a:close/>
                <a:moveTo>
                  <a:pt x="744" y="625"/>
                </a:moveTo>
                <a:lnTo>
                  <a:pt x="747" y="624"/>
                </a:lnTo>
                <a:lnTo>
                  <a:pt x="750" y="623"/>
                </a:lnTo>
                <a:lnTo>
                  <a:pt x="730" y="611"/>
                </a:lnTo>
                <a:lnTo>
                  <a:pt x="696" y="572"/>
                </a:lnTo>
                <a:lnTo>
                  <a:pt x="674" y="564"/>
                </a:lnTo>
                <a:lnTo>
                  <a:pt x="658" y="561"/>
                </a:lnTo>
                <a:lnTo>
                  <a:pt x="612" y="545"/>
                </a:lnTo>
                <a:lnTo>
                  <a:pt x="598" y="537"/>
                </a:lnTo>
                <a:lnTo>
                  <a:pt x="596" y="540"/>
                </a:lnTo>
                <a:lnTo>
                  <a:pt x="594" y="540"/>
                </a:lnTo>
                <a:lnTo>
                  <a:pt x="590" y="537"/>
                </a:lnTo>
                <a:lnTo>
                  <a:pt x="577" y="539"/>
                </a:lnTo>
                <a:lnTo>
                  <a:pt x="566" y="547"/>
                </a:lnTo>
                <a:lnTo>
                  <a:pt x="560" y="559"/>
                </a:lnTo>
                <a:lnTo>
                  <a:pt x="564" y="571"/>
                </a:lnTo>
                <a:lnTo>
                  <a:pt x="562" y="580"/>
                </a:lnTo>
                <a:lnTo>
                  <a:pt x="534" y="619"/>
                </a:lnTo>
                <a:lnTo>
                  <a:pt x="551" y="622"/>
                </a:lnTo>
                <a:lnTo>
                  <a:pt x="558" y="636"/>
                </a:lnTo>
                <a:lnTo>
                  <a:pt x="562" y="654"/>
                </a:lnTo>
                <a:lnTo>
                  <a:pt x="571" y="664"/>
                </a:lnTo>
                <a:lnTo>
                  <a:pt x="586" y="659"/>
                </a:lnTo>
                <a:lnTo>
                  <a:pt x="599" y="663"/>
                </a:lnTo>
                <a:lnTo>
                  <a:pt x="611" y="670"/>
                </a:lnTo>
                <a:lnTo>
                  <a:pt x="623" y="674"/>
                </a:lnTo>
                <a:lnTo>
                  <a:pt x="671" y="674"/>
                </a:lnTo>
                <a:lnTo>
                  <a:pt x="699" y="683"/>
                </a:lnTo>
                <a:lnTo>
                  <a:pt x="714" y="685"/>
                </a:lnTo>
                <a:lnTo>
                  <a:pt x="726" y="681"/>
                </a:lnTo>
                <a:lnTo>
                  <a:pt x="731" y="667"/>
                </a:lnTo>
                <a:lnTo>
                  <a:pt x="746" y="646"/>
                </a:lnTo>
                <a:lnTo>
                  <a:pt x="750" y="633"/>
                </a:lnTo>
                <a:lnTo>
                  <a:pt x="741" y="629"/>
                </a:lnTo>
                <a:lnTo>
                  <a:pt x="744" y="625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793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7" name="Freeform 21">
            <a:extLst>
              <a:ext uri="{FF2B5EF4-FFF2-40B4-BE49-F238E27FC236}">
                <a16:creationId xmlns:a16="http://schemas.microsoft.com/office/drawing/2014/main" id="{77C9BCDA-3A7C-FC7A-D5E7-2855A6E67CF0}"/>
              </a:ext>
            </a:extLst>
          </p:cNvPr>
          <p:cNvSpPr>
            <a:spLocks noEditPoints="1"/>
          </p:cNvSpPr>
          <p:nvPr/>
        </p:nvSpPr>
        <p:spPr bwMode="auto">
          <a:xfrm>
            <a:off x="6425223" y="1485640"/>
            <a:ext cx="1335141" cy="1113222"/>
          </a:xfrm>
          <a:custGeom>
            <a:avLst/>
            <a:gdLst>
              <a:gd name="T0" fmla="*/ 812 w 1127"/>
              <a:gd name="T1" fmla="*/ 81 h 993"/>
              <a:gd name="T2" fmla="*/ 747 w 1127"/>
              <a:gd name="T3" fmla="*/ 111 h 993"/>
              <a:gd name="T4" fmla="*/ 1092 w 1127"/>
              <a:gd name="T5" fmla="*/ 500 h 993"/>
              <a:gd name="T6" fmla="*/ 1094 w 1127"/>
              <a:gd name="T7" fmla="*/ 442 h 993"/>
              <a:gd name="T8" fmla="*/ 1115 w 1127"/>
              <a:gd name="T9" fmla="*/ 377 h 993"/>
              <a:gd name="T10" fmla="*/ 1061 w 1127"/>
              <a:gd name="T11" fmla="*/ 339 h 993"/>
              <a:gd name="T12" fmla="*/ 1080 w 1127"/>
              <a:gd name="T13" fmla="*/ 203 h 993"/>
              <a:gd name="T14" fmla="*/ 1049 w 1127"/>
              <a:gd name="T15" fmla="*/ 154 h 993"/>
              <a:gd name="T16" fmla="*/ 1002 w 1127"/>
              <a:gd name="T17" fmla="*/ 113 h 993"/>
              <a:gd name="T18" fmla="*/ 929 w 1127"/>
              <a:gd name="T19" fmla="*/ 63 h 993"/>
              <a:gd name="T20" fmla="*/ 858 w 1127"/>
              <a:gd name="T21" fmla="*/ 27 h 993"/>
              <a:gd name="T22" fmla="*/ 850 w 1127"/>
              <a:gd name="T23" fmla="*/ 92 h 993"/>
              <a:gd name="T24" fmla="*/ 814 w 1127"/>
              <a:gd name="T25" fmla="*/ 122 h 993"/>
              <a:gd name="T26" fmla="*/ 782 w 1127"/>
              <a:gd name="T27" fmla="*/ 139 h 993"/>
              <a:gd name="T28" fmla="*/ 746 w 1127"/>
              <a:gd name="T29" fmla="*/ 192 h 993"/>
              <a:gd name="T30" fmla="*/ 631 w 1127"/>
              <a:gd name="T31" fmla="*/ 224 h 993"/>
              <a:gd name="T32" fmla="*/ 525 w 1127"/>
              <a:gd name="T33" fmla="*/ 234 h 993"/>
              <a:gd name="T34" fmla="*/ 359 w 1127"/>
              <a:gd name="T35" fmla="*/ 302 h 993"/>
              <a:gd name="T36" fmla="*/ 307 w 1127"/>
              <a:gd name="T37" fmla="*/ 349 h 993"/>
              <a:gd name="T38" fmla="*/ 308 w 1127"/>
              <a:gd name="T39" fmla="*/ 364 h 993"/>
              <a:gd name="T40" fmla="*/ 286 w 1127"/>
              <a:gd name="T41" fmla="*/ 301 h 993"/>
              <a:gd name="T42" fmla="*/ 186 w 1127"/>
              <a:gd name="T43" fmla="*/ 362 h 993"/>
              <a:gd name="T44" fmla="*/ 95 w 1127"/>
              <a:gd name="T45" fmla="*/ 401 h 993"/>
              <a:gd name="T46" fmla="*/ 0 w 1127"/>
              <a:gd name="T47" fmla="*/ 466 h 993"/>
              <a:gd name="T48" fmla="*/ 42 w 1127"/>
              <a:gd name="T49" fmla="*/ 534 h 993"/>
              <a:gd name="T50" fmla="*/ 48 w 1127"/>
              <a:gd name="T51" fmla="*/ 617 h 993"/>
              <a:gd name="T52" fmla="*/ 76 w 1127"/>
              <a:gd name="T53" fmla="*/ 707 h 993"/>
              <a:gd name="T54" fmla="*/ 102 w 1127"/>
              <a:gd name="T55" fmla="*/ 784 h 993"/>
              <a:gd name="T56" fmla="*/ 128 w 1127"/>
              <a:gd name="T57" fmla="*/ 779 h 993"/>
              <a:gd name="T58" fmla="*/ 144 w 1127"/>
              <a:gd name="T59" fmla="*/ 750 h 993"/>
              <a:gd name="T60" fmla="*/ 197 w 1127"/>
              <a:gd name="T61" fmla="*/ 744 h 993"/>
              <a:gd name="T62" fmla="*/ 245 w 1127"/>
              <a:gd name="T63" fmla="*/ 710 h 993"/>
              <a:gd name="T64" fmla="*/ 275 w 1127"/>
              <a:gd name="T65" fmla="*/ 725 h 993"/>
              <a:gd name="T66" fmla="*/ 266 w 1127"/>
              <a:gd name="T67" fmla="*/ 743 h 993"/>
              <a:gd name="T68" fmla="*/ 267 w 1127"/>
              <a:gd name="T69" fmla="*/ 759 h 993"/>
              <a:gd name="T70" fmla="*/ 304 w 1127"/>
              <a:gd name="T71" fmla="*/ 790 h 993"/>
              <a:gd name="T72" fmla="*/ 271 w 1127"/>
              <a:gd name="T73" fmla="*/ 831 h 993"/>
              <a:gd name="T74" fmla="*/ 291 w 1127"/>
              <a:gd name="T75" fmla="*/ 846 h 993"/>
              <a:gd name="T76" fmla="*/ 304 w 1127"/>
              <a:gd name="T77" fmla="*/ 858 h 993"/>
              <a:gd name="T78" fmla="*/ 321 w 1127"/>
              <a:gd name="T79" fmla="*/ 857 h 993"/>
              <a:gd name="T80" fmla="*/ 358 w 1127"/>
              <a:gd name="T81" fmla="*/ 881 h 993"/>
              <a:gd name="T82" fmla="*/ 341 w 1127"/>
              <a:gd name="T83" fmla="*/ 909 h 993"/>
              <a:gd name="T84" fmla="*/ 334 w 1127"/>
              <a:gd name="T85" fmla="*/ 922 h 993"/>
              <a:gd name="T86" fmla="*/ 328 w 1127"/>
              <a:gd name="T87" fmla="*/ 935 h 993"/>
              <a:gd name="T88" fmla="*/ 371 w 1127"/>
              <a:gd name="T89" fmla="*/ 973 h 993"/>
              <a:gd name="T90" fmla="*/ 453 w 1127"/>
              <a:gd name="T91" fmla="*/ 991 h 993"/>
              <a:gd name="T92" fmla="*/ 451 w 1127"/>
              <a:gd name="T93" fmla="*/ 980 h 993"/>
              <a:gd name="T94" fmla="*/ 458 w 1127"/>
              <a:gd name="T95" fmla="*/ 953 h 993"/>
              <a:gd name="T96" fmla="*/ 528 w 1127"/>
              <a:gd name="T97" fmla="*/ 860 h 993"/>
              <a:gd name="T98" fmla="*/ 508 w 1127"/>
              <a:gd name="T99" fmla="*/ 814 h 993"/>
              <a:gd name="T100" fmla="*/ 553 w 1127"/>
              <a:gd name="T101" fmla="*/ 772 h 993"/>
              <a:gd name="T102" fmla="*/ 627 w 1127"/>
              <a:gd name="T103" fmla="*/ 749 h 993"/>
              <a:gd name="T104" fmla="*/ 750 w 1127"/>
              <a:gd name="T105" fmla="*/ 781 h 993"/>
              <a:gd name="T106" fmla="*/ 801 w 1127"/>
              <a:gd name="T107" fmla="*/ 714 h 993"/>
              <a:gd name="T108" fmla="*/ 843 w 1127"/>
              <a:gd name="T109" fmla="*/ 675 h 993"/>
              <a:gd name="T110" fmla="*/ 929 w 1127"/>
              <a:gd name="T111" fmla="*/ 691 h 993"/>
              <a:gd name="T112" fmla="*/ 969 w 1127"/>
              <a:gd name="T113" fmla="*/ 709 h 993"/>
              <a:gd name="T114" fmla="*/ 1072 w 1127"/>
              <a:gd name="T115" fmla="*/ 600 h 993"/>
              <a:gd name="T116" fmla="*/ 1123 w 1127"/>
              <a:gd name="T117" fmla="*/ 59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27" h="993">
                <a:moveTo>
                  <a:pt x="757" y="122"/>
                </a:moveTo>
                <a:lnTo>
                  <a:pt x="771" y="132"/>
                </a:lnTo>
                <a:lnTo>
                  <a:pt x="777" y="127"/>
                </a:lnTo>
                <a:lnTo>
                  <a:pt x="784" y="119"/>
                </a:lnTo>
                <a:lnTo>
                  <a:pt x="800" y="127"/>
                </a:lnTo>
                <a:lnTo>
                  <a:pt x="809" y="109"/>
                </a:lnTo>
                <a:lnTo>
                  <a:pt x="812" y="81"/>
                </a:lnTo>
                <a:lnTo>
                  <a:pt x="812" y="59"/>
                </a:lnTo>
                <a:lnTo>
                  <a:pt x="809" y="51"/>
                </a:lnTo>
                <a:lnTo>
                  <a:pt x="808" y="46"/>
                </a:lnTo>
                <a:lnTo>
                  <a:pt x="808" y="40"/>
                </a:lnTo>
                <a:lnTo>
                  <a:pt x="755" y="84"/>
                </a:lnTo>
                <a:lnTo>
                  <a:pt x="745" y="98"/>
                </a:lnTo>
                <a:lnTo>
                  <a:pt x="747" y="111"/>
                </a:lnTo>
                <a:lnTo>
                  <a:pt x="757" y="122"/>
                </a:lnTo>
                <a:close/>
                <a:moveTo>
                  <a:pt x="1127" y="568"/>
                </a:moveTo>
                <a:lnTo>
                  <a:pt x="1122" y="557"/>
                </a:lnTo>
                <a:lnTo>
                  <a:pt x="1103" y="535"/>
                </a:lnTo>
                <a:lnTo>
                  <a:pt x="1100" y="529"/>
                </a:lnTo>
                <a:lnTo>
                  <a:pt x="1097" y="521"/>
                </a:lnTo>
                <a:lnTo>
                  <a:pt x="1092" y="500"/>
                </a:lnTo>
                <a:lnTo>
                  <a:pt x="1089" y="494"/>
                </a:lnTo>
                <a:lnTo>
                  <a:pt x="1069" y="458"/>
                </a:lnTo>
                <a:lnTo>
                  <a:pt x="1068" y="452"/>
                </a:lnTo>
                <a:lnTo>
                  <a:pt x="1069" y="447"/>
                </a:lnTo>
                <a:lnTo>
                  <a:pt x="1075" y="444"/>
                </a:lnTo>
                <a:lnTo>
                  <a:pt x="1082" y="442"/>
                </a:lnTo>
                <a:lnTo>
                  <a:pt x="1094" y="442"/>
                </a:lnTo>
                <a:lnTo>
                  <a:pt x="1099" y="440"/>
                </a:lnTo>
                <a:lnTo>
                  <a:pt x="1103" y="438"/>
                </a:lnTo>
                <a:lnTo>
                  <a:pt x="1110" y="432"/>
                </a:lnTo>
                <a:lnTo>
                  <a:pt x="1113" y="424"/>
                </a:lnTo>
                <a:lnTo>
                  <a:pt x="1115" y="414"/>
                </a:lnTo>
                <a:lnTo>
                  <a:pt x="1114" y="402"/>
                </a:lnTo>
                <a:lnTo>
                  <a:pt x="1115" y="377"/>
                </a:lnTo>
                <a:lnTo>
                  <a:pt x="1112" y="375"/>
                </a:lnTo>
                <a:lnTo>
                  <a:pt x="1101" y="367"/>
                </a:lnTo>
                <a:lnTo>
                  <a:pt x="1088" y="354"/>
                </a:lnTo>
                <a:lnTo>
                  <a:pt x="1079" y="349"/>
                </a:lnTo>
                <a:lnTo>
                  <a:pt x="1071" y="349"/>
                </a:lnTo>
                <a:lnTo>
                  <a:pt x="1063" y="341"/>
                </a:lnTo>
                <a:lnTo>
                  <a:pt x="1061" y="339"/>
                </a:lnTo>
                <a:lnTo>
                  <a:pt x="1055" y="327"/>
                </a:lnTo>
                <a:lnTo>
                  <a:pt x="1054" y="315"/>
                </a:lnTo>
                <a:lnTo>
                  <a:pt x="1056" y="276"/>
                </a:lnTo>
                <a:lnTo>
                  <a:pt x="1060" y="263"/>
                </a:lnTo>
                <a:lnTo>
                  <a:pt x="1076" y="238"/>
                </a:lnTo>
                <a:lnTo>
                  <a:pt x="1081" y="223"/>
                </a:lnTo>
                <a:lnTo>
                  <a:pt x="1080" y="203"/>
                </a:lnTo>
                <a:lnTo>
                  <a:pt x="1079" y="191"/>
                </a:lnTo>
                <a:lnTo>
                  <a:pt x="1079" y="181"/>
                </a:lnTo>
                <a:lnTo>
                  <a:pt x="1080" y="177"/>
                </a:lnTo>
                <a:lnTo>
                  <a:pt x="1090" y="166"/>
                </a:lnTo>
                <a:lnTo>
                  <a:pt x="1092" y="166"/>
                </a:lnTo>
                <a:lnTo>
                  <a:pt x="1086" y="161"/>
                </a:lnTo>
                <a:lnTo>
                  <a:pt x="1049" y="154"/>
                </a:lnTo>
                <a:lnTo>
                  <a:pt x="1040" y="154"/>
                </a:lnTo>
                <a:lnTo>
                  <a:pt x="1030" y="159"/>
                </a:lnTo>
                <a:lnTo>
                  <a:pt x="1025" y="149"/>
                </a:lnTo>
                <a:lnTo>
                  <a:pt x="1011" y="134"/>
                </a:lnTo>
                <a:lnTo>
                  <a:pt x="1009" y="127"/>
                </a:lnTo>
                <a:lnTo>
                  <a:pt x="1008" y="115"/>
                </a:lnTo>
                <a:lnTo>
                  <a:pt x="1002" y="113"/>
                </a:lnTo>
                <a:lnTo>
                  <a:pt x="992" y="116"/>
                </a:lnTo>
                <a:lnTo>
                  <a:pt x="982" y="117"/>
                </a:lnTo>
                <a:lnTo>
                  <a:pt x="966" y="113"/>
                </a:lnTo>
                <a:lnTo>
                  <a:pt x="953" y="102"/>
                </a:lnTo>
                <a:lnTo>
                  <a:pt x="943" y="89"/>
                </a:lnTo>
                <a:lnTo>
                  <a:pt x="937" y="74"/>
                </a:lnTo>
                <a:lnTo>
                  <a:pt x="929" y="63"/>
                </a:lnTo>
                <a:lnTo>
                  <a:pt x="910" y="46"/>
                </a:lnTo>
                <a:lnTo>
                  <a:pt x="895" y="27"/>
                </a:lnTo>
                <a:lnTo>
                  <a:pt x="856" y="0"/>
                </a:lnTo>
                <a:lnTo>
                  <a:pt x="856" y="0"/>
                </a:lnTo>
                <a:lnTo>
                  <a:pt x="855" y="7"/>
                </a:lnTo>
                <a:lnTo>
                  <a:pt x="858" y="16"/>
                </a:lnTo>
                <a:lnTo>
                  <a:pt x="858" y="27"/>
                </a:lnTo>
                <a:lnTo>
                  <a:pt x="854" y="36"/>
                </a:lnTo>
                <a:lnTo>
                  <a:pt x="829" y="61"/>
                </a:lnTo>
                <a:lnTo>
                  <a:pt x="823" y="68"/>
                </a:lnTo>
                <a:lnTo>
                  <a:pt x="821" y="77"/>
                </a:lnTo>
                <a:lnTo>
                  <a:pt x="825" y="87"/>
                </a:lnTo>
                <a:lnTo>
                  <a:pt x="836" y="91"/>
                </a:lnTo>
                <a:lnTo>
                  <a:pt x="850" y="92"/>
                </a:lnTo>
                <a:lnTo>
                  <a:pt x="862" y="95"/>
                </a:lnTo>
                <a:lnTo>
                  <a:pt x="867" y="105"/>
                </a:lnTo>
                <a:lnTo>
                  <a:pt x="839" y="95"/>
                </a:lnTo>
                <a:lnTo>
                  <a:pt x="827" y="97"/>
                </a:lnTo>
                <a:lnTo>
                  <a:pt x="816" y="109"/>
                </a:lnTo>
                <a:lnTo>
                  <a:pt x="814" y="117"/>
                </a:lnTo>
                <a:lnTo>
                  <a:pt x="814" y="122"/>
                </a:lnTo>
                <a:lnTo>
                  <a:pt x="813" y="127"/>
                </a:lnTo>
                <a:lnTo>
                  <a:pt x="808" y="132"/>
                </a:lnTo>
                <a:lnTo>
                  <a:pt x="801" y="136"/>
                </a:lnTo>
                <a:lnTo>
                  <a:pt x="796" y="136"/>
                </a:lnTo>
                <a:lnTo>
                  <a:pt x="791" y="134"/>
                </a:lnTo>
                <a:lnTo>
                  <a:pt x="789" y="128"/>
                </a:lnTo>
                <a:lnTo>
                  <a:pt x="782" y="139"/>
                </a:lnTo>
                <a:lnTo>
                  <a:pt x="776" y="144"/>
                </a:lnTo>
                <a:lnTo>
                  <a:pt x="772" y="152"/>
                </a:lnTo>
                <a:lnTo>
                  <a:pt x="770" y="182"/>
                </a:lnTo>
                <a:lnTo>
                  <a:pt x="767" y="194"/>
                </a:lnTo>
                <a:lnTo>
                  <a:pt x="760" y="204"/>
                </a:lnTo>
                <a:lnTo>
                  <a:pt x="747" y="211"/>
                </a:lnTo>
                <a:lnTo>
                  <a:pt x="746" y="192"/>
                </a:lnTo>
                <a:lnTo>
                  <a:pt x="742" y="175"/>
                </a:lnTo>
                <a:lnTo>
                  <a:pt x="733" y="161"/>
                </a:lnTo>
                <a:lnTo>
                  <a:pt x="720" y="150"/>
                </a:lnTo>
                <a:lnTo>
                  <a:pt x="704" y="145"/>
                </a:lnTo>
                <a:lnTo>
                  <a:pt x="694" y="150"/>
                </a:lnTo>
                <a:lnTo>
                  <a:pt x="643" y="218"/>
                </a:lnTo>
                <a:lnTo>
                  <a:pt x="631" y="224"/>
                </a:lnTo>
                <a:lnTo>
                  <a:pt x="614" y="227"/>
                </a:lnTo>
                <a:lnTo>
                  <a:pt x="594" y="234"/>
                </a:lnTo>
                <a:lnTo>
                  <a:pt x="576" y="237"/>
                </a:lnTo>
                <a:lnTo>
                  <a:pt x="560" y="229"/>
                </a:lnTo>
                <a:lnTo>
                  <a:pt x="552" y="233"/>
                </a:lnTo>
                <a:lnTo>
                  <a:pt x="543" y="234"/>
                </a:lnTo>
                <a:lnTo>
                  <a:pt x="525" y="234"/>
                </a:lnTo>
                <a:lnTo>
                  <a:pt x="518" y="235"/>
                </a:lnTo>
                <a:lnTo>
                  <a:pt x="503" y="240"/>
                </a:lnTo>
                <a:lnTo>
                  <a:pt x="498" y="243"/>
                </a:lnTo>
                <a:lnTo>
                  <a:pt x="450" y="238"/>
                </a:lnTo>
                <a:lnTo>
                  <a:pt x="436" y="243"/>
                </a:lnTo>
                <a:lnTo>
                  <a:pt x="391" y="284"/>
                </a:lnTo>
                <a:lnTo>
                  <a:pt x="359" y="302"/>
                </a:lnTo>
                <a:lnTo>
                  <a:pt x="330" y="294"/>
                </a:lnTo>
                <a:lnTo>
                  <a:pt x="318" y="300"/>
                </a:lnTo>
                <a:lnTo>
                  <a:pt x="313" y="310"/>
                </a:lnTo>
                <a:lnTo>
                  <a:pt x="310" y="323"/>
                </a:lnTo>
                <a:lnTo>
                  <a:pt x="312" y="339"/>
                </a:lnTo>
                <a:lnTo>
                  <a:pt x="312" y="343"/>
                </a:lnTo>
                <a:lnTo>
                  <a:pt x="307" y="349"/>
                </a:lnTo>
                <a:lnTo>
                  <a:pt x="307" y="353"/>
                </a:lnTo>
                <a:lnTo>
                  <a:pt x="310" y="357"/>
                </a:lnTo>
                <a:lnTo>
                  <a:pt x="319" y="364"/>
                </a:lnTo>
                <a:lnTo>
                  <a:pt x="330" y="394"/>
                </a:lnTo>
                <a:lnTo>
                  <a:pt x="326" y="389"/>
                </a:lnTo>
                <a:lnTo>
                  <a:pt x="316" y="372"/>
                </a:lnTo>
                <a:lnTo>
                  <a:pt x="308" y="364"/>
                </a:lnTo>
                <a:lnTo>
                  <a:pt x="302" y="360"/>
                </a:lnTo>
                <a:lnTo>
                  <a:pt x="296" y="353"/>
                </a:lnTo>
                <a:lnTo>
                  <a:pt x="293" y="343"/>
                </a:lnTo>
                <a:lnTo>
                  <a:pt x="306" y="301"/>
                </a:lnTo>
                <a:lnTo>
                  <a:pt x="306" y="296"/>
                </a:lnTo>
                <a:lnTo>
                  <a:pt x="303" y="288"/>
                </a:lnTo>
                <a:lnTo>
                  <a:pt x="286" y="301"/>
                </a:lnTo>
                <a:lnTo>
                  <a:pt x="245" y="314"/>
                </a:lnTo>
                <a:lnTo>
                  <a:pt x="229" y="321"/>
                </a:lnTo>
                <a:lnTo>
                  <a:pt x="224" y="326"/>
                </a:lnTo>
                <a:lnTo>
                  <a:pt x="216" y="338"/>
                </a:lnTo>
                <a:lnTo>
                  <a:pt x="211" y="343"/>
                </a:lnTo>
                <a:lnTo>
                  <a:pt x="190" y="360"/>
                </a:lnTo>
                <a:lnTo>
                  <a:pt x="186" y="362"/>
                </a:lnTo>
                <a:lnTo>
                  <a:pt x="177" y="364"/>
                </a:lnTo>
                <a:lnTo>
                  <a:pt x="164" y="374"/>
                </a:lnTo>
                <a:lnTo>
                  <a:pt x="144" y="377"/>
                </a:lnTo>
                <a:lnTo>
                  <a:pt x="126" y="383"/>
                </a:lnTo>
                <a:lnTo>
                  <a:pt x="117" y="386"/>
                </a:lnTo>
                <a:lnTo>
                  <a:pt x="108" y="388"/>
                </a:lnTo>
                <a:lnTo>
                  <a:pt x="95" y="401"/>
                </a:lnTo>
                <a:lnTo>
                  <a:pt x="85" y="403"/>
                </a:lnTo>
                <a:lnTo>
                  <a:pt x="62" y="405"/>
                </a:lnTo>
                <a:lnTo>
                  <a:pt x="53" y="404"/>
                </a:lnTo>
                <a:lnTo>
                  <a:pt x="42" y="399"/>
                </a:lnTo>
                <a:lnTo>
                  <a:pt x="21" y="414"/>
                </a:lnTo>
                <a:lnTo>
                  <a:pt x="7" y="438"/>
                </a:lnTo>
                <a:lnTo>
                  <a:pt x="0" y="466"/>
                </a:lnTo>
                <a:lnTo>
                  <a:pt x="0" y="495"/>
                </a:lnTo>
                <a:lnTo>
                  <a:pt x="2" y="506"/>
                </a:lnTo>
                <a:lnTo>
                  <a:pt x="6" y="516"/>
                </a:lnTo>
                <a:lnTo>
                  <a:pt x="11" y="523"/>
                </a:lnTo>
                <a:lnTo>
                  <a:pt x="20" y="528"/>
                </a:lnTo>
                <a:lnTo>
                  <a:pt x="32" y="529"/>
                </a:lnTo>
                <a:lnTo>
                  <a:pt x="42" y="534"/>
                </a:lnTo>
                <a:lnTo>
                  <a:pt x="48" y="542"/>
                </a:lnTo>
                <a:lnTo>
                  <a:pt x="53" y="561"/>
                </a:lnTo>
                <a:lnTo>
                  <a:pt x="57" y="573"/>
                </a:lnTo>
                <a:lnTo>
                  <a:pt x="61" y="586"/>
                </a:lnTo>
                <a:lnTo>
                  <a:pt x="59" y="600"/>
                </a:lnTo>
                <a:lnTo>
                  <a:pt x="54" y="611"/>
                </a:lnTo>
                <a:lnTo>
                  <a:pt x="48" y="617"/>
                </a:lnTo>
                <a:lnTo>
                  <a:pt x="43" y="625"/>
                </a:lnTo>
                <a:lnTo>
                  <a:pt x="42" y="639"/>
                </a:lnTo>
                <a:lnTo>
                  <a:pt x="43" y="653"/>
                </a:lnTo>
                <a:lnTo>
                  <a:pt x="48" y="666"/>
                </a:lnTo>
                <a:lnTo>
                  <a:pt x="63" y="692"/>
                </a:lnTo>
                <a:lnTo>
                  <a:pt x="73" y="701"/>
                </a:lnTo>
                <a:lnTo>
                  <a:pt x="76" y="707"/>
                </a:lnTo>
                <a:lnTo>
                  <a:pt x="79" y="716"/>
                </a:lnTo>
                <a:lnTo>
                  <a:pt x="76" y="722"/>
                </a:lnTo>
                <a:lnTo>
                  <a:pt x="72" y="729"/>
                </a:lnTo>
                <a:lnTo>
                  <a:pt x="72" y="729"/>
                </a:lnTo>
                <a:lnTo>
                  <a:pt x="89" y="770"/>
                </a:lnTo>
                <a:lnTo>
                  <a:pt x="98" y="782"/>
                </a:lnTo>
                <a:lnTo>
                  <a:pt x="102" y="784"/>
                </a:lnTo>
                <a:lnTo>
                  <a:pt x="108" y="785"/>
                </a:lnTo>
                <a:lnTo>
                  <a:pt x="112" y="787"/>
                </a:lnTo>
                <a:lnTo>
                  <a:pt x="117" y="787"/>
                </a:lnTo>
                <a:lnTo>
                  <a:pt x="120" y="787"/>
                </a:lnTo>
                <a:lnTo>
                  <a:pt x="122" y="785"/>
                </a:lnTo>
                <a:lnTo>
                  <a:pt x="126" y="781"/>
                </a:lnTo>
                <a:lnTo>
                  <a:pt x="128" y="779"/>
                </a:lnTo>
                <a:lnTo>
                  <a:pt x="132" y="777"/>
                </a:lnTo>
                <a:lnTo>
                  <a:pt x="134" y="775"/>
                </a:lnTo>
                <a:lnTo>
                  <a:pt x="136" y="771"/>
                </a:lnTo>
                <a:lnTo>
                  <a:pt x="138" y="766"/>
                </a:lnTo>
                <a:lnTo>
                  <a:pt x="141" y="758"/>
                </a:lnTo>
                <a:lnTo>
                  <a:pt x="144" y="751"/>
                </a:lnTo>
                <a:lnTo>
                  <a:pt x="144" y="750"/>
                </a:lnTo>
                <a:lnTo>
                  <a:pt x="145" y="748"/>
                </a:lnTo>
                <a:lnTo>
                  <a:pt x="146" y="748"/>
                </a:lnTo>
                <a:lnTo>
                  <a:pt x="148" y="746"/>
                </a:lnTo>
                <a:lnTo>
                  <a:pt x="150" y="746"/>
                </a:lnTo>
                <a:lnTo>
                  <a:pt x="173" y="748"/>
                </a:lnTo>
                <a:lnTo>
                  <a:pt x="184" y="746"/>
                </a:lnTo>
                <a:lnTo>
                  <a:pt x="197" y="744"/>
                </a:lnTo>
                <a:lnTo>
                  <a:pt x="205" y="741"/>
                </a:lnTo>
                <a:lnTo>
                  <a:pt x="209" y="739"/>
                </a:lnTo>
                <a:lnTo>
                  <a:pt x="216" y="733"/>
                </a:lnTo>
                <a:lnTo>
                  <a:pt x="230" y="718"/>
                </a:lnTo>
                <a:lnTo>
                  <a:pt x="234" y="716"/>
                </a:lnTo>
                <a:lnTo>
                  <a:pt x="238" y="713"/>
                </a:lnTo>
                <a:lnTo>
                  <a:pt x="245" y="710"/>
                </a:lnTo>
                <a:lnTo>
                  <a:pt x="251" y="710"/>
                </a:lnTo>
                <a:lnTo>
                  <a:pt x="255" y="710"/>
                </a:lnTo>
                <a:lnTo>
                  <a:pt x="258" y="711"/>
                </a:lnTo>
                <a:lnTo>
                  <a:pt x="262" y="712"/>
                </a:lnTo>
                <a:lnTo>
                  <a:pt x="268" y="717"/>
                </a:lnTo>
                <a:lnTo>
                  <a:pt x="274" y="723"/>
                </a:lnTo>
                <a:lnTo>
                  <a:pt x="275" y="725"/>
                </a:lnTo>
                <a:lnTo>
                  <a:pt x="276" y="727"/>
                </a:lnTo>
                <a:lnTo>
                  <a:pt x="276" y="728"/>
                </a:lnTo>
                <a:lnTo>
                  <a:pt x="276" y="729"/>
                </a:lnTo>
                <a:lnTo>
                  <a:pt x="276" y="730"/>
                </a:lnTo>
                <a:lnTo>
                  <a:pt x="275" y="731"/>
                </a:lnTo>
                <a:lnTo>
                  <a:pt x="268" y="739"/>
                </a:lnTo>
                <a:lnTo>
                  <a:pt x="266" y="743"/>
                </a:lnTo>
                <a:lnTo>
                  <a:pt x="264" y="745"/>
                </a:lnTo>
                <a:lnTo>
                  <a:pt x="264" y="748"/>
                </a:lnTo>
                <a:lnTo>
                  <a:pt x="263" y="750"/>
                </a:lnTo>
                <a:lnTo>
                  <a:pt x="263" y="752"/>
                </a:lnTo>
                <a:lnTo>
                  <a:pt x="264" y="755"/>
                </a:lnTo>
                <a:lnTo>
                  <a:pt x="265" y="757"/>
                </a:lnTo>
                <a:lnTo>
                  <a:pt x="267" y="759"/>
                </a:lnTo>
                <a:lnTo>
                  <a:pt x="269" y="762"/>
                </a:lnTo>
                <a:lnTo>
                  <a:pt x="301" y="781"/>
                </a:lnTo>
                <a:lnTo>
                  <a:pt x="303" y="783"/>
                </a:lnTo>
                <a:lnTo>
                  <a:pt x="305" y="785"/>
                </a:lnTo>
                <a:lnTo>
                  <a:pt x="305" y="787"/>
                </a:lnTo>
                <a:lnTo>
                  <a:pt x="305" y="789"/>
                </a:lnTo>
                <a:lnTo>
                  <a:pt x="304" y="790"/>
                </a:lnTo>
                <a:lnTo>
                  <a:pt x="303" y="792"/>
                </a:lnTo>
                <a:lnTo>
                  <a:pt x="299" y="796"/>
                </a:lnTo>
                <a:lnTo>
                  <a:pt x="294" y="800"/>
                </a:lnTo>
                <a:lnTo>
                  <a:pt x="291" y="803"/>
                </a:lnTo>
                <a:lnTo>
                  <a:pt x="287" y="808"/>
                </a:lnTo>
                <a:lnTo>
                  <a:pt x="284" y="813"/>
                </a:lnTo>
                <a:lnTo>
                  <a:pt x="271" y="831"/>
                </a:lnTo>
                <a:lnTo>
                  <a:pt x="270" y="832"/>
                </a:lnTo>
                <a:lnTo>
                  <a:pt x="271" y="835"/>
                </a:lnTo>
                <a:lnTo>
                  <a:pt x="274" y="837"/>
                </a:lnTo>
                <a:lnTo>
                  <a:pt x="281" y="844"/>
                </a:lnTo>
                <a:lnTo>
                  <a:pt x="286" y="846"/>
                </a:lnTo>
                <a:lnTo>
                  <a:pt x="289" y="847"/>
                </a:lnTo>
                <a:lnTo>
                  <a:pt x="291" y="846"/>
                </a:lnTo>
                <a:lnTo>
                  <a:pt x="292" y="845"/>
                </a:lnTo>
                <a:lnTo>
                  <a:pt x="294" y="844"/>
                </a:lnTo>
                <a:lnTo>
                  <a:pt x="296" y="843"/>
                </a:lnTo>
                <a:lnTo>
                  <a:pt x="300" y="843"/>
                </a:lnTo>
                <a:lnTo>
                  <a:pt x="302" y="844"/>
                </a:lnTo>
                <a:lnTo>
                  <a:pt x="303" y="846"/>
                </a:lnTo>
                <a:lnTo>
                  <a:pt x="304" y="858"/>
                </a:lnTo>
                <a:lnTo>
                  <a:pt x="305" y="861"/>
                </a:lnTo>
                <a:lnTo>
                  <a:pt x="306" y="862"/>
                </a:lnTo>
                <a:lnTo>
                  <a:pt x="308" y="863"/>
                </a:lnTo>
                <a:lnTo>
                  <a:pt x="310" y="863"/>
                </a:lnTo>
                <a:lnTo>
                  <a:pt x="312" y="862"/>
                </a:lnTo>
                <a:lnTo>
                  <a:pt x="317" y="858"/>
                </a:lnTo>
                <a:lnTo>
                  <a:pt x="321" y="857"/>
                </a:lnTo>
                <a:lnTo>
                  <a:pt x="325" y="857"/>
                </a:lnTo>
                <a:lnTo>
                  <a:pt x="327" y="860"/>
                </a:lnTo>
                <a:lnTo>
                  <a:pt x="331" y="865"/>
                </a:lnTo>
                <a:lnTo>
                  <a:pt x="344" y="876"/>
                </a:lnTo>
                <a:lnTo>
                  <a:pt x="349" y="880"/>
                </a:lnTo>
                <a:lnTo>
                  <a:pt x="354" y="881"/>
                </a:lnTo>
                <a:lnTo>
                  <a:pt x="358" y="881"/>
                </a:lnTo>
                <a:lnTo>
                  <a:pt x="360" y="882"/>
                </a:lnTo>
                <a:lnTo>
                  <a:pt x="361" y="882"/>
                </a:lnTo>
                <a:lnTo>
                  <a:pt x="361" y="884"/>
                </a:lnTo>
                <a:lnTo>
                  <a:pt x="361" y="885"/>
                </a:lnTo>
                <a:lnTo>
                  <a:pt x="344" y="904"/>
                </a:lnTo>
                <a:lnTo>
                  <a:pt x="342" y="907"/>
                </a:lnTo>
                <a:lnTo>
                  <a:pt x="341" y="909"/>
                </a:lnTo>
                <a:lnTo>
                  <a:pt x="341" y="913"/>
                </a:lnTo>
                <a:lnTo>
                  <a:pt x="340" y="917"/>
                </a:lnTo>
                <a:lnTo>
                  <a:pt x="340" y="919"/>
                </a:lnTo>
                <a:lnTo>
                  <a:pt x="339" y="920"/>
                </a:lnTo>
                <a:lnTo>
                  <a:pt x="338" y="920"/>
                </a:lnTo>
                <a:lnTo>
                  <a:pt x="336" y="921"/>
                </a:lnTo>
                <a:lnTo>
                  <a:pt x="334" y="922"/>
                </a:lnTo>
                <a:lnTo>
                  <a:pt x="332" y="922"/>
                </a:lnTo>
                <a:lnTo>
                  <a:pt x="331" y="924"/>
                </a:lnTo>
                <a:lnTo>
                  <a:pt x="330" y="925"/>
                </a:lnTo>
                <a:lnTo>
                  <a:pt x="329" y="927"/>
                </a:lnTo>
                <a:lnTo>
                  <a:pt x="328" y="930"/>
                </a:lnTo>
                <a:lnTo>
                  <a:pt x="328" y="932"/>
                </a:lnTo>
                <a:lnTo>
                  <a:pt x="328" y="935"/>
                </a:lnTo>
                <a:lnTo>
                  <a:pt x="330" y="940"/>
                </a:lnTo>
                <a:lnTo>
                  <a:pt x="330" y="943"/>
                </a:lnTo>
                <a:lnTo>
                  <a:pt x="330" y="948"/>
                </a:lnTo>
                <a:lnTo>
                  <a:pt x="332" y="952"/>
                </a:lnTo>
                <a:lnTo>
                  <a:pt x="343" y="970"/>
                </a:lnTo>
                <a:lnTo>
                  <a:pt x="357" y="969"/>
                </a:lnTo>
                <a:lnTo>
                  <a:pt x="371" y="973"/>
                </a:lnTo>
                <a:lnTo>
                  <a:pt x="411" y="977"/>
                </a:lnTo>
                <a:lnTo>
                  <a:pt x="431" y="983"/>
                </a:lnTo>
                <a:lnTo>
                  <a:pt x="438" y="986"/>
                </a:lnTo>
                <a:lnTo>
                  <a:pt x="444" y="989"/>
                </a:lnTo>
                <a:lnTo>
                  <a:pt x="450" y="993"/>
                </a:lnTo>
                <a:lnTo>
                  <a:pt x="451" y="993"/>
                </a:lnTo>
                <a:lnTo>
                  <a:pt x="453" y="991"/>
                </a:lnTo>
                <a:lnTo>
                  <a:pt x="456" y="989"/>
                </a:lnTo>
                <a:lnTo>
                  <a:pt x="459" y="987"/>
                </a:lnTo>
                <a:lnTo>
                  <a:pt x="460" y="983"/>
                </a:lnTo>
                <a:lnTo>
                  <a:pt x="459" y="980"/>
                </a:lnTo>
                <a:lnTo>
                  <a:pt x="456" y="979"/>
                </a:lnTo>
                <a:lnTo>
                  <a:pt x="453" y="979"/>
                </a:lnTo>
                <a:lnTo>
                  <a:pt x="451" y="980"/>
                </a:lnTo>
                <a:lnTo>
                  <a:pt x="450" y="979"/>
                </a:lnTo>
                <a:lnTo>
                  <a:pt x="448" y="978"/>
                </a:lnTo>
                <a:lnTo>
                  <a:pt x="440" y="969"/>
                </a:lnTo>
                <a:lnTo>
                  <a:pt x="439" y="964"/>
                </a:lnTo>
                <a:lnTo>
                  <a:pt x="440" y="961"/>
                </a:lnTo>
                <a:lnTo>
                  <a:pt x="452" y="957"/>
                </a:lnTo>
                <a:lnTo>
                  <a:pt x="458" y="953"/>
                </a:lnTo>
                <a:lnTo>
                  <a:pt x="476" y="949"/>
                </a:lnTo>
                <a:lnTo>
                  <a:pt x="485" y="946"/>
                </a:lnTo>
                <a:lnTo>
                  <a:pt x="495" y="936"/>
                </a:lnTo>
                <a:lnTo>
                  <a:pt x="498" y="930"/>
                </a:lnTo>
                <a:lnTo>
                  <a:pt x="511" y="896"/>
                </a:lnTo>
                <a:lnTo>
                  <a:pt x="520" y="881"/>
                </a:lnTo>
                <a:lnTo>
                  <a:pt x="528" y="860"/>
                </a:lnTo>
                <a:lnTo>
                  <a:pt x="537" y="848"/>
                </a:lnTo>
                <a:lnTo>
                  <a:pt x="538" y="844"/>
                </a:lnTo>
                <a:lnTo>
                  <a:pt x="538" y="841"/>
                </a:lnTo>
                <a:lnTo>
                  <a:pt x="536" y="836"/>
                </a:lnTo>
                <a:lnTo>
                  <a:pt x="531" y="831"/>
                </a:lnTo>
                <a:lnTo>
                  <a:pt x="525" y="826"/>
                </a:lnTo>
                <a:lnTo>
                  <a:pt x="508" y="814"/>
                </a:lnTo>
                <a:lnTo>
                  <a:pt x="507" y="810"/>
                </a:lnTo>
                <a:lnTo>
                  <a:pt x="505" y="805"/>
                </a:lnTo>
                <a:lnTo>
                  <a:pt x="510" y="801"/>
                </a:lnTo>
                <a:lnTo>
                  <a:pt x="516" y="796"/>
                </a:lnTo>
                <a:lnTo>
                  <a:pt x="529" y="790"/>
                </a:lnTo>
                <a:lnTo>
                  <a:pt x="539" y="784"/>
                </a:lnTo>
                <a:lnTo>
                  <a:pt x="553" y="772"/>
                </a:lnTo>
                <a:lnTo>
                  <a:pt x="559" y="769"/>
                </a:lnTo>
                <a:lnTo>
                  <a:pt x="567" y="765"/>
                </a:lnTo>
                <a:lnTo>
                  <a:pt x="574" y="762"/>
                </a:lnTo>
                <a:lnTo>
                  <a:pt x="593" y="749"/>
                </a:lnTo>
                <a:lnTo>
                  <a:pt x="601" y="748"/>
                </a:lnTo>
                <a:lnTo>
                  <a:pt x="611" y="746"/>
                </a:lnTo>
                <a:lnTo>
                  <a:pt x="627" y="749"/>
                </a:lnTo>
                <a:lnTo>
                  <a:pt x="644" y="748"/>
                </a:lnTo>
                <a:lnTo>
                  <a:pt x="715" y="763"/>
                </a:lnTo>
                <a:lnTo>
                  <a:pt x="720" y="766"/>
                </a:lnTo>
                <a:lnTo>
                  <a:pt x="724" y="768"/>
                </a:lnTo>
                <a:lnTo>
                  <a:pt x="734" y="781"/>
                </a:lnTo>
                <a:lnTo>
                  <a:pt x="746" y="782"/>
                </a:lnTo>
                <a:lnTo>
                  <a:pt x="750" y="781"/>
                </a:lnTo>
                <a:lnTo>
                  <a:pt x="754" y="779"/>
                </a:lnTo>
                <a:lnTo>
                  <a:pt x="757" y="775"/>
                </a:lnTo>
                <a:lnTo>
                  <a:pt x="778" y="740"/>
                </a:lnTo>
                <a:lnTo>
                  <a:pt x="793" y="725"/>
                </a:lnTo>
                <a:lnTo>
                  <a:pt x="800" y="720"/>
                </a:lnTo>
                <a:lnTo>
                  <a:pt x="801" y="718"/>
                </a:lnTo>
                <a:lnTo>
                  <a:pt x="801" y="714"/>
                </a:lnTo>
                <a:lnTo>
                  <a:pt x="801" y="711"/>
                </a:lnTo>
                <a:lnTo>
                  <a:pt x="803" y="706"/>
                </a:lnTo>
                <a:lnTo>
                  <a:pt x="807" y="702"/>
                </a:lnTo>
                <a:lnTo>
                  <a:pt x="815" y="692"/>
                </a:lnTo>
                <a:lnTo>
                  <a:pt x="823" y="686"/>
                </a:lnTo>
                <a:lnTo>
                  <a:pt x="836" y="677"/>
                </a:lnTo>
                <a:lnTo>
                  <a:pt x="843" y="675"/>
                </a:lnTo>
                <a:lnTo>
                  <a:pt x="851" y="675"/>
                </a:lnTo>
                <a:lnTo>
                  <a:pt x="872" y="681"/>
                </a:lnTo>
                <a:lnTo>
                  <a:pt x="894" y="684"/>
                </a:lnTo>
                <a:lnTo>
                  <a:pt x="903" y="687"/>
                </a:lnTo>
                <a:lnTo>
                  <a:pt x="916" y="690"/>
                </a:lnTo>
                <a:lnTo>
                  <a:pt x="924" y="690"/>
                </a:lnTo>
                <a:lnTo>
                  <a:pt x="929" y="691"/>
                </a:lnTo>
                <a:lnTo>
                  <a:pt x="936" y="693"/>
                </a:lnTo>
                <a:lnTo>
                  <a:pt x="940" y="697"/>
                </a:lnTo>
                <a:lnTo>
                  <a:pt x="950" y="706"/>
                </a:lnTo>
                <a:lnTo>
                  <a:pt x="955" y="710"/>
                </a:lnTo>
                <a:lnTo>
                  <a:pt x="959" y="712"/>
                </a:lnTo>
                <a:lnTo>
                  <a:pt x="965" y="711"/>
                </a:lnTo>
                <a:lnTo>
                  <a:pt x="969" y="709"/>
                </a:lnTo>
                <a:lnTo>
                  <a:pt x="980" y="700"/>
                </a:lnTo>
                <a:lnTo>
                  <a:pt x="991" y="688"/>
                </a:lnTo>
                <a:lnTo>
                  <a:pt x="1014" y="659"/>
                </a:lnTo>
                <a:lnTo>
                  <a:pt x="1035" y="635"/>
                </a:lnTo>
                <a:lnTo>
                  <a:pt x="1045" y="621"/>
                </a:lnTo>
                <a:lnTo>
                  <a:pt x="1050" y="615"/>
                </a:lnTo>
                <a:lnTo>
                  <a:pt x="1072" y="600"/>
                </a:lnTo>
                <a:lnTo>
                  <a:pt x="1079" y="598"/>
                </a:lnTo>
                <a:lnTo>
                  <a:pt x="1084" y="597"/>
                </a:lnTo>
                <a:lnTo>
                  <a:pt x="1095" y="599"/>
                </a:lnTo>
                <a:lnTo>
                  <a:pt x="1101" y="599"/>
                </a:lnTo>
                <a:lnTo>
                  <a:pt x="1111" y="598"/>
                </a:lnTo>
                <a:lnTo>
                  <a:pt x="1118" y="595"/>
                </a:lnTo>
                <a:lnTo>
                  <a:pt x="1123" y="591"/>
                </a:lnTo>
                <a:lnTo>
                  <a:pt x="1126" y="586"/>
                </a:lnTo>
                <a:lnTo>
                  <a:pt x="1127" y="577"/>
                </a:lnTo>
                <a:lnTo>
                  <a:pt x="1127" y="56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8" name="Freeform 22">
            <a:extLst>
              <a:ext uri="{FF2B5EF4-FFF2-40B4-BE49-F238E27FC236}">
                <a16:creationId xmlns:a16="http://schemas.microsoft.com/office/drawing/2014/main" id="{7EEEB9DA-1B64-2EE8-CD39-E83EB375CC01}"/>
              </a:ext>
            </a:extLst>
          </p:cNvPr>
          <p:cNvSpPr>
            <a:spLocks/>
          </p:cNvSpPr>
          <p:nvPr/>
        </p:nvSpPr>
        <p:spPr bwMode="auto">
          <a:xfrm>
            <a:off x="6235673" y="4847726"/>
            <a:ext cx="777154" cy="627799"/>
          </a:xfrm>
          <a:custGeom>
            <a:avLst/>
            <a:gdLst>
              <a:gd name="T0" fmla="*/ 499 w 656"/>
              <a:gd name="T1" fmla="*/ 78 h 560"/>
              <a:gd name="T2" fmla="*/ 503 w 656"/>
              <a:gd name="T3" fmla="*/ 107 h 560"/>
              <a:gd name="T4" fmla="*/ 481 w 656"/>
              <a:gd name="T5" fmla="*/ 158 h 560"/>
              <a:gd name="T6" fmla="*/ 458 w 656"/>
              <a:gd name="T7" fmla="*/ 176 h 560"/>
              <a:gd name="T8" fmla="*/ 458 w 656"/>
              <a:gd name="T9" fmla="*/ 188 h 560"/>
              <a:gd name="T10" fmla="*/ 527 w 656"/>
              <a:gd name="T11" fmla="*/ 182 h 560"/>
              <a:gd name="T12" fmla="*/ 572 w 656"/>
              <a:gd name="T13" fmla="*/ 182 h 560"/>
              <a:gd name="T14" fmla="*/ 592 w 656"/>
              <a:gd name="T15" fmla="*/ 237 h 560"/>
              <a:gd name="T16" fmla="*/ 602 w 656"/>
              <a:gd name="T17" fmla="*/ 258 h 560"/>
              <a:gd name="T18" fmla="*/ 615 w 656"/>
              <a:gd name="T19" fmla="*/ 263 h 560"/>
              <a:gd name="T20" fmla="*/ 617 w 656"/>
              <a:gd name="T21" fmla="*/ 275 h 560"/>
              <a:gd name="T22" fmla="*/ 588 w 656"/>
              <a:gd name="T23" fmla="*/ 313 h 560"/>
              <a:gd name="T24" fmla="*/ 585 w 656"/>
              <a:gd name="T25" fmla="*/ 346 h 560"/>
              <a:gd name="T26" fmla="*/ 576 w 656"/>
              <a:gd name="T27" fmla="*/ 391 h 560"/>
              <a:gd name="T28" fmla="*/ 588 w 656"/>
              <a:gd name="T29" fmla="*/ 390 h 560"/>
              <a:gd name="T30" fmla="*/ 608 w 656"/>
              <a:gd name="T31" fmla="*/ 367 h 560"/>
              <a:gd name="T32" fmla="*/ 627 w 656"/>
              <a:gd name="T33" fmla="*/ 371 h 560"/>
              <a:gd name="T34" fmla="*/ 646 w 656"/>
              <a:gd name="T35" fmla="*/ 386 h 560"/>
              <a:gd name="T36" fmla="*/ 656 w 656"/>
              <a:gd name="T37" fmla="*/ 409 h 560"/>
              <a:gd name="T38" fmla="*/ 648 w 656"/>
              <a:gd name="T39" fmla="*/ 436 h 560"/>
              <a:gd name="T40" fmla="*/ 631 w 656"/>
              <a:gd name="T41" fmla="*/ 454 h 560"/>
              <a:gd name="T42" fmla="*/ 635 w 656"/>
              <a:gd name="T43" fmla="*/ 483 h 560"/>
              <a:gd name="T44" fmla="*/ 622 w 656"/>
              <a:gd name="T45" fmla="*/ 502 h 560"/>
              <a:gd name="T46" fmla="*/ 590 w 656"/>
              <a:gd name="T47" fmla="*/ 509 h 560"/>
              <a:gd name="T48" fmla="*/ 560 w 656"/>
              <a:gd name="T49" fmla="*/ 501 h 560"/>
              <a:gd name="T50" fmla="*/ 518 w 656"/>
              <a:gd name="T51" fmla="*/ 500 h 560"/>
              <a:gd name="T52" fmla="*/ 499 w 656"/>
              <a:gd name="T53" fmla="*/ 476 h 560"/>
              <a:gd name="T54" fmla="*/ 482 w 656"/>
              <a:gd name="T55" fmla="*/ 479 h 560"/>
              <a:gd name="T56" fmla="*/ 446 w 656"/>
              <a:gd name="T57" fmla="*/ 501 h 560"/>
              <a:gd name="T58" fmla="*/ 404 w 656"/>
              <a:gd name="T59" fmla="*/ 529 h 560"/>
              <a:gd name="T60" fmla="*/ 336 w 656"/>
              <a:gd name="T61" fmla="*/ 525 h 560"/>
              <a:gd name="T62" fmla="*/ 274 w 656"/>
              <a:gd name="T63" fmla="*/ 527 h 560"/>
              <a:gd name="T64" fmla="*/ 180 w 656"/>
              <a:gd name="T65" fmla="*/ 557 h 560"/>
              <a:gd name="T66" fmla="*/ 121 w 656"/>
              <a:gd name="T67" fmla="*/ 560 h 560"/>
              <a:gd name="T68" fmla="*/ 104 w 656"/>
              <a:gd name="T69" fmla="*/ 545 h 560"/>
              <a:gd name="T70" fmla="*/ 102 w 656"/>
              <a:gd name="T71" fmla="*/ 521 h 560"/>
              <a:gd name="T72" fmla="*/ 79 w 656"/>
              <a:gd name="T73" fmla="*/ 473 h 560"/>
              <a:gd name="T74" fmla="*/ 86 w 656"/>
              <a:gd name="T75" fmla="*/ 457 h 560"/>
              <a:gd name="T76" fmla="*/ 80 w 656"/>
              <a:gd name="T77" fmla="*/ 434 h 560"/>
              <a:gd name="T78" fmla="*/ 86 w 656"/>
              <a:gd name="T79" fmla="*/ 408 h 560"/>
              <a:gd name="T80" fmla="*/ 83 w 656"/>
              <a:gd name="T81" fmla="*/ 380 h 560"/>
              <a:gd name="T82" fmla="*/ 75 w 656"/>
              <a:gd name="T83" fmla="*/ 364 h 560"/>
              <a:gd name="T84" fmla="*/ 64 w 656"/>
              <a:gd name="T85" fmla="*/ 352 h 560"/>
              <a:gd name="T86" fmla="*/ 71 w 656"/>
              <a:gd name="T87" fmla="*/ 314 h 560"/>
              <a:gd name="T88" fmla="*/ 53 w 656"/>
              <a:gd name="T89" fmla="*/ 299 h 560"/>
              <a:gd name="T90" fmla="*/ 52 w 656"/>
              <a:gd name="T91" fmla="*/ 268 h 560"/>
              <a:gd name="T92" fmla="*/ 19 w 656"/>
              <a:gd name="T93" fmla="*/ 242 h 560"/>
              <a:gd name="T94" fmla="*/ 4 w 656"/>
              <a:gd name="T95" fmla="*/ 234 h 560"/>
              <a:gd name="T96" fmla="*/ 2 w 656"/>
              <a:gd name="T97" fmla="*/ 217 h 560"/>
              <a:gd name="T98" fmla="*/ 20 w 656"/>
              <a:gd name="T99" fmla="*/ 194 h 560"/>
              <a:gd name="T100" fmla="*/ 17 w 656"/>
              <a:gd name="T101" fmla="*/ 208 h 560"/>
              <a:gd name="T102" fmla="*/ 33 w 656"/>
              <a:gd name="T103" fmla="*/ 195 h 560"/>
              <a:gd name="T104" fmla="*/ 66 w 656"/>
              <a:gd name="T105" fmla="*/ 200 h 560"/>
              <a:gd name="T106" fmla="*/ 129 w 656"/>
              <a:gd name="T107" fmla="*/ 192 h 560"/>
              <a:gd name="T108" fmla="*/ 155 w 656"/>
              <a:gd name="T109" fmla="*/ 171 h 560"/>
              <a:gd name="T110" fmla="*/ 191 w 656"/>
              <a:gd name="T111" fmla="*/ 106 h 560"/>
              <a:gd name="T112" fmla="*/ 204 w 656"/>
              <a:gd name="T113" fmla="*/ 157 h 560"/>
              <a:gd name="T114" fmla="*/ 220 w 656"/>
              <a:gd name="T115" fmla="*/ 140 h 560"/>
              <a:gd name="T116" fmla="*/ 253 w 656"/>
              <a:gd name="T117" fmla="*/ 114 h 560"/>
              <a:gd name="T118" fmla="*/ 272 w 656"/>
              <a:gd name="T119" fmla="*/ 73 h 560"/>
              <a:gd name="T120" fmla="*/ 300 w 656"/>
              <a:gd name="T121" fmla="*/ 0 h 560"/>
              <a:gd name="T122" fmla="*/ 358 w 656"/>
              <a:gd name="T123" fmla="*/ 3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6" h="560">
                <a:moveTo>
                  <a:pt x="391" y="13"/>
                </a:moveTo>
                <a:lnTo>
                  <a:pt x="474" y="57"/>
                </a:lnTo>
                <a:lnTo>
                  <a:pt x="499" y="78"/>
                </a:lnTo>
                <a:lnTo>
                  <a:pt x="502" y="87"/>
                </a:lnTo>
                <a:lnTo>
                  <a:pt x="504" y="98"/>
                </a:lnTo>
                <a:lnTo>
                  <a:pt x="503" y="107"/>
                </a:lnTo>
                <a:lnTo>
                  <a:pt x="500" y="116"/>
                </a:lnTo>
                <a:lnTo>
                  <a:pt x="485" y="144"/>
                </a:lnTo>
                <a:lnTo>
                  <a:pt x="481" y="158"/>
                </a:lnTo>
                <a:lnTo>
                  <a:pt x="477" y="165"/>
                </a:lnTo>
                <a:lnTo>
                  <a:pt x="471" y="169"/>
                </a:lnTo>
                <a:lnTo>
                  <a:pt x="458" y="176"/>
                </a:lnTo>
                <a:lnTo>
                  <a:pt x="455" y="179"/>
                </a:lnTo>
                <a:lnTo>
                  <a:pt x="453" y="184"/>
                </a:lnTo>
                <a:lnTo>
                  <a:pt x="458" y="188"/>
                </a:lnTo>
                <a:lnTo>
                  <a:pt x="465" y="191"/>
                </a:lnTo>
                <a:lnTo>
                  <a:pt x="489" y="191"/>
                </a:lnTo>
                <a:lnTo>
                  <a:pt x="527" y="182"/>
                </a:lnTo>
                <a:lnTo>
                  <a:pt x="552" y="180"/>
                </a:lnTo>
                <a:lnTo>
                  <a:pt x="560" y="180"/>
                </a:lnTo>
                <a:lnTo>
                  <a:pt x="572" y="182"/>
                </a:lnTo>
                <a:lnTo>
                  <a:pt x="594" y="190"/>
                </a:lnTo>
                <a:lnTo>
                  <a:pt x="591" y="226"/>
                </a:lnTo>
                <a:lnTo>
                  <a:pt x="592" y="237"/>
                </a:lnTo>
                <a:lnTo>
                  <a:pt x="595" y="248"/>
                </a:lnTo>
                <a:lnTo>
                  <a:pt x="598" y="255"/>
                </a:lnTo>
                <a:lnTo>
                  <a:pt x="602" y="258"/>
                </a:lnTo>
                <a:lnTo>
                  <a:pt x="607" y="259"/>
                </a:lnTo>
                <a:lnTo>
                  <a:pt x="611" y="260"/>
                </a:lnTo>
                <a:lnTo>
                  <a:pt x="615" y="263"/>
                </a:lnTo>
                <a:lnTo>
                  <a:pt x="618" y="268"/>
                </a:lnTo>
                <a:lnTo>
                  <a:pt x="618" y="271"/>
                </a:lnTo>
                <a:lnTo>
                  <a:pt x="617" y="275"/>
                </a:lnTo>
                <a:lnTo>
                  <a:pt x="615" y="280"/>
                </a:lnTo>
                <a:lnTo>
                  <a:pt x="592" y="306"/>
                </a:lnTo>
                <a:lnTo>
                  <a:pt x="588" y="313"/>
                </a:lnTo>
                <a:lnTo>
                  <a:pt x="585" y="321"/>
                </a:lnTo>
                <a:lnTo>
                  <a:pt x="584" y="337"/>
                </a:lnTo>
                <a:lnTo>
                  <a:pt x="585" y="346"/>
                </a:lnTo>
                <a:lnTo>
                  <a:pt x="576" y="376"/>
                </a:lnTo>
                <a:lnTo>
                  <a:pt x="575" y="385"/>
                </a:lnTo>
                <a:lnTo>
                  <a:pt x="576" y="391"/>
                </a:lnTo>
                <a:lnTo>
                  <a:pt x="579" y="396"/>
                </a:lnTo>
                <a:lnTo>
                  <a:pt x="583" y="395"/>
                </a:lnTo>
                <a:lnTo>
                  <a:pt x="588" y="390"/>
                </a:lnTo>
                <a:lnTo>
                  <a:pt x="596" y="382"/>
                </a:lnTo>
                <a:lnTo>
                  <a:pt x="604" y="372"/>
                </a:lnTo>
                <a:lnTo>
                  <a:pt x="608" y="367"/>
                </a:lnTo>
                <a:lnTo>
                  <a:pt x="615" y="365"/>
                </a:lnTo>
                <a:lnTo>
                  <a:pt x="621" y="367"/>
                </a:lnTo>
                <a:lnTo>
                  <a:pt x="627" y="371"/>
                </a:lnTo>
                <a:lnTo>
                  <a:pt x="634" y="377"/>
                </a:lnTo>
                <a:lnTo>
                  <a:pt x="642" y="383"/>
                </a:lnTo>
                <a:lnTo>
                  <a:pt x="646" y="386"/>
                </a:lnTo>
                <a:lnTo>
                  <a:pt x="651" y="391"/>
                </a:lnTo>
                <a:lnTo>
                  <a:pt x="654" y="399"/>
                </a:lnTo>
                <a:lnTo>
                  <a:pt x="656" y="409"/>
                </a:lnTo>
                <a:lnTo>
                  <a:pt x="654" y="418"/>
                </a:lnTo>
                <a:lnTo>
                  <a:pt x="651" y="429"/>
                </a:lnTo>
                <a:lnTo>
                  <a:pt x="648" y="436"/>
                </a:lnTo>
                <a:lnTo>
                  <a:pt x="645" y="440"/>
                </a:lnTo>
                <a:lnTo>
                  <a:pt x="634" y="450"/>
                </a:lnTo>
                <a:lnTo>
                  <a:pt x="631" y="454"/>
                </a:lnTo>
                <a:lnTo>
                  <a:pt x="631" y="459"/>
                </a:lnTo>
                <a:lnTo>
                  <a:pt x="635" y="477"/>
                </a:lnTo>
                <a:lnTo>
                  <a:pt x="635" y="483"/>
                </a:lnTo>
                <a:lnTo>
                  <a:pt x="633" y="490"/>
                </a:lnTo>
                <a:lnTo>
                  <a:pt x="628" y="496"/>
                </a:lnTo>
                <a:lnTo>
                  <a:pt x="622" y="502"/>
                </a:lnTo>
                <a:lnTo>
                  <a:pt x="614" y="507"/>
                </a:lnTo>
                <a:lnTo>
                  <a:pt x="602" y="511"/>
                </a:lnTo>
                <a:lnTo>
                  <a:pt x="590" y="509"/>
                </a:lnTo>
                <a:lnTo>
                  <a:pt x="581" y="507"/>
                </a:lnTo>
                <a:lnTo>
                  <a:pt x="569" y="503"/>
                </a:lnTo>
                <a:lnTo>
                  <a:pt x="560" y="501"/>
                </a:lnTo>
                <a:lnTo>
                  <a:pt x="537" y="504"/>
                </a:lnTo>
                <a:lnTo>
                  <a:pt x="526" y="503"/>
                </a:lnTo>
                <a:lnTo>
                  <a:pt x="518" y="500"/>
                </a:lnTo>
                <a:lnTo>
                  <a:pt x="507" y="490"/>
                </a:lnTo>
                <a:lnTo>
                  <a:pt x="503" y="485"/>
                </a:lnTo>
                <a:lnTo>
                  <a:pt x="499" y="476"/>
                </a:lnTo>
                <a:lnTo>
                  <a:pt x="494" y="475"/>
                </a:lnTo>
                <a:lnTo>
                  <a:pt x="489" y="475"/>
                </a:lnTo>
                <a:lnTo>
                  <a:pt x="482" y="479"/>
                </a:lnTo>
                <a:lnTo>
                  <a:pt x="473" y="483"/>
                </a:lnTo>
                <a:lnTo>
                  <a:pt x="452" y="494"/>
                </a:lnTo>
                <a:lnTo>
                  <a:pt x="446" y="501"/>
                </a:lnTo>
                <a:lnTo>
                  <a:pt x="428" y="520"/>
                </a:lnTo>
                <a:lnTo>
                  <a:pt x="419" y="526"/>
                </a:lnTo>
                <a:lnTo>
                  <a:pt x="404" y="529"/>
                </a:lnTo>
                <a:lnTo>
                  <a:pt x="361" y="531"/>
                </a:lnTo>
                <a:lnTo>
                  <a:pt x="349" y="530"/>
                </a:lnTo>
                <a:lnTo>
                  <a:pt x="336" y="525"/>
                </a:lnTo>
                <a:lnTo>
                  <a:pt x="325" y="522"/>
                </a:lnTo>
                <a:lnTo>
                  <a:pt x="313" y="522"/>
                </a:lnTo>
                <a:lnTo>
                  <a:pt x="274" y="527"/>
                </a:lnTo>
                <a:lnTo>
                  <a:pt x="261" y="529"/>
                </a:lnTo>
                <a:lnTo>
                  <a:pt x="222" y="548"/>
                </a:lnTo>
                <a:lnTo>
                  <a:pt x="180" y="557"/>
                </a:lnTo>
                <a:lnTo>
                  <a:pt x="130" y="560"/>
                </a:lnTo>
                <a:lnTo>
                  <a:pt x="121" y="560"/>
                </a:lnTo>
                <a:lnTo>
                  <a:pt x="121" y="560"/>
                </a:lnTo>
                <a:lnTo>
                  <a:pt x="116" y="556"/>
                </a:lnTo>
                <a:lnTo>
                  <a:pt x="111" y="552"/>
                </a:lnTo>
                <a:lnTo>
                  <a:pt x="104" y="545"/>
                </a:lnTo>
                <a:lnTo>
                  <a:pt x="103" y="540"/>
                </a:lnTo>
                <a:lnTo>
                  <a:pt x="103" y="527"/>
                </a:lnTo>
                <a:lnTo>
                  <a:pt x="102" y="521"/>
                </a:lnTo>
                <a:lnTo>
                  <a:pt x="97" y="507"/>
                </a:lnTo>
                <a:lnTo>
                  <a:pt x="83" y="486"/>
                </a:lnTo>
                <a:lnTo>
                  <a:pt x="79" y="473"/>
                </a:lnTo>
                <a:lnTo>
                  <a:pt x="80" y="467"/>
                </a:lnTo>
                <a:lnTo>
                  <a:pt x="84" y="463"/>
                </a:lnTo>
                <a:lnTo>
                  <a:pt x="86" y="457"/>
                </a:lnTo>
                <a:lnTo>
                  <a:pt x="86" y="451"/>
                </a:lnTo>
                <a:lnTo>
                  <a:pt x="82" y="438"/>
                </a:lnTo>
                <a:lnTo>
                  <a:pt x="80" y="434"/>
                </a:lnTo>
                <a:lnTo>
                  <a:pt x="80" y="426"/>
                </a:lnTo>
                <a:lnTo>
                  <a:pt x="82" y="421"/>
                </a:lnTo>
                <a:lnTo>
                  <a:pt x="86" y="408"/>
                </a:lnTo>
                <a:lnTo>
                  <a:pt x="87" y="401"/>
                </a:lnTo>
                <a:lnTo>
                  <a:pt x="86" y="393"/>
                </a:lnTo>
                <a:lnTo>
                  <a:pt x="83" y="380"/>
                </a:lnTo>
                <a:lnTo>
                  <a:pt x="83" y="373"/>
                </a:lnTo>
                <a:lnTo>
                  <a:pt x="80" y="367"/>
                </a:lnTo>
                <a:lnTo>
                  <a:pt x="75" y="364"/>
                </a:lnTo>
                <a:lnTo>
                  <a:pt x="69" y="362"/>
                </a:lnTo>
                <a:lnTo>
                  <a:pt x="64" y="358"/>
                </a:lnTo>
                <a:lnTo>
                  <a:pt x="64" y="352"/>
                </a:lnTo>
                <a:lnTo>
                  <a:pt x="70" y="334"/>
                </a:lnTo>
                <a:lnTo>
                  <a:pt x="71" y="321"/>
                </a:lnTo>
                <a:lnTo>
                  <a:pt x="71" y="314"/>
                </a:lnTo>
                <a:lnTo>
                  <a:pt x="69" y="309"/>
                </a:lnTo>
                <a:lnTo>
                  <a:pt x="64" y="304"/>
                </a:lnTo>
                <a:lnTo>
                  <a:pt x="53" y="299"/>
                </a:lnTo>
                <a:lnTo>
                  <a:pt x="49" y="296"/>
                </a:lnTo>
                <a:lnTo>
                  <a:pt x="48" y="282"/>
                </a:lnTo>
                <a:lnTo>
                  <a:pt x="52" y="268"/>
                </a:lnTo>
                <a:lnTo>
                  <a:pt x="53" y="256"/>
                </a:lnTo>
                <a:lnTo>
                  <a:pt x="44" y="248"/>
                </a:lnTo>
                <a:lnTo>
                  <a:pt x="19" y="242"/>
                </a:lnTo>
                <a:lnTo>
                  <a:pt x="8" y="236"/>
                </a:lnTo>
                <a:lnTo>
                  <a:pt x="4" y="234"/>
                </a:lnTo>
                <a:lnTo>
                  <a:pt x="4" y="234"/>
                </a:lnTo>
                <a:lnTo>
                  <a:pt x="1" y="229"/>
                </a:lnTo>
                <a:lnTo>
                  <a:pt x="0" y="224"/>
                </a:lnTo>
                <a:lnTo>
                  <a:pt x="2" y="217"/>
                </a:lnTo>
                <a:lnTo>
                  <a:pt x="12" y="211"/>
                </a:lnTo>
                <a:lnTo>
                  <a:pt x="17" y="204"/>
                </a:lnTo>
                <a:lnTo>
                  <a:pt x="20" y="194"/>
                </a:lnTo>
                <a:lnTo>
                  <a:pt x="25" y="185"/>
                </a:lnTo>
                <a:lnTo>
                  <a:pt x="19" y="204"/>
                </a:lnTo>
                <a:lnTo>
                  <a:pt x="17" y="208"/>
                </a:lnTo>
                <a:lnTo>
                  <a:pt x="21" y="222"/>
                </a:lnTo>
                <a:lnTo>
                  <a:pt x="28" y="216"/>
                </a:lnTo>
                <a:lnTo>
                  <a:pt x="33" y="195"/>
                </a:lnTo>
                <a:lnTo>
                  <a:pt x="39" y="185"/>
                </a:lnTo>
                <a:lnTo>
                  <a:pt x="58" y="204"/>
                </a:lnTo>
                <a:lnTo>
                  <a:pt x="66" y="200"/>
                </a:lnTo>
                <a:lnTo>
                  <a:pt x="115" y="190"/>
                </a:lnTo>
                <a:lnTo>
                  <a:pt x="124" y="191"/>
                </a:lnTo>
                <a:lnTo>
                  <a:pt x="129" y="192"/>
                </a:lnTo>
                <a:lnTo>
                  <a:pt x="134" y="192"/>
                </a:lnTo>
                <a:lnTo>
                  <a:pt x="140" y="190"/>
                </a:lnTo>
                <a:lnTo>
                  <a:pt x="155" y="171"/>
                </a:lnTo>
                <a:lnTo>
                  <a:pt x="159" y="169"/>
                </a:lnTo>
                <a:lnTo>
                  <a:pt x="185" y="116"/>
                </a:lnTo>
                <a:lnTo>
                  <a:pt x="191" y="106"/>
                </a:lnTo>
                <a:lnTo>
                  <a:pt x="206" y="110"/>
                </a:lnTo>
                <a:lnTo>
                  <a:pt x="209" y="126"/>
                </a:lnTo>
                <a:lnTo>
                  <a:pt x="204" y="157"/>
                </a:lnTo>
                <a:lnTo>
                  <a:pt x="212" y="153"/>
                </a:lnTo>
                <a:lnTo>
                  <a:pt x="216" y="146"/>
                </a:lnTo>
                <a:lnTo>
                  <a:pt x="220" y="140"/>
                </a:lnTo>
                <a:lnTo>
                  <a:pt x="226" y="132"/>
                </a:lnTo>
                <a:lnTo>
                  <a:pt x="231" y="127"/>
                </a:lnTo>
                <a:lnTo>
                  <a:pt x="253" y="114"/>
                </a:lnTo>
                <a:lnTo>
                  <a:pt x="263" y="102"/>
                </a:lnTo>
                <a:lnTo>
                  <a:pt x="269" y="88"/>
                </a:lnTo>
                <a:lnTo>
                  <a:pt x="272" y="73"/>
                </a:lnTo>
                <a:lnTo>
                  <a:pt x="276" y="48"/>
                </a:lnTo>
                <a:lnTo>
                  <a:pt x="286" y="23"/>
                </a:lnTo>
                <a:lnTo>
                  <a:pt x="300" y="0"/>
                </a:lnTo>
                <a:lnTo>
                  <a:pt x="302" y="0"/>
                </a:lnTo>
                <a:lnTo>
                  <a:pt x="306" y="1"/>
                </a:lnTo>
                <a:lnTo>
                  <a:pt x="358" y="3"/>
                </a:lnTo>
                <a:lnTo>
                  <a:pt x="364" y="6"/>
                </a:lnTo>
                <a:lnTo>
                  <a:pt x="391" y="1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9" name="Freeform 23">
            <a:extLst>
              <a:ext uri="{FF2B5EF4-FFF2-40B4-BE49-F238E27FC236}">
                <a16:creationId xmlns:a16="http://schemas.microsoft.com/office/drawing/2014/main" id="{06BF5C40-13DD-6667-AC92-92B514226AC5}"/>
              </a:ext>
            </a:extLst>
          </p:cNvPr>
          <p:cNvSpPr>
            <a:spLocks/>
          </p:cNvSpPr>
          <p:nvPr/>
        </p:nvSpPr>
        <p:spPr bwMode="auto">
          <a:xfrm>
            <a:off x="7045997" y="2820833"/>
            <a:ext cx="741613" cy="647978"/>
          </a:xfrm>
          <a:custGeom>
            <a:avLst/>
            <a:gdLst>
              <a:gd name="T0" fmla="*/ 437 w 626"/>
              <a:gd name="T1" fmla="*/ 194 h 578"/>
              <a:gd name="T2" fmla="*/ 453 w 626"/>
              <a:gd name="T3" fmla="*/ 187 h 578"/>
              <a:gd name="T4" fmla="*/ 472 w 626"/>
              <a:gd name="T5" fmla="*/ 174 h 578"/>
              <a:gd name="T6" fmla="*/ 487 w 626"/>
              <a:gd name="T7" fmla="*/ 183 h 578"/>
              <a:gd name="T8" fmla="*/ 517 w 626"/>
              <a:gd name="T9" fmla="*/ 172 h 578"/>
              <a:gd name="T10" fmla="*/ 549 w 626"/>
              <a:gd name="T11" fmla="*/ 174 h 578"/>
              <a:gd name="T12" fmla="*/ 621 w 626"/>
              <a:gd name="T13" fmla="*/ 226 h 578"/>
              <a:gd name="T14" fmla="*/ 622 w 626"/>
              <a:gd name="T15" fmla="*/ 275 h 578"/>
              <a:gd name="T16" fmla="*/ 624 w 626"/>
              <a:gd name="T17" fmla="*/ 326 h 578"/>
              <a:gd name="T18" fmla="*/ 607 w 626"/>
              <a:gd name="T19" fmla="*/ 359 h 578"/>
              <a:gd name="T20" fmla="*/ 603 w 626"/>
              <a:gd name="T21" fmla="*/ 381 h 578"/>
              <a:gd name="T22" fmla="*/ 593 w 626"/>
              <a:gd name="T23" fmla="*/ 392 h 578"/>
              <a:gd name="T24" fmla="*/ 598 w 626"/>
              <a:gd name="T25" fmla="*/ 405 h 578"/>
              <a:gd name="T26" fmla="*/ 604 w 626"/>
              <a:gd name="T27" fmla="*/ 430 h 578"/>
              <a:gd name="T28" fmla="*/ 596 w 626"/>
              <a:gd name="T29" fmla="*/ 449 h 578"/>
              <a:gd name="T30" fmla="*/ 587 w 626"/>
              <a:gd name="T31" fmla="*/ 481 h 578"/>
              <a:gd name="T32" fmla="*/ 557 w 626"/>
              <a:gd name="T33" fmla="*/ 493 h 578"/>
              <a:gd name="T34" fmla="*/ 539 w 626"/>
              <a:gd name="T35" fmla="*/ 482 h 578"/>
              <a:gd name="T36" fmla="*/ 522 w 626"/>
              <a:gd name="T37" fmla="*/ 478 h 578"/>
              <a:gd name="T38" fmla="*/ 508 w 626"/>
              <a:gd name="T39" fmla="*/ 488 h 578"/>
              <a:gd name="T40" fmla="*/ 502 w 626"/>
              <a:gd name="T41" fmla="*/ 507 h 578"/>
              <a:gd name="T42" fmla="*/ 470 w 626"/>
              <a:gd name="T43" fmla="*/ 512 h 578"/>
              <a:gd name="T44" fmla="*/ 432 w 626"/>
              <a:gd name="T45" fmla="*/ 534 h 578"/>
              <a:gd name="T46" fmla="*/ 373 w 626"/>
              <a:gd name="T47" fmla="*/ 526 h 578"/>
              <a:gd name="T48" fmla="*/ 325 w 626"/>
              <a:gd name="T49" fmla="*/ 550 h 578"/>
              <a:gd name="T50" fmla="*/ 279 w 626"/>
              <a:gd name="T51" fmla="*/ 553 h 578"/>
              <a:gd name="T52" fmla="*/ 238 w 626"/>
              <a:gd name="T53" fmla="*/ 577 h 578"/>
              <a:gd name="T54" fmla="*/ 194 w 626"/>
              <a:gd name="T55" fmla="*/ 568 h 578"/>
              <a:gd name="T56" fmla="*/ 166 w 626"/>
              <a:gd name="T57" fmla="*/ 545 h 578"/>
              <a:gd name="T58" fmla="*/ 143 w 626"/>
              <a:gd name="T59" fmla="*/ 540 h 578"/>
              <a:gd name="T60" fmla="*/ 60 w 626"/>
              <a:gd name="T61" fmla="*/ 572 h 578"/>
              <a:gd name="T62" fmla="*/ 6 w 626"/>
              <a:gd name="T63" fmla="*/ 530 h 578"/>
              <a:gd name="T64" fmla="*/ 2 w 626"/>
              <a:gd name="T65" fmla="*/ 486 h 578"/>
              <a:gd name="T66" fmla="*/ 12 w 626"/>
              <a:gd name="T67" fmla="*/ 416 h 578"/>
              <a:gd name="T68" fmla="*/ 28 w 626"/>
              <a:gd name="T69" fmla="*/ 370 h 578"/>
              <a:gd name="T70" fmla="*/ 51 w 626"/>
              <a:gd name="T71" fmla="*/ 351 h 578"/>
              <a:gd name="T72" fmla="*/ 80 w 626"/>
              <a:gd name="T73" fmla="*/ 306 h 578"/>
              <a:gd name="T74" fmla="*/ 95 w 626"/>
              <a:gd name="T75" fmla="*/ 294 h 578"/>
              <a:gd name="T76" fmla="*/ 158 w 626"/>
              <a:gd name="T77" fmla="*/ 138 h 578"/>
              <a:gd name="T78" fmla="*/ 175 w 626"/>
              <a:gd name="T79" fmla="*/ 158 h 578"/>
              <a:gd name="T80" fmla="*/ 192 w 626"/>
              <a:gd name="T81" fmla="*/ 157 h 578"/>
              <a:gd name="T82" fmla="*/ 200 w 626"/>
              <a:gd name="T83" fmla="*/ 137 h 578"/>
              <a:gd name="T84" fmla="*/ 216 w 626"/>
              <a:gd name="T85" fmla="*/ 129 h 578"/>
              <a:gd name="T86" fmla="*/ 223 w 626"/>
              <a:gd name="T87" fmla="*/ 121 h 578"/>
              <a:gd name="T88" fmla="*/ 216 w 626"/>
              <a:gd name="T89" fmla="*/ 105 h 578"/>
              <a:gd name="T90" fmla="*/ 196 w 626"/>
              <a:gd name="T91" fmla="*/ 93 h 578"/>
              <a:gd name="T92" fmla="*/ 198 w 626"/>
              <a:gd name="T93" fmla="*/ 83 h 578"/>
              <a:gd name="T94" fmla="*/ 214 w 626"/>
              <a:gd name="T95" fmla="*/ 49 h 578"/>
              <a:gd name="T96" fmla="*/ 232 w 626"/>
              <a:gd name="T97" fmla="*/ 39 h 578"/>
              <a:gd name="T98" fmla="*/ 238 w 626"/>
              <a:gd name="T99" fmla="*/ 29 h 578"/>
              <a:gd name="T100" fmla="*/ 245 w 626"/>
              <a:gd name="T101" fmla="*/ 14 h 578"/>
              <a:gd name="T102" fmla="*/ 259 w 626"/>
              <a:gd name="T103" fmla="*/ 8 h 578"/>
              <a:gd name="T104" fmla="*/ 265 w 626"/>
              <a:gd name="T105" fmla="*/ 1 h 578"/>
              <a:gd name="T106" fmla="*/ 277 w 626"/>
              <a:gd name="T107" fmla="*/ 8 h 578"/>
              <a:gd name="T108" fmla="*/ 304 w 626"/>
              <a:gd name="T109" fmla="*/ 53 h 578"/>
              <a:gd name="T110" fmla="*/ 324 w 626"/>
              <a:gd name="T111" fmla="*/ 90 h 578"/>
              <a:gd name="T112" fmla="*/ 340 w 626"/>
              <a:gd name="T113" fmla="*/ 121 h 578"/>
              <a:gd name="T114" fmla="*/ 400 w 626"/>
              <a:gd name="T115" fmla="*/ 182 h 578"/>
              <a:gd name="T116" fmla="*/ 408 w 626"/>
              <a:gd name="T117" fmla="*/ 206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26" h="578">
                <a:moveTo>
                  <a:pt x="413" y="208"/>
                </a:moveTo>
                <a:lnTo>
                  <a:pt x="419" y="206"/>
                </a:lnTo>
                <a:lnTo>
                  <a:pt x="437" y="194"/>
                </a:lnTo>
                <a:lnTo>
                  <a:pt x="443" y="190"/>
                </a:lnTo>
                <a:lnTo>
                  <a:pt x="447" y="189"/>
                </a:lnTo>
                <a:lnTo>
                  <a:pt x="453" y="187"/>
                </a:lnTo>
                <a:lnTo>
                  <a:pt x="457" y="184"/>
                </a:lnTo>
                <a:lnTo>
                  <a:pt x="465" y="179"/>
                </a:lnTo>
                <a:lnTo>
                  <a:pt x="472" y="174"/>
                </a:lnTo>
                <a:lnTo>
                  <a:pt x="479" y="174"/>
                </a:lnTo>
                <a:lnTo>
                  <a:pt x="484" y="179"/>
                </a:lnTo>
                <a:lnTo>
                  <a:pt x="487" y="183"/>
                </a:lnTo>
                <a:lnTo>
                  <a:pt x="491" y="185"/>
                </a:lnTo>
                <a:lnTo>
                  <a:pt x="499" y="182"/>
                </a:lnTo>
                <a:lnTo>
                  <a:pt x="517" y="172"/>
                </a:lnTo>
                <a:lnTo>
                  <a:pt x="523" y="171"/>
                </a:lnTo>
                <a:lnTo>
                  <a:pt x="533" y="172"/>
                </a:lnTo>
                <a:lnTo>
                  <a:pt x="549" y="174"/>
                </a:lnTo>
                <a:lnTo>
                  <a:pt x="558" y="173"/>
                </a:lnTo>
                <a:lnTo>
                  <a:pt x="576" y="181"/>
                </a:lnTo>
                <a:lnTo>
                  <a:pt x="621" y="226"/>
                </a:lnTo>
                <a:lnTo>
                  <a:pt x="615" y="244"/>
                </a:lnTo>
                <a:lnTo>
                  <a:pt x="615" y="251"/>
                </a:lnTo>
                <a:lnTo>
                  <a:pt x="622" y="275"/>
                </a:lnTo>
                <a:lnTo>
                  <a:pt x="626" y="299"/>
                </a:lnTo>
                <a:lnTo>
                  <a:pt x="626" y="313"/>
                </a:lnTo>
                <a:lnTo>
                  <a:pt x="624" y="326"/>
                </a:lnTo>
                <a:lnTo>
                  <a:pt x="616" y="340"/>
                </a:lnTo>
                <a:lnTo>
                  <a:pt x="610" y="351"/>
                </a:lnTo>
                <a:lnTo>
                  <a:pt x="607" y="359"/>
                </a:lnTo>
                <a:lnTo>
                  <a:pt x="606" y="366"/>
                </a:lnTo>
                <a:lnTo>
                  <a:pt x="606" y="376"/>
                </a:lnTo>
                <a:lnTo>
                  <a:pt x="603" y="381"/>
                </a:lnTo>
                <a:lnTo>
                  <a:pt x="600" y="387"/>
                </a:lnTo>
                <a:lnTo>
                  <a:pt x="596" y="390"/>
                </a:lnTo>
                <a:lnTo>
                  <a:pt x="593" y="392"/>
                </a:lnTo>
                <a:lnTo>
                  <a:pt x="590" y="396"/>
                </a:lnTo>
                <a:lnTo>
                  <a:pt x="593" y="401"/>
                </a:lnTo>
                <a:lnTo>
                  <a:pt x="598" y="405"/>
                </a:lnTo>
                <a:lnTo>
                  <a:pt x="613" y="407"/>
                </a:lnTo>
                <a:lnTo>
                  <a:pt x="624" y="414"/>
                </a:lnTo>
                <a:lnTo>
                  <a:pt x="604" y="430"/>
                </a:lnTo>
                <a:lnTo>
                  <a:pt x="602" y="435"/>
                </a:lnTo>
                <a:lnTo>
                  <a:pt x="598" y="442"/>
                </a:lnTo>
                <a:lnTo>
                  <a:pt x="596" y="449"/>
                </a:lnTo>
                <a:lnTo>
                  <a:pt x="596" y="456"/>
                </a:lnTo>
                <a:lnTo>
                  <a:pt x="596" y="468"/>
                </a:lnTo>
                <a:lnTo>
                  <a:pt x="587" y="481"/>
                </a:lnTo>
                <a:lnTo>
                  <a:pt x="582" y="488"/>
                </a:lnTo>
                <a:lnTo>
                  <a:pt x="573" y="492"/>
                </a:lnTo>
                <a:lnTo>
                  <a:pt x="557" y="493"/>
                </a:lnTo>
                <a:lnTo>
                  <a:pt x="548" y="491"/>
                </a:lnTo>
                <a:lnTo>
                  <a:pt x="543" y="486"/>
                </a:lnTo>
                <a:lnTo>
                  <a:pt x="539" y="482"/>
                </a:lnTo>
                <a:lnTo>
                  <a:pt x="534" y="480"/>
                </a:lnTo>
                <a:lnTo>
                  <a:pt x="530" y="478"/>
                </a:lnTo>
                <a:lnTo>
                  <a:pt x="522" y="478"/>
                </a:lnTo>
                <a:lnTo>
                  <a:pt x="516" y="479"/>
                </a:lnTo>
                <a:lnTo>
                  <a:pt x="509" y="485"/>
                </a:lnTo>
                <a:lnTo>
                  <a:pt x="508" y="488"/>
                </a:lnTo>
                <a:lnTo>
                  <a:pt x="508" y="498"/>
                </a:lnTo>
                <a:lnTo>
                  <a:pt x="506" y="503"/>
                </a:lnTo>
                <a:lnTo>
                  <a:pt x="502" y="507"/>
                </a:lnTo>
                <a:lnTo>
                  <a:pt x="495" y="509"/>
                </a:lnTo>
                <a:lnTo>
                  <a:pt x="478" y="510"/>
                </a:lnTo>
                <a:lnTo>
                  <a:pt x="470" y="512"/>
                </a:lnTo>
                <a:lnTo>
                  <a:pt x="455" y="525"/>
                </a:lnTo>
                <a:lnTo>
                  <a:pt x="443" y="531"/>
                </a:lnTo>
                <a:lnTo>
                  <a:pt x="432" y="534"/>
                </a:lnTo>
                <a:lnTo>
                  <a:pt x="416" y="533"/>
                </a:lnTo>
                <a:lnTo>
                  <a:pt x="385" y="526"/>
                </a:lnTo>
                <a:lnTo>
                  <a:pt x="373" y="526"/>
                </a:lnTo>
                <a:lnTo>
                  <a:pt x="360" y="529"/>
                </a:lnTo>
                <a:lnTo>
                  <a:pt x="343" y="534"/>
                </a:lnTo>
                <a:lnTo>
                  <a:pt x="325" y="550"/>
                </a:lnTo>
                <a:lnTo>
                  <a:pt x="307" y="558"/>
                </a:lnTo>
                <a:lnTo>
                  <a:pt x="287" y="552"/>
                </a:lnTo>
                <a:lnTo>
                  <a:pt x="279" y="553"/>
                </a:lnTo>
                <a:lnTo>
                  <a:pt x="268" y="559"/>
                </a:lnTo>
                <a:lnTo>
                  <a:pt x="249" y="574"/>
                </a:lnTo>
                <a:lnTo>
                  <a:pt x="238" y="577"/>
                </a:lnTo>
                <a:lnTo>
                  <a:pt x="223" y="578"/>
                </a:lnTo>
                <a:lnTo>
                  <a:pt x="207" y="574"/>
                </a:lnTo>
                <a:lnTo>
                  <a:pt x="194" y="568"/>
                </a:lnTo>
                <a:lnTo>
                  <a:pt x="173" y="555"/>
                </a:lnTo>
                <a:lnTo>
                  <a:pt x="169" y="550"/>
                </a:lnTo>
                <a:lnTo>
                  <a:pt x="166" y="545"/>
                </a:lnTo>
                <a:lnTo>
                  <a:pt x="161" y="542"/>
                </a:lnTo>
                <a:lnTo>
                  <a:pt x="153" y="540"/>
                </a:lnTo>
                <a:lnTo>
                  <a:pt x="143" y="540"/>
                </a:lnTo>
                <a:lnTo>
                  <a:pt x="125" y="543"/>
                </a:lnTo>
                <a:lnTo>
                  <a:pt x="108" y="547"/>
                </a:lnTo>
                <a:lnTo>
                  <a:pt x="60" y="572"/>
                </a:lnTo>
                <a:lnTo>
                  <a:pt x="29" y="574"/>
                </a:lnTo>
                <a:lnTo>
                  <a:pt x="24" y="552"/>
                </a:lnTo>
                <a:lnTo>
                  <a:pt x="6" y="530"/>
                </a:lnTo>
                <a:lnTo>
                  <a:pt x="0" y="519"/>
                </a:lnTo>
                <a:lnTo>
                  <a:pt x="1" y="504"/>
                </a:lnTo>
                <a:lnTo>
                  <a:pt x="2" y="486"/>
                </a:lnTo>
                <a:lnTo>
                  <a:pt x="13" y="440"/>
                </a:lnTo>
                <a:lnTo>
                  <a:pt x="11" y="428"/>
                </a:lnTo>
                <a:lnTo>
                  <a:pt x="12" y="416"/>
                </a:lnTo>
                <a:lnTo>
                  <a:pt x="13" y="404"/>
                </a:lnTo>
                <a:lnTo>
                  <a:pt x="22" y="380"/>
                </a:lnTo>
                <a:lnTo>
                  <a:pt x="28" y="370"/>
                </a:lnTo>
                <a:lnTo>
                  <a:pt x="35" y="364"/>
                </a:lnTo>
                <a:lnTo>
                  <a:pt x="43" y="357"/>
                </a:lnTo>
                <a:lnTo>
                  <a:pt x="51" y="351"/>
                </a:lnTo>
                <a:lnTo>
                  <a:pt x="68" y="317"/>
                </a:lnTo>
                <a:lnTo>
                  <a:pt x="74" y="312"/>
                </a:lnTo>
                <a:lnTo>
                  <a:pt x="80" y="306"/>
                </a:lnTo>
                <a:lnTo>
                  <a:pt x="86" y="303"/>
                </a:lnTo>
                <a:lnTo>
                  <a:pt x="91" y="300"/>
                </a:lnTo>
                <a:lnTo>
                  <a:pt x="95" y="294"/>
                </a:lnTo>
                <a:lnTo>
                  <a:pt x="105" y="276"/>
                </a:lnTo>
                <a:lnTo>
                  <a:pt x="152" y="168"/>
                </a:lnTo>
                <a:lnTo>
                  <a:pt x="158" y="138"/>
                </a:lnTo>
                <a:lnTo>
                  <a:pt x="169" y="154"/>
                </a:lnTo>
                <a:lnTo>
                  <a:pt x="171" y="156"/>
                </a:lnTo>
                <a:lnTo>
                  <a:pt x="175" y="158"/>
                </a:lnTo>
                <a:lnTo>
                  <a:pt x="180" y="160"/>
                </a:lnTo>
                <a:lnTo>
                  <a:pt x="185" y="160"/>
                </a:lnTo>
                <a:lnTo>
                  <a:pt x="192" y="157"/>
                </a:lnTo>
                <a:lnTo>
                  <a:pt x="196" y="153"/>
                </a:lnTo>
                <a:lnTo>
                  <a:pt x="198" y="147"/>
                </a:lnTo>
                <a:lnTo>
                  <a:pt x="200" y="137"/>
                </a:lnTo>
                <a:lnTo>
                  <a:pt x="204" y="134"/>
                </a:lnTo>
                <a:lnTo>
                  <a:pt x="208" y="132"/>
                </a:lnTo>
                <a:lnTo>
                  <a:pt x="216" y="129"/>
                </a:lnTo>
                <a:lnTo>
                  <a:pt x="220" y="127"/>
                </a:lnTo>
                <a:lnTo>
                  <a:pt x="223" y="124"/>
                </a:lnTo>
                <a:lnTo>
                  <a:pt x="223" y="121"/>
                </a:lnTo>
                <a:lnTo>
                  <a:pt x="221" y="116"/>
                </a:lnTo>
                <a:lnTo>
                  <a:pt x="219" y="110"/>
                </a:lnTo>
                <a:lnTo>
                  <a:pt x="216" y="105"/>
                </a:lnTo>
                <a:lnTo>
                  <a:pt x="211" y="101"/>
                </a:lnTo>
                <a:lnTo>
                  <a:pt x="199" y="96"/>
                </a:lnTo>
                <a:lnTo>
                  <a:pt x="196" y="93"/>
                </a:lnTo>
                <a:lnTo>
                  <a:pt x="194" y="90"/>
                </a:lnTo>
                <a:lnTo>
                  <a:pt x="195" y="86"/>
                </a:lnTo>
                <a:lnTo>
                  <a:pt x="198" y="83"/>
                </a:lnTo>
                <a:lnTo>
                  <a:pt x="204" y="72"/>
                </a:lnTo>
                <a:lnTo>
                  <a:pt x="212" y="53"/>
                </a:lnTo>
                <a:lnTo>
                  <a:pt x="214" y="49"/>
                </a:lnTo>
                <a:lnTo>
                  <a:pt x="218" y="45"/>
                </a:lnTo>
                <a:lnTo>
                  <a:pt x="221" y="44"/>
                </a:lnTo>
                <a:lnTo>
                  <a:pt x="232" y="39"/>
                </a:lnTo>
                <a:lnTo>
                  <a:pt x="235" y="37"/>
                </a:lnTo>
                <a:lnTo>
                  <a:pt x="237" y="33"/>
                </a:lnTo>
                <a:lnTo>
                  <a:pt x="238" y="29"/>
                </a:lnTo>
                <a:lnTo>
                  <a:pt x="239" y="24"/>
                </a:lnTo>
                <a:lnTo>
                  <a:pt x="242" y="18"/>
                </a:lnTo>
                <a:lnTo>
                  <a:pt x="245" y="14"/>
                </a:lnTo>
                <a:lnTo>
                  <a:pt x="248" y="11"/>
                </a:lnTo>
                <a:lnTo>
                  <a:pt x="251" y="10"/>
                </a:lnTo>
                <a:lnTo>
                  <a:pt x="259" y="8"/>
                </a:lnTo>
                <a:lnTo>
                  <a:pt x="261" y="5"/>
                </a:lnTo>
                <a:lnTo>
                  <a:pt x="263" y="3"/>
                </a:lnTo>
                <a:lnTo>
                  <a:pt x="265" y="1"/>
                </a:lnTo>
                <a:lnTo>
                  <a:pt x="270" y="0"/>
                </a:lnTo>
                <a:lnTo>
                  <a:pt x="275" y="4"/>
                </a:lnTo>
                <a:lnTo>
                  <a:pt x="277" y="8"/>
                </a:lnTo>
                <a:lnTo>
                  <a:pt x="277" y="16"/>
                </a:lnTo>
                <a:lnTo>
                  <a:pt x="279" y="20"/>
                </a:lnTo>
                <a:lnTo>
                  <a:pt x="304" y="53"/>
                </a:lnTo>
                <a:lnTo>
                  <a:pt x="314" y="72"/>
                </a:lnTo>
                <a:lnTo>
                  <a:pt x="322" y="84"/>
                </a:lnTo>
                <a:lnTo>
                  <a:pt x="324" y="90"/>
                </a:lnTo>
                <a:lnTo>
                  <a:pt x="328" y="106"/>
                </a:lnTo>
                <a:lnTo>
                  <a:pt x="330" y="114"/>
                </a:lnTo>
                <a:lnTo>
                  <a:pt x="340" y="121"/>
                </a:lnTo>
                <a:lnTo>
                  <a:pt x="382" y="151"/>
                </a:lnTo>
                <a:lnTo>
                  <a:pt x="394" y="168"/>
                </a:lnTo>
                <a:lnTo>
                  <a:pt x="400" y="182"/>
                </a:lnTo>
                <a:lnTo>
                  <a:pt x="401" y="193"/>
                </a:lnTo>
                <a:lnTo>
                  <a:pt x="404" y="199"/>
                </a:lnTo>
                <a:lnTo>
                  <a:pt x="408" y="206"/>
                </a:lnTo>
                <a:lnTo>
                  <a:pt x="413" y="20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0" name="Freeform 24">
            <a:extLst>
              <a:ext uri="{FF2B5EF4-FFF2-40B4-BE49-F238E27FC236}">
                <a16:creationId xmlns:a16="http://schemas.microsoft.com/office/drawing/2014/main" id="{43BCD28F-83F5-ED67-5B98-B9BE77DC3833}"/>
              </a:ext>
            </a:extLst>
          </p:cNvPr>
          <p:cNvSpPr>
            <a:spLocks/>
          </p:cNvSpPr>
          <p:nvPr/>
        </p:nvSpPr>
        <p:spPr bwMode="auto">
          <a:xfrm>
            <a:off x="7200007" y="3630246"/>
            <a:ext cx="616037" cy="733180"/>
          </a:xfrm>
          <a:custGeom>
            <a:avLst/>
            <a:gdLst>
              <a:gd name="T0" fmla="*/ 369 w 520"/>
              <a:gd name="T1" fmla="*/ 37 h 654"/>
              <a:gd name="T2" fmla="*/ 403 w 520"/>
              <a:gd name="T3" fmla="*/ 39 h 654"/>
              <a:gd name="T4" fmla="*/ 421 w 520"/>
              <a:gd name="T5" fmla="*/ 19 h 654"/>
              <a:gd name="T6" fmla="*/ 443 w 520"/>
              <a:gd name="T7" fmla="*/ 16 h 654"/>
              <a:gd name="T8" fmla="*/ 481 w 520"/>
              <a:gd name="T9" fmla="*/ 33 h 654"/>
              <a:gd name="T10" fmla="*/ 505 w 520"/>
              <a:gd name="T11" fmla="*/ 44 h 654"/>
              <a:gd name="T12" fmla="*/ 515 w 520"/>
              <a:gd name="T13" fmla="*/ 61 h 654"/>
              <a:gd name="T14" fmla="*/ 511 w 520"/>
              <a:gd name="T15" fmla="*/ 84 h 654"/>
              <a:gd name="T16" fmla="*/ 519 w 520"/>
              <a:gd name="T17" fmla="*/ 119 h 654"/>
              <a:gd name="T18" fmla="*/ 510 w 520"/>
              <a:gd name="T19" fmla="*/ 138 h 654"/>
              <a:gd name="T20" fmla="*/ 482 w 520"/>
              <a:gd name="T21" fmla="*/ 158 h 654"/>
              <a:gd name="T22" fmla="*/ 468 w 520"/>
              <a:gd name="T23" fmla="*/ 175 h 654"/>
              <a:gd name="T24" fmla="*/ 456 w 520"/>
              <a:gd name="T25" fmla="*/ 189 h 654"/>
              <a:gd name="T26" fmla="*/ 456 w 520"/>
              <a:gd name="T27" fmla="*/ 223 h 654"/>
              <a:gd name="T28" fmla="*/ 465 w 520"/>
              <a:gd name="T29" fmla="*/ 243 h 654"/>
              <a:gd name="T30" fmla="*/ 473 w 520"/>
              <a:gd name="T31" fmla="*/ 268 h 654"/>
              <a:gd name="T32" fmla="*/ 450 w 520"/>
              <a:gd name="T33" fmla="*/ 327 h 654"/>
              <a:gd name="T34" fmla="*/ 429 w 520"/>
              <a:gd name="T35" fmla="*/ 370 h 654"/>
              <a:gd name="T36" fmla="*/ 441 w 520"/>
              <a:gd name="T37" fmla="*/ 384 h 654"/>
              <a:gd name="T38" fmla="*/ 448 w 520"/>
              <a:gd name="T39" fmla="*/ 415 h 654"/>
              <a:gd name="T40" fmla="*/ 456 w 520"/>
              <a:gd name="T41" fmla="*/ 441 h 654"/>
              <a:gd name="T42" fmla="*/ 428 w 520"/>
              <a:gd name="T43" fmla="*/ 460 h 654"/>
              <a:gd name="T44" fmla="*/ 419 w 520"/>
              <a:gd name="T45" fmla="*/ 516 h 654"/>
              <a:gd name="T46" fmla="*/ 422 w 520"/>
              <a:gd name="T47" fmla="*/ 527 h 654"/>
              <a:gd name="T48" fmla="*/ 401 w 520"/>
              <a:gd name="T49" fmla="*/ 547 h 654"/>
              <a:gd name="T50" fmla="*/ 395 w 520"/>
              <a:gd name="T51" fmla="*/ 572 h 654"/>
              <a:gd name="T52" fmla="*/ 355 w 520"/>
              <a:gd name="T53" fmla="*/ 589 h 654"/>
              <a:gd name="T54" fmla="*/ 229 w 520"/>
              <a:gd name="T55" fmla="*/ 611 h 654"/>
              <a:gd name="T56" fmla="*/ 179 w 520"/>
              <a:gd name="T57" fmla="*/ 647 h 654"/>
              <a:gd name="T58" fmla="*/ 123 w 520"/>
              <a:gd name="T59" fmla="*/ 652 h 654"/>
              <a:gd name="T60" fmla="*/ 88 w 520"/>
              <a:gd name="T61" fmla="*/ 633 h 654"/>
              <a:gd name="T62" fmla="*/ 47 w 520"/>
              <a:gd name="T63" fmla="*/ 587 h 654"/>
              <a:gd name="T64" fmla="*/ 29 w 520"/>
              <a:gd name="T65" fmla="*/ 575 h 654"/>
              <a:gd name="T66" fmla="*/ 19 w 520"/>
              <a:gd name="T67" fmla="*/ 557 h 654"/>
              <a:gd name="T68" fmla="*/ 9 w 520"/>
              <a:gd name="T69" fmla="*/ 550 h 654"/>
              <a:gd name="T70" fmla="*/ 0 w 520"/>
              <a:gd name="T71" fmla="*/ 523 h 654"/>
              <a:gd name="T72" fmla="*/ 73 w 520"/>
              <a:gd name="T73" fmla="*/ 460 h 654"/>
              <a:gd name="T74" fmla="*/ 76 w 520"/>
              <a:gd name="T75" fmla="*/ 438 h 654"/>
              <a:gd name="T76" fmla="*/ 69 w 520"/>
              <a:gd name="T77" fmla="*/ 418 h 654"/>
              <a:gd name="T78" fmla="*/ 82 w 520"/>
              <a:gd name="T79" fmla="*/ 309 h 654"/>
              <a:gd name="T80" fmla="*/ 83 w 520"/>
              <a:gd name="T81" fmla="*/ 246 h 654"/>
              <a:gd name="T82" fmla="*/ 95 w 520"/>
              <a:gd name="T83" fmla="*/ 229 h 654"/>
              <a:gd name="T84" fmla="*/ 136 w 520"/>
              <a:gd name="T85" fmla="*/ 219 h 654"/>
              <a:gd name="T86" fmla="*/ 181 w 520"/>
              <a:gd name="T87" fmla="*/ 161 h 654"/>
              <a:gd name="T88" fmla="*/ 183 w 520"/>
              <a:gd name="T89" fmla="*/ 104 h 654"/>
              <a:gd name="T90" fmla="*/ 182 w 520"/>
              <a:gd name="T91" fmla="*/ 70 h 654"/>
              <a:gd name="T92" fmla="*/ 167 w 520"/>
              <a:gd name="T93" fmla="*/ 37 h 654"/>
              <a:gd name="T94" fmla="*/ 203 w 520"/>
              <a:gd name="T95" fmla="*/ 5 h 654"/>
              <a:gd name="T96" fmla="*/ 230 w 520"/>
              <a:gd name="T97" fmla="*/ 3 h 654"/>
              <a:gd name="T98" fmla="*/ 272 w 520"/>
              <a:gd name="T99" fmla="*/ 30 h 654"/>
              <a:gd name="T100" fmla="*/ 341 w 520"/>
              <a:gd name="T101" fmla="*/ 44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20" h="654">
                <a:moveTo>
                  <a:pt x="341" y="44"/>
                </a:moveTo>
                <a:lnTo>
                  <a:pt x="357" y="42"/>
                </a:lnTo>
                <a:lnTo>
                  <a:pt x="369" y="37"/>
                </a:lnTo>
                <a:lnTo>
                  <a:pt x="381" y="36"/>
                </a:lnTo>
                <a:lnTo>
                  <a:pt x="392" y="37"/>
                </a:lnTo>
                <a:lnTo>
                  <a:pt x="403" y="39"/>
                </a:lnTo>
                <a:lnTo>
                  <a:pt x="412" y="37"/>
                </a:lnTo>
                <a:lnTo>
                  <a:pt x="417" y="30"/>
                </a:lnTo>
                <a:lnTo>
                  <a:pt x="421" y="19"/>
                </a:lnTo>
                <a:lnTo>
                  <a:pt x="428" y="12"/>
                </a:lnTo>
                <a:lnTo>
                  <a:pt x="434" y="11"/>
                </a:lnTo>
                <a:lnTo>
                  <a:pt x="443" y="16"/>
                </a:lnTo>
                <a:lnTo>
                  <a:pt x="459" y="25"/>
                </a:lnTo>
                <a:lnTo>
                  <a:pt x="468" y="30"/>
                </a:lnTo>
                <a:lnTo>
                  <a:pt x="481" y="33"/>
                </a:lnTo>
                <a:lnTo>
                  <a:pt x="489" y="36"/>
                </a:lnTo>
                <a:lnTo>
                  <a:pt x="496" y="41"/>
                </a:lnTo>
                <a:lnTo>
                  <a:pt x="505" y="44"/>
                </a:lnTo>
                <a:lnTo>
                  <a:pt x="509" y="46"/>
                </a:lnTo>
                <a:lnTo>
                  <a:pt x="512" y="49"/>
                </a:lnTo>
                <a:lnTo>
                  <a:pt x="515" y="61"/>
                </a:lnTo>
                <a:lnTo>
                  <a:pt x="520" y="69"/>
                </a:lnTo>
                <a:lnTo>
                  <a:pt x="513" y="78"/>
                </a:lnTo>
                <a:lnTo>
                  <a:pt x="511" y="84"/>
                </a:lnTo>
                <a:lnTo>
                  <a:pt x="511" y="94"/>
                </a:lnTo>
                <a:lnTo>
                  <a:pt x="518" y="112"/>
                </a:lnTo>
                <a:lnTo>
                  <a:pt x="519" y="119"/>
                </a:lnTo>
                <a:lnTo>
                  <a:pt x="518" y="126"/>
                </a:lnTo>
                <a:lnTo>
                  <a:pt x="516" y="133"/>
                </a:lnTo>
                <a:lnTo>
                  <a:pt x="510" y="138"/>
                </a:lnTo>
                <a:lnTo>
                  <a:pt x="504" y="144"/>
                </a:lnTo>
                <a:lnTo>
                  <a:pt x="489" y="152"/>
                </a:lnTo>
                <a:lnTo>
                  <a:pt x="482" y="158"/>
                </a:lnTo>
                <a:lnTo>
                  <a:pt x="478" y="163"/>
                </a:lnTo>
                <a:lnTo>
                  <a:pt x="472" y="171"/>
                </a:lnTo>
                <a:lnTo>
                  <a:pt x="468" y="175"/>
                </a:lnTo>
                <a:lnTo>
                  <a:pt x="464" y="179"/>
                </a:lnTo>
                <a:lnTo>
                  <a:pt x="459" y="183"/>
                </a:lnTo>
                <a:lnTo>
                  <a:pt x="456" y="189"/>
                </a:lnTo>
                <a:lnTo>
                  <a:pt x="455" y="197"/>
                </a:lnTo>
                <a:lnTo>
                  <a:pt x="455" y="211"/>
                </a:lnTo>
                <a:lnTo>
                  <a:pt x="456" y="223"/>
                </a:lnTo>
                <a:lnTo>
                  <a:pt x="458" y="233"/>
                </a:lnTo>
                <a:lnTo>
                  <a:pt x="461" y="239"/>
                </a:lnTo>
                <a:lnTo>
                  <a:pt x="465" y="243"/>
                </a:lnTo>
                <a:lnTo>
                  <a:pt x="469" y="246"/>
                </a:lnTo>
                <a:lnTo>
                  <a:pt x="471" y="252"/>
                </a:lnTo>
                <a:lnTo>
                  <a:pt x="473" y="268"/>
                </a:lnTo>
                <a:lnTo>
                  <a:pt x="478" y="289"/>
                </a:lnTo>
                <a:lnTo>
                  <a:pt x="477" y="297"/>
                </a:lnTo>
                <a:lnTo>
                  <a:pt x="450" y="327"/>
                </a:lnTo>
                <a:lnTo>
                  <a:pt x="431" y="355"/>
                </a:lnTo>
                <a:lnTo>
                  <a:pt x="428" y="362"/>
                </a:lnTo>
                <a:lnTo>
                  <a:pt x="429" y="370"/>
                </a:lnTo>
                <a:lnTo>
                  <a:pt x="431" y="375"/>
                </a:lnTo>
                <a:lnTo>
                  <a:pt x="437" y="381"/>
                </a:lnTo>
                <a:lnTo>
                  <a:pt x="441" y="384"/>
                </a:lnTo>
                <a:lnTo>
                  <a:pt x="446" y="391"/>
                </a:lnTo>
                <a:lnTo>
                  <a:pt x="448" y="399"/>
                </a:lnTo>
                <a:lnTo>
                  <a:pt x="448" y="415"/>
                </a:lnTo>
                <a:lnTo>
                  <a:pt x="451" y="423"/>
                </a:lnTo>
                <a:lnTo>
                  <a:pt x="458" y="436"/>
                </a:lnTo>
                <a:lnTo>
                  <a:pt x="456" y="441"/>
                </a:lnTo>
                <a:lnTo>
                  <a:pt x="447" y="448"/>
                </a:lnTo>
                <a:lnTo>
                  <a:pt x="438" y="452"/>
                </a:lnTo>
                <a:lnTo>
                  <a:pt x="428" y="460"/>
                </a:lnTo>
                <a:lnTo>
                  <a:pt x="421" y="471"/>
                </a:lnTo>
                <a:lnTo>
                  <a:pt x="417" y="490"/>
                </a:lnTo>
                <a:lnTo>
                  <a:pt x="419" y="516"/>
                </a:lnTo>
                <a:lnTo>
                  <a:pt x="420" y="519"/>
                </a:lnTo>
                <a:lnTo>
                  <a:pt x="422" y="523"/>
                </a:lnTo>
                <a:lnTo>
                  <a:pt x="422" y="527"/>
                </a:lnTo>
                <a:lnTo>
                  <a:pt x="419" y="532"/>
                </a:lnTo>
                <a:lnTo>
                  <a:pt x="407" y="540"/>
                </a:lnTo>
                <a:lnTo>
                  <a:pt x="401" y="547"/>
                </a:lnTo>
                <a:lnTo>
                  <a:pt x="399" y="556"/>
                </a:lnTo>
                <a:lnTo>
                  <a:pt x="399" y="563"/>
                </a:lnTo>
                <a:lnTo>
                  <a:pt x="395" y="572"/>
                </a:lnTo>
                <a:lnTo>
                  <a:pt x="391" y="578"/>
                </a:lnTo>
                <a:lnTo>
                  <a:pt x="368" y="594"/>
                </a:lnTo>
                <a:lnTo>
                  <a:pt x="355" y="589"/>
                </a:lnTo>
                <a:lnTo>
                  <a:pt x="271" y="599"/>
                </a:lnTo>
                <a:lnTo>
                  <a:pt x="246" y="604"/>
                </a:lnTo>
                <a:lnTo>
                  <a:pt x="229" y="611"/>
                </a:lnTo>
                <a:lnTo>
                  <a:pt x="213" y="626"/>
                </a:lnTo>
                <a:lnTo>
                  <a:pt x="203" y="635"/>
                </a:lnTo>
                <a:lnTo>
                  <a:pt x="179" y="647"/>
                </a:lnTo>
                <a:lnTo>
                  <a:pt x="158" y="652"/>
                </a:lnTo>
                <a:lnTo>
                  <a:pt x="139" y="654"/>
                </a:lnTo>
                <a:lnTo>
                  <a:pt x="123" y="652"/>
                </a:lnTo>
                <a:lnTo>
                  <a:pt x="115" y="648"/>
                </a:lnTo>
                <a:lnTo>
                  <a:pt x="102" y="639"/>
                </a:lnTo>
                <a:lnTo>
                  <a:pt x="88" y="633"/>
                </a:lnTo>
                <a:lnTo>
                  <a:pt x="78" y="627"/>
                </a:lnTo>
                <a:lnTo>
                  <a:pt x="68" y="617"/>
                </a:lnTo>
                <a:lnTo>
                  <a:pt x="47" y="587"/>
                </a:lnTo>
                <a:lnTo>
                  <a:pt x="40" y="582"/>
                </a:lnTo>
                <a:lnTo>
                  <a:pt x="34" y="578"/>
                </a:lnTo>
                <a:lnTo>
                  <a:pt x="29" y="575"/>
                </a:lnTo>
                <a:lnTo>
                  <a:pt x="26" y="569"/>
                </a:lnTo>
                <a:lnTo>
                  <a:pt x="23" y="560"/>
                </a:lnTo>
                <a:lnTo>
                  <a:pt x="19" y="557"/>
                </a:lnTo>
                <a:lnTo>
                  <a:pt x="16" y="555"/>
                </a:lnTo>
                <a:lnTo>
                  <a:pt x="12" y="553"/>
                </a:lnTo>
                <a:lnTo>
                  <a:pt x="9" y="550"/>
                </a:lnTo>
                <a:lnTo>
                  <a:pt x="4" y="543"/>
                </a:lnTo>
                <a:lnTo>
                  <a:pt x="2" y="540"/>
                </a:lnTo>
                <a:lnTo>
                  <a:pt x="0" y="523"/>
                </a:lnTo>
                <a:lnTo>
                  <a:pt x="36" y="503"/>
                </a:lnTo>
                <a:lnTo>
                  <a:pt x="60" y="479"/>
                </a:lnTo>
                <a:lnTo>
                  <a:pt x="73" y="460"/>
                </a:lnTo>
                <a:lnTo>
                  <a:pt x="76" y="452"/>
                </a:lnTo>
                <a:lnTo>
                  <a:pt x="77" y="445"/>
                </a:lnTo>
                <a:lnTo>
                  <a:pt x="76" y="438"/>
                </a:lnTo>
                <a:lnTo>
                  <a:pt x="73" y="432"/>
                </a:lnTo>
                <a:lnTo>
                  <a:pt x="70" y="425"/>
                </a:lnTo>
                <a:lnTo>
                  <a:pt x="69" y="418"/>
                </a:lnTo>
                <a:lnTo>
                  <a:pt x="87" y="331"/>
                </a:lnTo>
                <a:lnTo>
                  <a:pt x="87" y="323"/>
                </a:lnTo>
                <a:lnTo>
                  <a:pt x="82" y="309"/>
                </a:lnTo>
                <a:lnTo>
                  <a:pt x="81" y="288"/>
                </a:lnTo>
                <a:lnTo>
                  <a:pt x="83" y="258"/>
                </a:lnTo>
                <a:lnTo>
                  <a:pt x="83" y="246"/>
                </a:lnTo>
                <a:lnTo>
                  <a:pt x="86" y="240"/>
                </a:lnTo>
                <a:lnTo>
                  <a:pt x="89" y="235"/>
                </a:lnTo>
                <a:lnTo>
                  <a:pt x="95" y="229"/>
                </a:lnTo>
                <a:lnTo>
                  <a:pt x="103" y="226"/>
                </a:lnTo>
                <a:lnTo>
                  <a:pt x="127" y="223"/>
                </a:lnTo>
                <a:lnTo>
                  <a:pt x="136" y="219"/>
                </a:lnTo>
                <a:lnTo>
                  <a:pt x="160" y="199"/>
                </a:lnTo>
                <a:lnTo>
                  <a:pt x="173" y="178"/>
                </a:lnTo>
                <a:lnTo>
                  <a:pt x="181" y="161"/>
                </a:lnTo>
                <a:lnTo>
                  <a:pt x="183" y="142"/>
                </a:lnTo>
                <a:lnTo>
                  <a:pt x="182" y="121"/>
                </a:lnTo>
                <a:lnTo>
                  <a:pt x="183" y="104"/>
                </a:lnTo>
                <a:lnTo>
                  <a:pt x="185" y="89"/>
                </a:lnTo>
                <a:lnTo>
                  <a:pt x="185" y="78"/>
                </a:lnTo>
                <a:lnTo>
                  <a:pt x="182" y="70"/>
                </a:lnTo>
                <a:lnTo>
                  <a:pt x="171" y="52"/>
                </a:lnTo>
                <a:lnTo>
                  <a:pt x="168" y="44"/>
                </a:lnTo>
                <a:lnTo>
                  <a:pt x="167" y="37"/>
                </a:lnTo>
                <a:lnTo>
                  <a:pt x="167" y="23"/>
                </a:lnTo>
                <a:lnTo>
                  <a:pt x="181" y="19"/>
                </a:lnTo>
                <a:lnTo>
                  <a:pt x="203" y="5"/>
                </a:lnTo>
                <a:lnTo>
                  <a:pt x="211" y="0"/>
                </a:lnTo>
                <a:lnTo>
                  <a:pt x="221" y="0"/>
                </a:lnTo>
                <a:lnTo>
                  <a:pt x="230" y="3"/>
                </a:lnTo>
                <a:lnTo>
                  <a:pt x="238" y="7"/>
                </a:lnTo>
                <a:lnTo>
                  <a:pt x="259" y="22"/>
                </a:lnTo>
                <a:lnTo>
                  <a:pt x="272" y="30"/>
                </a:lnTo>
                <a:lnTo>
                  <a:pt x="288" y="36"/>
                </a:lnTo>
                <a:lnTo>
                  <a:pt x="324" y="44"/>
                </a:lnTo>
                <a:lnTo>
                  <a:pt x="341" y="4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1" name="Freeform 25">
            <a:extLst>
              <a:ext uri="{FF2B5EF4-FFF2-40B4-BE49-F238E27FC236}">
                <a16:creationId xmlns:a16="http://schemas.microsoft.com/office/drawing/2014/main" id="{0F95CCA7-9E74-6144-0711-916301265DC8}"/>
              </a:ext>
            </a:extLst>
          </p:cNvPr>
          <p:cNvSpPr>
            <a:spLocks/>
          </p:cNvSpPr>
          <p:nvPr/>
        </p:nvSpPr>
        <p:spPr bwMode="auto">
          <a:xfrm>
            <a:off x="7672696" y="1670616"/>
            <a:ext cx="807956" cy="631162"/>
          </a:xfrm>
          <a:custGeom>
            <a:avLst/>
            <a:gdLst>
              <a:gd name="T0" fmla="*/ 409 w 682"/>
              <a:gd name="T1" fmla="*/ 209 h 563"/>
              <a:gd name="T2" fmla="*/ 419 w 682"/>
              <a:gd name="T3" fmla="*/ 215 h 563"/>
              <a:gd name="T4" fmla="*/ 421 w 682"/>
              <a:gd name="T5" fmla="*/ 230 h 563"/>
              <a:gd name="T6" fmla="*/ 429 w 682"/>
              <a:gd name="T7" fmla="*/ 243 h 563"/>
              <a:gd name="T8" fmla="*/ 459 w 682"/>
              <a:gd name="T9" fmla="*/ 252 h 563"/>
              <a:gd name="T10" fmla="*/ 486 w 682"/>
              <a:gd name="T11" fmla="*/ 250 h 563"/>
              <a:gd name="T12" fmla="*/ 555 w 682"/>
              <a:gd name="T13" fmla="*/ 229 h 563"/>
              <a:gd name="T14" fmla="*/ 580 w 682"/>
              <a:gd name="T15" fmla="*/ 293 h 563"/>
              <a:gd name="T16" fmla="*/ 639 w 682"/>
              <a:gd name="T17" fmla="*/ 345 h 563"/>
              <a:gd name="T18" fmla="*/ 682 w 682"/>
              <a:gd name="T19" fmla="*/ 352 h 563"/>
              <a:gd name="T20" fmla="*/ 656 w 682"/>
              <a:gd name="T21" fmla="*/ 373 h 563"/>
              <a:gd name="T22" fmla="*/ 631 w 682"/>
              <a:gd name="T23" fmla="*/ 370 h 563"/>
              <a:gd name="T24" fmla="*/ 610 w 682"/>
              <a:gd name="T25" fmla="*/ 370 h 563"/>
              <a:gd name="T26" fmla="*/ 593 w 682"/>
              <a:gd name="T27" fmla="*/ 366 h 563"/>
              <a:gd name="T28" fmla="*/ 584 w 682"/>
              <a:gd name="T29" fmla="*/ 365 h 563"/>
              <a:gd name="T30" fmla="*/ 578 w 682"/>
              <a:gd name="T31" fmla="*/ 367 h 563"/>
              <a:gd name="T32" fmla="*/ 575 w 682"/>
              <a:gd name="T33" fmla="*/ 377 h 563"/>
              <a:gd name="T34" fmla="*/ 578 w 682"/>
              <a:gd name="T35" fmla="*/ 384 h 563"/>
              <a:gd name="T36" fmla="*/ 588 w 682"/>
              <a:gd name="T37" fmla="*/ 394 h 563"/>
              <a:gd name="T38" fmla="*/ 591 w 682"/>
              <a:gd name="T39" fmla="*/ 401 h 563"/>
              <a:gd name="T40" fmla="*/ 589 w 682"/>
              <a:gd name="T41" fmla="*/ 407 h 563"/>
              <a:gd name="T42" fmla="*/ 559 w 682"/>
              <a:gd name="T43" fmla="*/ 430 h 563"/>
              <a:gd name="T44" fmla="*/ 508 w 682"/>
              <a:gd name="T45" fmla="*/ 494 h 563"/>
              <a:gd name="T46" fmla="*/ 498 w 682"/>
              <a:gd name="T47" fmla="*/ 511 h 563"/>
              <a:gd name="T48" fmla="*/ 498 w 682"/>
              <a:gd name="T49" fmla="*/ 530 h 563"/>
              <a:gd name="T50" fmla="*/ 497 w 682"/>
              <a:gd name="T51" fmla="*/ 546 h 563"/>
              <a:gd name="T52" fmla="*/ 465 w 682"/>
              <a:gd name="T53" fmla="*/ 554 h 563"/>
              <a:gd name="T54" fmla="*/ 446 w 682"/>
              <a:gd name="T55" fmla="*/ 534 h 563"/>
              <a:gd name="T56" fmla="*/ 387 w 682"/>
              <a:gd name="T57" fmla="*/ 498 h 563"/>
              <a:gd name="T58" fmla="*/ 333 w 682"/>
              <a:gd name="T59" fmla="*/ 475 h 563"/>
              <a:gd name="T60" fmla="*/ 308 w 682"/>
              <a:gd name="T61" fmla="*/ 471 h 563"/>
              <a:gd name="T62" fmla="*/ 295 w 682"/>
              <a:gd name="T63" fmla="*/ 460 h 563"/>
              <a:gd name="T64" fmla="*/ 262 w 682"/>
              <a:gd name="T65" fmla="*/ 446 h 563"/>
              <a:gd name="T66" fmla="*/ 257 w 682"/>
              <a:gd name="T67" fmla="*/ 422 h 563"/>
              <a:gd name="T68" fmla="*/ 259 w 682"/>
              <a:gd name="T69" fmla="*/ 397 h 563"/>
              <a:gd name="T70" fmla="*/ 217 w 682"/>
              <a:gd name="T71" fmla="*/ 325 h 563"/>
              <a:gd name="T72" fmla="*/ 184 w 682"/>
              <a:gd name="T73" fmla="*/ 275 h 563"/>
              <a:gd name="T74" fmla="*/ 133 w 682"/>
              <a:gd name="T75" fmla="*/ 238 h 563"/>
              <a:gd name="T76" fmla="*/ 116 w 682"/>
              <a:gd name="T77" fmla="*/ 223 h 563"/>
              <a:gd name="T78" fmla="*/ 83 w 682"/>
              <a:gd name="T79" fmla="*/ 220 h 563"/>
              <a:gd name="T80" fmla="*/ 61 w 682"/>
              <a:gd name="T81" fmla="*/ 211 h 563"/>
              <a:gd name="T82" fmla="*/ 47 w 682"/>
              <a:gd name="T83" fmla="*/ 201 h 563"/>
              <a:gd name="T84" fmla="*/ 25 w 682"/>
              <a:gd name="T85" fmla="*/ 183 h 563"/>
              <a:gd name="T86" fmla="*/ 9 w 682"/>
              <a:gd name="T87" fmla="*/ 175 h 563"/>
              <a:gd name="T88" fmla="*/ 1 w 682"/>
              <a:gd name="T89" fmla="*/ 161 h 563"/>
              <a:gd name="T90" fmla="*/ 2 w 682"/>
              <a:gd name="T91" fmla="*/ 110 h 563"/>
              <a:gd name="T92" fmla="*/ 22 w 682"/>
              <a:gd name="T93" fmla="*/ 72 h 563"/>
              <a:gd name="T94" fmla="*/ 26 w 682"/>
              <a:gd name="T95" fmla="*/ 37 h 563"/>
              <a:gd name="T96" fmla="*/ 25 w 682"/>
              <a:gd name="T97" fmla="*/ 15 h 563"/>
              <a:gd name="T98" fmla="*/ 36 w 682"/>
              <a:gd name="T99" fmla="*/ 0 h 563"/>
              <a:gd name="T100" fmla="*/ 44 w 682"/>
              <a:gd name="T101" fmla="*/ 5 h 563"/>
              <a:gd name="T102" fmla="*/ 123 w 682"/>
              <a:gd name="T103" fmla="*/ 87 h 563"/>
              <a:gd name="T104" fmla="*/ 176 w 682"/>
              <a:gd name="T105" fmla="*/ 105 h 563"/>
              <a:gd name="T106" fmla="*/ 277 w 682"/>
              <a:gd name="T107" fmla="*/ 177 h 563"/>
              <a:gd name="T108" fmla="*/ 353 w 682"/>
              <a:gd name="T109" fmla="*/ 193 h 563"/>
              <a:gd name="T110" fmla="*/ 405 w 682"/>
              <a:gd name="T111" fmla="*/ 210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2" h="563">
                <a:moveTo>
                  <a:pt x="405" y="210"/>
                </a:moveTo>
                <a:lnTo>
                  <a:pt x="409" y="209"/>
                </a:lnTo>
                <a:lnTo>
                  <a:pt x="412" y="209"/>
                </a:lnTo>
                <a:lnTo>
                  <a:pt x="419" y="215"/>
                </a:lnTo>
                <a:lnTo>
                  <a:pt x="421" y="223"/>
                </a:lnTo>
                <a:lnTo>
                  <a:pt x="421" y="230"/>
                </a:lnTo>
                <a:lnTo>
                  <a:pt x="422" y="237"/>
                </a:lnTo>
                <a:lnTo>
                  <a:pt x="429" y="243"/>
                </a:lnTo>
                <a:lnTo>
                  <a:pt x="445" y="249"/>
                </a:lnTo>
                <a:lnTo>
                  <a:pt x="459" y="252"/>
                </a:lnTo>
                <a:lnTo>
                  <a:pt x="472" y="253"/>
                </a:lnTo>
                <a:lnTo>
                  <a:pt x="486" y="250"/>
                </a:lnTo>
                <a:lnTo>
                  <a:pt x="539" y="229"/>
                </a:lnTo>
                <a:lnTo>
                  <a:pt x="555" y="229"/>
                </a:lnTo>
                <a:lnTo>
                  <a:pt x="576" y="246"/>
                </a:lnTo>
                <a:lnTo>
                  <a:pt x="580" y="293"/>
                </a:lnTo>
                <a:lnTo>
                  <a:pt x="594" y="315"/>
                </a:lnTo>
                <a:lnTo>
                  <a:pt x="639" y="345"/>
                </a:lnTo>
                <a:lnTo>
                  <a:pt x="663" y="355"/>
                </a:lnTo>
                <a:lnTo>
                  <a:pt x="682" y="352"/>
                </a:lnTo>
                <a:lnTo>
                  <a:pt x="680" y="355"/>
                </a:lnTo>
                <a:lnTo>
                  <a:pt x="656" y="373"/>
                </a:lnTo>
                <a:lnTo>
                  <a:pt x="645" y="376"/>
                </a:lnTo>
                <a:lnTo>
                  <a:pt x="631" y="370"/>
                </a:lnTo>
                <a:lnTo>
                  <a:pt x="628" y="370"/>
                </a:lnTo>
                <a:lnTo>
                  <a:pt x="610" y="370"/>
                </a:lnTo>
                <a:lnTo>
                  <a:pt x="604" y="369"/>
                </a:lnTo>
                <a:lnTo>
                  <a:pt x="593" y="366"/>
                </a:lnTo>
                <a:lnTo>
                  <a:pt x="588" y="365"/>
                </a:lnTo>
                <a:lnTo>
                  <a:pt x="584" y="365"/>
                </a:lnTo>
                <a:lnTo>
                  <a:pt x="580" y="365"/>
                </a:lnTo>
                <a:lnTo>
                  <a:pt x="578" y="367"/>
                </a:lnTo>
                <a:lnTo>
                  <a:pt x="576" y="370"/>
                </a:lnTo>
                <a:lnTo>
                  <a:pt x="575" y="377"/>
                </a:lnTo>
                <a:lnTo>
                  <a:pt x="576" y="381"/>
                </a:lnTo>
                <a:lnTo>
                  <a:pt x="578" y="384"/>
                </a:lnTo>
                <a:lnTo>
                  <a:pt x="586" y="391"/>
                </a:lnTo>
                <a:lnTo>
                  <a:pt x="588" y="394"/>
                </a:lnTo>
                <a:lnTo>
                  <a:pt x="590" y="397"/>
                </a:lnTo>
                <a:lnTo>
                  <a:pt x="591" y="401"/>
                </a:lnTo>
                <a:lnTo>
                  <a:pt x="591" y="403"/>
                </a:lnTo>
                <a:lnTo>
                  <a:pt x="589" y="407"/>
                </a:lnTo>
                <a:lnTo>
                  <a:pt x="585" y="411"/>
                </a:lnTo>
                <a:lnTo>
                  <a:pt x="559" y="430"/>
                </a:lnTo>
                <a:lnTo>
                  <a:pt x="554" y="435"/>
                </a:lnTo>
                <a:lnTo>
                  <a:pt x="508" y="494"/>
                </a:lnTo>
                <a:lnTo>
                  <a:pt x="502" y="504"/>
                </a:lnTo>
                <a:lnTo>
                  <a:pt x="498" y="511"/>
                </a:lnTo>
                <a:lnTo>
                  <a:pt x="497" y="523"/>
                </a:lnTo>
                <a:lnTo>
                  <a:pt x="498" y="530"/>
                </a:lnTo>
                <a:lnTo>
                  <a:pt x="499" y="538"/>
                </a:lnTo>
                <a:lnTo>
                  <a:pt x="497" y="546"/>
                </a:lnTo>
                <a:lnTo>
                  <a:pt x="482" y="563"/>
                </a:lnTo>
                <a:lnTo>
                  <a:pt x="465" y="554"/>
                </a:lnTo>
                <a:lnTo>
                  <a:pt x="454" y="540"/>
                </a:lnTo>
                <a:lnTo>
                  <a:pt x="446" y="534"/>
                </a:lnTo>
                <a:lnTo>
                  <a:pt x="415" y="517"/>
                </a:lnTo>
                <a:lnTo>
                  <a:pt x="387" y="498"/>
                </a:lnTo>
                <a:lnTo>
                  <a:pt x="357" y="481"/>
                </a:lnTo>
                <a:lnTo>
                  <a:pt x="333" y="475"/>
                </a:lnTo>
                <a:lnTo>
                  <a:pt x="321" y="474"/>
                </a:lnTo>
                <a:lnTo>
                  <a:pt x="308" y="471"/>
                </a:lnTo>
                <a:lnTo>
                  <a:pt x="300" y="466"/>
                </a:lnTo>
                <a:lnTo>
                  <a:pt x="295" y="460"/>
                </a:lnTo>
                <a:lnTo>
                  <a:pt x="269" y="456"/>
                </a:lnTo>
                <a:lnTo>
                  <a:pt x="262" y="446"/>
                </a:lnTo>
                <a:lnTo>
                  <a:pt x="259" y="434"/>
                </a:lnTo>
                <a:lnTo>
                  <a:pt x="257" y="422"/>
                </a:lnTo>
                <a:lnTo>
                  <a:pt x="259" y="403"/>
                </a:lnTo>
                <a:lnTo>
                  <a:pt x="259" y="397"/>
                </a:lnTo>
                <a:lnTo>
                  <a:pt x="244" y="358"/>
                </a:lnTo>
                <a:lnTo>
                  <a:pt x="217" y="325"/>
                </a:lnTo>
                <a:lnTo>
                  <a:pt x="200" y="294"/>
                </a:lnTo>
                <a:lnTo>
                  <a:pt x="184" y="275"/>
                </a:lnTo>
                <a:lnTo>
                  <a:pt x="163" y="258"/>
                </a:lnTo>
                <a:lnTo>
                  <a:pt x="133" y="238"/>
                </a:lnTo>
                <a:lnTo>
                  <a:pt x="122" y="227"/>
                </a:lnTo>
                <a:lnTo>
                  <a:pt x="116" y="223"/>
                </a:lnTo>
                <a:lnTo>
                  <a:pt x="108" y="222"/>
                </a:lnTo>
                <a:lnTo>
                  <a:pt x="83" y="220"/>
                </a:lnTo>
                <a:lnTo>
                  <a:pt x="70" y="215"/>
                </a:lnTo>
                <a:lnTo>
                  <a:pt x="61" y="211"/>
                </a:lnTo>
                <a:lnTo>
                  <a:pt x="58" y="209"/>
                </a:lnTo>
                <a:lnTo>
                  <a:pt x="47" y="201"/>
                </a:lnTo>
                <a:lnTo>
                  <a:pt x="34" y="188"/>
                </a:lnTo>
                <a:lnTo>
                  <a:pt x="25" y="183"/>
                </a:lnTo>
                <a:lnTo>
                  <a:pt x="17" y="183"/>
                </a:lnTo>
                <a:lnTo>
                  <a:pt x="9" y="175"/>
                </a:lnTo>
                <a:lnTo>
                  <a:pt x="7" y="173"/>
                </a:lnTo>
                <a:lnTo>
                  <a:pt x="1" y="161"/>
                </a:lnTo>
                <a:lnTo>
                  <a:pt x="0" y="149"/>
                </a:lnTo>
                <a:lnTo>
                  <a:pt x="2" y="110"/>
                </a:lnTo>
                <a:lnTo>
                  <a:pt x="6" y="97"/>
                </a:lnTo>
                <a:lnTo>
                  <a:pt x="22" y="72"/>
                </a:lnTo>
                <a:lnTo>
                  <a:pt x="27" y="57"/>
                </a:lnTo>
                <a:lnTo>
                  <a:pt x="26" y="37"/>
                </a:lnTo>
                <a:lnTo>
                  <a:pt x="25" y="25"/>
                </a:lnTo>
                <a:lnTo>
                  <a:pt x="25" y="15"/>
                </a:lnTo>
                <a:lnTo>
                  <a:pt x="26" y="11"/>
                </a:lnTo>
                <a:lnTo>
                  <a:pt x="36" y="0"/>
                </a:lnTo>
                <a:lnTo>
                  <a:pt x="38" y="0"/>
                </a:lnTo>
                <a:lnTo>
                  <a:pt x="44" y="5"/>
                </a:lnTo>
                <a:lnTo>
                  <a:pt x="108" y="76"/>
                </a:lnTo>
                <a:lnTo>
                  <a:pt x="123" y="87"/>
                </a:lnTo>
                <a:lnTo>
                  <a:pt x="136" y="94"/>
                </a:lnTo>
                <a:lnTo>
                  <a:pt x="176" y="105"/>
                </a:lnTo>
                <a:lnTo>
                  <a:pt x="189" y="111"/>
                </a:lnTo>
                <a:lnTo>
                  <a:pt x="277" y="177"/>
                </a:lnTo>
                <a:lnTo>
                  <a:pt x="305" y="191"/>
                </a:lnTo>
                <a:lnTo>
                  <a:pt x="353" y="193"/>
                </a:lnTo>
                <a:lnTo>
                  <a:pt x="398" y="210"/>
                </a:lnTo>
                <a:lnTo>
                  <a:pt x="405" y="21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2" name="Freeform 26">
            <a:extLst>
              <a:ext uri="{FF2B5EF4-FFF2-40B4-BE49-F238E27FC236}">
                <a16:creationId xmlns:a16="http://schemas.microsoft.com/office/drawing/2014/main" id="{BE6C6233-E298-FF31-8CDA-7FC7AE4F0272}"/>
              </a:ext>
            </a:extLst>
          </p:cNvPr>
          <p:cNvSpPr>
            <a:spLocks/>
          </p:cNvSpPr>
          <p:nvPr/>
        </p:nvSpPr>
        <p:spPr bwMode="auto">
          <a:xfrm>
            <a:off x="6894358" y="4216564"/>
            <a:ext cx="819803" cy="467486"/>
          </a:xfrm>
          <a:custGeom>
            <a:avLst/>
            <a:gdLst>
              <a:gd name="T0" fmla="*/ 437 w 692"/>
              <a:gd name="T1" fmla="*/ 124 h 417"/>
              <a:gd name="T2" fmla="*/ 487 w 692"/>
              <a:gd name="T3" fmla="*/ 88 h 417"/>
              <a:gd name="T4" fmla="*/ 613 w 692"/>
              <a:gd name="T5" fmla="*/ 66 h 417"/>
              <a:gd name="T6" fmla="*/ 636 w 692"/>
              <a:gd name="T7" fmla="*/ 84 h 417"/>
              <a:gd name="T8" fmla="*/ 692 w 692"/>
              <a:gd name="T9" fmla="*/ 118 h 417"/>
              <a:gd name="T10" fmla="*/ 690 w 692"/>
              <a:gd name="T11" fmla="*/ 170 h 417"/>
              <a:gd name="T12" fmla="*/ 687 w 692"/>
              <a:gd name="T13" fmla="*/ 196 h 417"/>
              <a:gd name="T14" fmla="*/ 667 w 692"/>
              <a:gd name="T15" fmla="*/ 232 h 417"/>
              <a:gd name="T16" fmla="*/ 656 w 692"/>
              <a:gd name="T17" fmla="*/ 242 h 417"/>
              <a:gd name="T18" fmla="*/ 647 w 692"/>
              <a:gd name="T19" fmla="*/ 240 h 417"/>
              <a:gd name="T20" fmla="*/ 606 w 692"/>
              <a:gd name="T21" fmla="*/ 263 h 417"/>
              <a:gd name="T22" fmla="*/ 597 w 692"/>
              <a:gd name="T23" fmla="*/ 287 h 417"/>
              <a:gd name="T24" fmla="*/ 563 w 692"/>
              <a:gd name="T25" fmla="*/ 301 h 417"/>
              <a:gd name="T26" fmla="*/ 535 w 692"/>
              <a:gd name="T27" fmla="*/ 323 h 417"/>
              <a:gd name="T28" fmla="*/ 510 w 692"/>
              <a:gd name="T29" fmla="*/ 324 h 417"/>
              <a:gd name="T30" fmla="*/ 489 w 692"/>
              <a:gd name="T31" fmla="*/ 331 h 417"/>
              <a:gd name="T32" fmla="*/ 484 w 692"/>
              <a:gd name="T33" fmla="*/ 352 h 417"/>
              <a:gd name="T34" fmla="*/ 485 w 692"/>
              <a:gd name="T35" fmla="*/ 368 h 417"/>
              <a:gd name="T36" fmla="*/ 468 w 692"/>
              <a:gd name="T37" fmla="*/ 393 h 417"/>
              <a:gd name="T38" fmla="*/ 468 w 692"/>
              <a:gd name="T39" fmla="*/ 414 h 417"/>
              <a:gd name="T40" fmla="*/ 455 w 692"/>
              <a:gd name="T41" fmla="*/ 413 h 417"/>
              <a:gd name="T42" fmla="*/ 437 w 692"/>
              <a:gd name="T43" fmla="*/ 416 h 417"/>
              <a:gd name="T44" fmla="*/ 391 w 692"/>
              <a:gd name="T45" fmla="*/ 410 h 417"/>
              <a:gd name="T46" fmla="*/ 381 w 692"/>
              <a:gd name="T47" fmla="*/ 380 h 417"/>
              <a:gd name="T48" fmla="*/ 351 w 692"/>
              <a:gd name="T49" fmla="*/ 350 h 417"/>
              <a:gd name="T50" fmla="*/ 313 w 692"/>
              <a:gd name="T51" fmla="*/ 306 h 417"/>
              <a:gd name="T52" fmla="*/ 292 w 692"/>
              <a:gd name="T53" fmla="*/ 299 h 417"/>
              <a:gd name="T54" fmla="*/ 285 w 692"/>
              <a:gd name="T55" fmla="*/ 312 h 417"/>
              <a:gd name="T56" fmla="*/ 262 w 692"/>
              <a:gd name="T57" fmla="*/ 326 h 417"/>
              <a:gd name="T58" fmla="*/ 253 w 692"/>
              <a:gd name="T59" fmla="*/ 340 h 417"/>
              <a:gd name="T60" fmla="*/ 243 w 692"/>
              <a:gd name="T61" fmla="*/ 355 h 417"/>
              <a:gd name="T62" fmla="*/ 166 w 692"/>
              <a:gd name="T63" fmla="*/ 286 h 417"/>
              <a:gd name="T64" fmla="*/ 154 w 692"/>
              <a:gd name="T65" fmla="*/ 264 h 417"/>
              <a:gd name="T66" fmla="*/ 119 w 692"/>
              <a:gd name="T67" fmla="*/ 248 h 417"/>
              <a:gd name="T68" fmla="*/ 92 w 692"/>
              <a:gd name="T69" fmla="*/ 212 h 417"/>
              <a:gd name="T70" fmla="*/ 52 w 692"/>
              <a:gd name="T71" fmla="*/ 196 h 417"/>
              <a:gd name="T72" fmla="*/ 7 w 692"/>
              <a:gd name="T73" fmla="*/ 209 h 417"/>
              <a:gd name="T74" fmla="*/ 38 w 692"/>
              <a:gd name="T75" fmla="*/ 160 h 417"/>
              <a:gd name="T76" fmla="*/ 59 w 692"/>
              <a:gd name="T77" fmla="*/ 137 h 417"/>
              <a:gd name="T78" fmla="*/ 60 w 692"/>
              <a:gd name="T79" fmla="*/ 121 h 417"/>
              <a:gd name="T80" fmla="*/ 73 w 692"/>
              <a:gd name="T81" fmla="*/ 89 h 417"/>
              <a:gd name="T82" fmla="*/ 108 w 692"/>
              <a:gd name="T83" fmla="*/ 66 h 417"/>
              <a:gd name="T84" fmla="*/ 216 w 692"/>
              <a:gd name="T85" fmla="*/ 42 h 417"/>
              <a:gd name="T86" fmla="*/ 248 w 692"/>
              <a:gd name="T87" fmla="*/ 18 h 417"/>
              <a:gd name="T88" fmla="*/ 260 w 692"/>
              <a:gd name="T89" fmla="*/ 17 h 417"/>
              <a:gd name="T90" fmla="*/ 270 w 692"/>
              <a:gd name="T91" fmla="*/ 30 h 417"/>
              <a:gd name="T92" fmla="*/ 281 w 692"/>
              <a:gd name="T93" fmla="*/ 37 h 417"/>
              <a:gd name="T94" fmla="*/ 292 w 692"/>
              <a:gd name="T95" fmla="*/ 55 h 417"/>
              <a:gd name="T96" fmla="*/ 326 w 692"/>
              <a:gd name="T97" fmla="*/ 94 h 417"/>
              <a:gd name="T98" fmla="*/ 360 w 692"/>
              <a:gd name="T99" fmla="*/ 116 h 417"/>
              <a:gd name="T100" fmla="*/ 397 w 692"/>
              <a:gd name="T101" fmla="*/ 131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92" h="417">
                <a:moveTo>
                  <a:pt x="397" y="131"/>
                </a:moveTo>
                <a:lnTo>
                  <a:pt x="416" y="129"/>
                </a:lnTo>
                <a:lnTo>
                  <a:pt x="437" y="124"/>
                </a:lnTo>
                <a:lnTo>
                  <a:pt x="461" y="112"/>
                </a:lnTo>
                <a:lnTo>
                  <a:pt x="471" y="103"/>
                </a:lnTo>
                <a:lnTo>
                  <a:pt x="487" y="88"/>
                </a:lnTo>
                <a:lnTo>
                  <a:pt x="504" y="81"/>
                </a:lnTo>
                <a:lnTo>
                  <a:pt x="529" y="76"/>
                </a:lnTo>
                <a:lnTo>
                  <a:pt x="613" y="66"/>
                </a:lnTo>
                <a:lnTo>
                  <a:pt x="626" y="71"/>
                </a:lnTo>
                <a:lnTo>
                  <a:pt x="627" y="79"/>
                </a:lnTo>
                <a:lnTo>
                  <a:pt x="636" y="84"/>
                </a:lnTo>
                <a:lnTo>
                  <a:pt x="677" y="103"/>
                </a:lnTo>
                <a:lnTo>
                  <a:pt x="688" y="110"/>
                </a:lnTo>
                <a:lnTo>
                  <a:pt x="692" y="118"/>
                </a:lnTo>
                <a:lnTo>
                  <a:pt x="690" y="124"/>
                </a:lnTo>
                <a:lnTo>
                  <a:pt x="689" y="132"/>
                </a:lnTo>
                <a:lnTo>
                  <a:pt x="690" y="170"/>
                </a:lnTo>
                <a:lnTo>
                  <a:pt x="688" y="182"/>
                </a:lnTo>
                <a:lnTo>
                  <a:pt x="687" y="188"/>
                </a:lnTo>
                <a:lnTo>
                  <a:pt x="687" y="196"/>
                </a:lnTo>
                <a:lnTo>
                  <a:pt x="686" y="201"/>
                </a:lnTo>
                <a:lnTo>
                  <a:pt x="684" y="207"/>
                </a:lnTo>
                <a:lnTo>
                  <a:pt x="667" y="232"/>
                </a:lnTo>
                <a:lnTo>
                  <a:pt x="661" y="239"/>
                </a:lnTo>
                <a:lnTo>
                  <a:pt x="658" y="241"/>
                </a:lnTo>
                <a:lnTo>
                  <a:pt x="656" y="242"/>
                </a:lnTo>
                <a:lnTo>
                  <a:pt x="653" y="242"/>
                </a:lnTo>
                <a:lnTo>
                  <a:pt x="651" y="242"/>
                </a:lnTo>
                <a:lnTo>
                  <a:pt x="647" y="240"/>
                </a:lnTo>
                <a:lnTo>
                  <a:pt x="636" y="239"/>
                </a:lnTo>
                <a:lnTo>
                  <a:pt x="612" y="255"/>
                </a:lnTo>
                <a:lnTo>
                  <a:pt x="606" y="263"/>
                </a:lnTo>
                <a:lnTo>
                  <a:pt x="602" y="271"/>
                </a:lnTo>
                <a:lnTo>
                  <a:pt x="601" y="278"/>
                </a:lnTo>
                <a:lnTo>
                  <a:pt x="597" y="287"/>
                </a:lnTo>
                <a:lnTo>
                  <a:pt x="587" y="294"/>
                </a:lnTo>
                <a:lnTo>
                  <a:pt x="579" y="297"/>
                </a:lnTo>
                <a:lnTo>
                  <a:pt x="563" y="301"/>
                </a:lnTo>
                <a:lnTo>
                  <a:pt x="557" y="305"/>
                </a:lnTo>
                <a:lnTo>
                  <a:pt x="544" y="316"/>
                </a:lnTo>
                <a:lnTo>
                  <a:pt x="535" y="323"/>
                </a:lnTo>
                <a:lnTo>
                  <a:pt x="529" y="326"/>
                </a:lnTo>
                <a:lnTo>
                  <a:pt x="523" y="327"/>
                </a:lnTo>
                <a:lnTo>
                  <a:pt x="510" y="324"/>
                </a:lnTo>
                <a:lnTo>
                  <a:pt x="502" y="324"/>
                </a:lnTo>
                <a:lnTo>
                  <a:pt x="495" y="327"/>
                </a:lnTo>
                <a:lnTo>
                  <a:pt x="489" y="331"/>
                </a:lnTo>
                <a:lnTo>
                  <a:pt x="484" y="338"/>
                </a:lnTo>
                <a:lnTo>
                  <a:pt x="483" y="344"/>
                </a:lnTo>
                <a:lnTo>
                  <a:pt x="484" y="352"/>
                </a:lnTo>
                <a:lnTo>
                  <a:pt x="487" y="358"/>
                </a:lnTo>
                <a:lnTo>
                  <a:pt x="488" y="364"/>
                </a:lnTo>
                <a:lnTo>
                  <a:pt x="485" y="368"/>
                </a:lnTo>
                <a:lnTo>
                  <a:pt x="483" y="372"/>
                </a:lnTo>
                <a:lnTo>
                  <a:pt x="470" y="388"/>
                </a:lnTo>
                <a:lnTo>
                  <a:pt x="468" y="393"/>
                </a:lnTo>
                <a:lnTo>
                  <a:pt x="467" y="398"/>
                </a:lnTo>
                <a:lnTo>
                  <a:pt x="468" y="409"/>
                </a:lnTo>
                <a:lnTo>
                  <a:pt x="468" y="414"/>
                </a:lnTo>
                <a:lnTo>
                  <a:pt x="465" y="415"/>
                </a:lnTo>
                <a:lnTo>
                  <a:pt x="461" y="414"/>
                </a:lnTo>
                <a:lnTo>
                  <a:pt x="455" y="413"/>
                </a:lnTo>
                <a:lnTo>
                  <a:pt x="450" y="414"/>
                </a:lnTo>
                <a:lnTo>
                  <a:pt x="443" y="415"/>
                </a:lnTo>
                <a:lnTo>
                  <a:pt x="437" y="416"/>
                </a:lnTo>
                <a:lnTo>
                  <a:pt x="426" y="417"/>
                </a:lnTo>
                <a:lnTo>
                  <a:pt x="401" y="414"/>
                </a:lnTo>
                <a:lnTo>
                  <a:pt x="391" y="410"/>
                </a:lnTo>
                <a:lnTo>
                  <a:pt x="388" y="403"/>
                </a:lnTo>
                <a:lnTo>
                  <a:pt x="385" y="387"/>
                </a:lnTo>
                <a:lnTo>
                  <a:pt x="381" y="380"/>
                </a:lnTo>
                <a:lnTo>
                  <a:pt x="377" y="374"/>
                </a:lnTo>
                <a:lnTo>
                  <a:pt x="363" y="358"/>
                </a:lnTo>
                <a:lnTo>
                  <a:pt x="351" y="350"/>
                </a:lnTo>
                <a:lnTo>
                  <a:pt x="332" y="325"/>
                </a:lnTo>
                <a:lnTo>
                  <a:pt x="323" y="315"/>
                </a:lnTo>
                <a:lnTo>
                  <a:pt x="313" y="306"/>
                </a:lnTo>
                <a:lnTo>
                  <a:pt x="305" y="301"/>
                </a:lnTo>
                <a:lnTo>
                  <a:pt x="297" y="299"/>
                </a:lnTo>
                <a:lnTo>
                  <a:pt x="292" y="299"/>
                </a:lnTo>
                <a:lnTo>
                  <a:pt x="288" y="302"/>
                </a:lnTo>
                <a:lnTo>
                  <a:pt x="286" y="306"/>
                </a:lnTo>
                <a:lnTo>
                  <a:pt x="285" y="312"/>
                </a:lnTo>
                <a:lnTo>
                  <a:pt x="281" y="316"/>
                </a:lnTo>
                <a:lnTo>
                  <a:pt x="275" y="320"/>
                </a:lnTo>
                <a:lnTo>
                  <a:pt x="262" y="326"/>
                </a:lnTo>
                <a:lnTo>
                  <a:pt x="256" y="330"/>
                </a:lnTo>
                <a:lnTo>
                  <a:pt x="253" y="335"/>
                </a:lnTo>
                <a:lnTo>
                  <a:pt x="253" y="340"/>
                </a:lnTo>
                <a:lnTo>
                  <a:pt x="251" y="346"/>
                </a:lnTo>
                <a:lnTo>
                  <a:pt x="249" y="351"/>
                </a:lnTo>
                <a:lnTo>
                  <a:pt x="243" y="355"/>
                </a:lnTo>
                <a:lnTo>
                  <a:pt x="235" y="353"/>
                </a:lnTo>
                <a:lnTo>
                  <a:pt x="225" y="348"/>
                </a:lnTo>
                <a:lnTo>
                  <a:pt x="166" y="286"/>
                </a:lnTo>
                <a:lnTo>
                  <a:pt x="160" y="277"/>
                </a:lnTo>
                <a:lnTo>
                  <a:pt x="156" y="271"/>
                </a:lnTo>
                <a:lnTo>
                  <a:pt x="154" y="264"/>
                </a:lnTo>
                <a:lnTo>
                  <a:pt x="147" y="257"/>
                </a:lnTo>
                <a:lnTo>
                  <a:pt x="137" y="250"/>
                </a:lnTo>
                <a:lnTo>
                  <a:pt x="119" y="248"/>
                </a:lnTo>
                <a:lnTo>
                  <a:pt x="111" y="245"/>
                </a:lnTo>
                <a:lnTo>
                  <a:pt x="104" y="238"/>
                </a:lnTo>
                <a:lnTo>
                  <a:pt x="92" y="212"/>
                </a:lnTo>
                <a:lnTo>
                  <a:pt x="85" y="203"/>
                </a:lnTo>
                <a:lnTo>
                  <a:pt x="75" y="197"/>
                </a:lnTo>
                <a:lnTo>
                  <a:pt x="52" y="196"/>
                </a:lnTo>
                <a:lnTo>
                  <a:pt x="33" y="201"/>
                </a:lnTo>
                <a:lnTo>
                  <a:pt x="16" y="210"/>
                </a:lnTo>
                <a:lnTo>
                  <a:pt x="7" y="209"/>
                </a:lnTo>
                <a:lnTo>
                  <a:pt x="1" y="203"/>
                </a:lnTo>
                <a:lnTo>
                  <a:pt x="0" y="195"/>
                </a:lnTo>
                <a:lnTo>
                  <a:pt x="38" y="160"/>
                </a:lnTo>
                <a:lnTo>
                  <a:pt x="60" y="145"/>
                </a:lnTo>
                <a:lnTo>
                  <a:pt x="61" y="142"/>
                </a:lnTo>
                <a:lnTo>
                  <a:pt x="59" y="137"/>
                </a:lnTo>
                <a:lnTo>
                  <a:pt x="56" y="132"/>
                </a:lnTo>
                <a:lnTo>
                  <a:pt x="56" y="127"/>
                </a:lnTo>
                <a:lnTo>
                  <a:pt x="60" y="121"/>
                </a:lnTo>
                <a:lnTo>
                  <a:pt x="60" y="105"/>
                </a:lnTo>
                <a:lnTo>
                  <a:pt x="66" y="96"/>
                </a:lnTo>
                <a:lnTo>
                  <a:pt x="73" y="89"/>
                </a:lnTo>
                <a:lnTo>
                  <a:pt x="91" y="75"/>
                </a:lnTo>
                <a:lnTo>
                  <a:pt x="101" y="69"/>
                </a:lnTo>
                <a:lnTo>
                  <a:pt x="108" y="66"/>
                </a:lnTo>
                <a:lnTo>
                  <a:pt x="188" y="52"/>
                </a:lnTo>
                <a:lnTo>
                  <a:pt x="201" y="47"/>
                </a:lnTo>
                <a:lnTo>
                  <a:pt x="216" y="42"/>
                </a:lnTo>
                <a:lnTo>
                  <a:pt x="232" y="33"/>
                </a:lnTo>
                <a:lnTo>
                  <a:pt x="241" y="26"/>
                </a:lnTo>
                <a:lnTo>
                  <a:pt x="248" y="18"/>
                </a:lnTo>
                <a:lnTo>
                  <a:pt x="251" y="13"/>
                </a:lnTo>
                <a:lnTo>
                  <a:pt x="258" y="0"/>
                </a:lnTo>
                <a:lnTo>
                  <a:pt x="260" y="17"/>
                </a:lnTo>
                <a:lnTo>
                  <a:pt x="262" y="20"/>
                </a:lnTo>
                <a:lnTo>
                  <a:pt x="267" y="27"/>
                </a:lnTo>
                <a:lnTo>
                  <a:pt x="270" y="30"/>
                </a:lnTo>
                <a:lnTo>
                  <a:pt x="274" y="32"/>
                </a:lnTo>
                <a:lnTo>
                  <a:pt x="277" y="34"/>
                </a:lnTo>
                <a:lnTo>
                  <a:pt x="281" y="37"/>
                </a:lnTo>
                <a:lnTo>
                  <a:pt x="284" y="46"/>
                </a:lnTo>
                <a:lnTo>
                  <a:pt x="287" y="52"/>
                </a:lnTo>
                <a:lnTo>
                  <a:pt x="292" y="55"/>
                </a:lnTo>
                <a:lnTo>
                  <a:pt x="298" y="59"/>
                </a:lnTo>
                <a:lnTo>
                  <a:pt x="305" y="64"/>
                </a:lnTo>
                <a:lnTo>
                  <a:pt x="326" y="94"/>
                </a:lnTo>
                <a:lnTo>
                  <a:pt x="336" y="104"/>
                </a:lnTo>
                <a:lnTo>
                  <a:pt x="346" y="110"/>
                </a:lnTo>
                <a:lnTo>
                  <a:pt x="360" y="116"/>
                </a:lnTo>
                <a:lnTo>
                  <a:pt x="373" y="125"/>
                </a:lnTo>
                <a:lnTo>
                  <a:pt x="381" y="129"/>
                </a:lnTo>
                <a:lnTo>
                  <a:pt x="397" y="13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3" name="Freeform 27">
            <a:extLst>
              <a:ext uri="{FF2B5EF4-FFF2-40B4-BE49-F238E27FC236}">
                <a16:creationId xmlns:a16="http://schemas.microsoft.com/office/drawing/2014/main" id="{4032C8EE-D663-9E5C-04D0-3A602B3D016C}"/>
              </a:ext>
            </a:extLst>
          </p:cNvPr>
          <p:cNvSpPr>
            <a:spLocks/>
          </p:cNvSpPr>
          <p:nvPr/>
        </p:nvSpPr>
        <p:spPr bwMode="auto">
          <a:xfrm>
            <a:off x="6995056" y="3426211"/>
            <a:ext cx="424118" cy="790354"/>
          </a:xfrm>
          <a:custGeom>
            <a:avLst/>
            <a:gdLst>
              <a:gd name="T0" fmla="*/ 292 w 358"/>
              <a:gd name="T1" fmla="*/ 34 h 705"/>
              <a:gd name="T2" fmla="*/ 330 w 358"/>
              <a:gd name="T3" fmla="*/ 12 h 705"/>
              <a:gd name="T4" fmla="*/ 333 w 358"/>
              <a:gd name="T5" fmla="*/ 52 h 705"/>
              <a:gd name="T6" fmla="*/ 320 w 358"/>
              <a:gd name="T7" fmla="*/ 109 h 705"/>
              <a:gd name="T8" fmla="*/ 311 w 358"/>
              <a:gd name="T9" fmla="*/ 164 h 705"/>
              <a:gd name="T10" fmla="*/ 340 w 358"/>
              <a:gd name="T11" fmla="*/ 205 h 705"/>
              <a:gd name="T12" fmla="*/ 344 w 358"/>
              <a:gd name="T13" fmla="*/ 234 h 705"/>
              <a:gd name="T14" fmla="*/ 358 w 358"/>
              <a:gd name="T15" fmla="*/ 271 h 705"/>
              <a:gd name="T16" fmla="*/ 356 w 358"/>
              <a:gd name="T17" fmla="*/ 324 h 705"/>
              <a:gd name="T18" fmla="*/ 333 w 358"/>
              <a:gd name="T19" fmla="*/ 381 h 705"/>
              <a:gd name="T20" fmla="*/ 276 w 358"/>
              <a:gd name="T21" fmla="*/ 408 h 705"/>
              <a:gd name="T22" fmla="*/ 259 w 358"/>
              <a:gd name="T23" fmla="*/ 422 h 705"/>
              <a:gd name="T24" fmla="*/ 254 w 358"/>
              <a:gd name="T25" fmla="*/ 470 h 705"/>
              <a:gd name="T26" fmla="*/ 260 w 358"/>
              <a:gd name="T27" fmla="*/ 513 h 705"/>
              <a:gd name="T28" fmla="*/ 246 w 358"/>
              <a:gd name="T29" fmla="*/ 614 h 705"/>
              <a:gd name="T30" fmla="*/ 249 w 358"/>
              <a:gd name="T31" fmla="*/ 634 h 705"/>
              <a:gd name="T32" fmla="*/ 209 w 358"/>
              <a:gd name="T33" fmla="*/ 685 h 705"/>
              <a:gd name="T34" fmla="*/ 172 w 358"/>
              <a:gd name="T35" fmla="*/ 671 h 705"/>
              <a:gd name="T36" fmla="*/ 153 w 358"/>
              <a:gd name="T37" fmla="*/ 670 h 705"/>
              <a:gd name="T38" fmla="*/ 137 w 358"/>
              <a:gd name="T39" fmla="*/ 677 h 705"/>
              <a:gd name="T40" fmla="*/ 112 w 358"/>
              <a:gd name="T41" fmla="*/ 651 h 705"/>
              <a:gd name="T42" fmla="*/ 122 w 358"/>
              <a:gd name="T43" fmla="*/ 612 h 705"/>
              <a:gd name="T44" fmla="*/ 73 w 358"/>
              <a:gd name="T45" fmla="*/ 537 h 705"/>
              <a:gd name="T46" fmla="*/ 84 w 358"/>
              <a:gd name="T47" fmla="*/ 519 h 705"/>
              <a:gd name="T48" fmla="*/ 105 w 358"/>
              <a:gd name="T49" fmla="*/ 459 h 705"/>
              <a:gd name="T50" fmla="*/ 98 w 358"/>
              <a:gd name="T51" fmla="*/ 435 h 705"/>
              <a:gd name="T52" fmla="*/ 90 w 358"/>
              <a:gd name="T53" fmla="*/ 410 h 705"/>
              <a:gd name="T54" fmla="*/ 72 w 358"/>
              <a:gd name="T55" fmla="*/ 361 h 705"/>
              <a:gd name="T56" fmla="*/ 55 w 358"/>
              <a:gd name="T57" fmla="*/ 337 h 705"/>
              <a:gd name="T58" fmla="*/ 44 w 358"/>
              <a:gd name="T59" fmla="*/ 333 h 705"/>
              <a:gd name="T60" fmla="*/ 32 w 358"/>
              <a:gd name="T61" fmla="*/ 329 h 705"/>
              <a:gd name="T62" fmla="*/ 35 w 358"/>
              <a:gd name="T63" fmla="*/ 319 h 705"/>
              <a:gd name="T64" fmla="*/ 64 w 358"/>
              <a:gd name="T65" fmla="*/ 290 h 705"/>
              <a:gd name="T66" fmla="*/ 75 w 358"/>
              <a:gd name="T67" fmla="*/ 293 h 705"/>
              <a:gd name="T68" fmla="*/ 85 w 358"/>
              <a:gd name="T69" fmla="*/ 284 h 705"/>
              <a:gd name="T70" fmla="*/ 93 w 358"/>
              <a:gd name="T71" fmla="*/ 260 h 705"/>
              <a:gd name="T72" fmla="*/ 61 w 358"/>
              <a:gd name="T73" fmla="*/ 232 h 705"/>
              <a:gd name="T74" fmla="*/ 44 w 358"/>
              <a:gd name="T75" fmla="*/ 198 h 705"/>
              <a:gd name="T76" fmla="*/ 49 w 358"/>
              <a:gd name="T77" fmla="*/ 135 h 705"/>
              <a:gd name="T78" fmla="*/ 59 w 358"/>
              <a:gd name="T79" fmla="*/ 132 h 705"/>
              <a:gd name="T80" fmla="*/ 65 w 358"/>
              <a:gd name="T81" fmla="*/ 122 h 705"/>
              <a:gd name="T82" fmla="*/ 34 w 358"/>
              <a:gd name="T83" fmla="*/ 93 h 705"/>
              <a:gd name="T84" fmla="*/ 17 w 358"/>
              <a:gd name="T85" fmla="*/ 110 h 705"/>
              <a:gd name="T86" fmla="*/ 2 w 358"/>
              <a:gd name="T87" fmla="*/ 115 h 705"/>
              <a:gd name="T88" fmla="*/ 12 w 358"/>
              <a:gd name="T89" fmla="*/ 91 h 705"/>
              <a:gd name="T90" fmla="*/ 72 w 358"/>
              <a:gd name="T91" fmla="*/ 34 h 705"/>
              <a:gd name="T92" fmla="*/ 168 w 358"/>
              <a:gd name="T93" fmla="*/ 3 h 705"/>
              <a:gd name="T94" fmla="*/ 204 w 358"/>
              <a:gd name="T95" fmla="*/ 2 h 705"/>
              <a:gd name="T96" fmla="*/ 216 w 358"/>
              <a:gd name="T97" fmla="*/ 15 h 705"/>
              <a:gd name="T98" fmla="*/ 266 w 358"/>
              <a:gd name="T99" fmla="*/ 38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58" h="705">
                <a:moveTo>
                  <a:pt x="266" y="38"/>
                </a:moveTo>
                <a:lnTo>
                  <a:pt x="281" y="37"/>
                </a:lnTo>
                <a:lnTo>
                  <a:pt x="292" y="34"/>
                </a:lnTo>
                <a:lnTo>
                  <a:pt x="311" y="19"/>
                </a:lnTo>
                <a:lnTo>
                  <a:pt x="322" y="13"/>
                </a:lnTo>
                <a:lnTo>
                  <a:pt x="330" y="12"/>
                </a:lnTo>
                <a:lnTo>
                  <a:pt x="350" y="18"/>
                </a:lnTo>
                <a:lnTo>
                  <a:pt x="334" y="44"/>
                </a:lnTo>
                <a:lnTo>
                  <a:pt x="333" y="52"/>
                </a:lnTo>
                <a:lnTo>
                  <a:pt x="332" y="78"/>
                </a:lnTo>
                <a:lnTo>
                  <a:pt x="329" y="89"/>
                </a:lnTo>
                <a:lnTo>
                  <a:pt x="320" y="109"/>
                </a:lnTo>
                <a:lnTo>
                  <a:pt x="316" y="121"/>
                </a:lnTo>
                <a:lnTo>
                  <a:pt x="308" y="154"/>
                </a:lnTo>
                <a:lnTo>
                  <a:pt x="311" y="164"/>
                </a:lnTo>
                <a:lnTo>
                  <a:pt x="327" y="188"/>
                </a:lnTo>
                <a:lnTo>
                  <a:pt x="334" y="197"/>
                </a:lnTo>
                <a:lnTo>
                  <a:pt x="340" y="205"/>
                </a:lnTo>
                <a:lnTo>
                  <a:pt x="340" y="219"/>
                </a:lnTo>
                <a:lnTo>
                  <a:pt x="341" y="226"/>
                </a:lnTo>
                <a:lnTo>
                  <a:pt x="344" y="234"/>
                </a:lnTo>
                <a:lnTo>
                  <a:pt x="355" y="252"/>
                </a:lnTo>
                <a:lnTo>
                  <a:pt x="358" y="260"/>
                </a:lnTo>
                <a:lnTo>
                  <a:pt x="358" y="271"/>
                </a:lnTo>
                <a:lnTo>
                  <a:pt x="356" y="286"/>
                </a:lnTo>
                <a:lnTo>
                  <a:pt x="355" y="303"/>
                </a:lnTo>
                <a:lnTo>
                  <a:pt x="356" y="324"/>
                </a:lnTo>
                <a:lnTo>
                  <a:pt x="354" y="343"/>
                </a:lnTo>
                <a:lnTo>
                  <a:pt x="346" y="360"/>
                </a:lnTo>
                <a:lnTo>
                  <a:pt x="333" y="381"/>
                </a:lnTo>
                <a:lnTo>
                  <a:pt x="309" y="401"/>
                </a:lnTo>
                <a:lnTo>
                  <a:pt x="300" y="405"/>
                </a:lnTo>
                <a:lnTo>
                  <a:pt x="276" y="408"/>
                </a:lnTo>
                <a:lnTo>
                  <a:pt x="268" y="411"/>
                </a:lnTo>
                <a:lnTo>
                  <a:pt x="262" y="417"/>
                </a:lnTo>
                <a:lnTo>
                  <a:pt x="259" y="422"/>
                </a:lnTo>
                <a:lnTo>
                  <a:pt x="256" y="428"/>
                </a:lnTo>
                <a:lnTo>
                  <a:pt x="256" y="440"/>
                </a:lnTo>
                <a:lnTo>
                  <a:pt x="254" y="470"/>
                </a:lnTo>
                <a:lnTo>
                  <a:pt x="255" y="491"/>
                </a:lnTo>
                <a:lnTo>
                  <a:pt x="260" y="505"/>
                </a:lnTo>
                <a:lnTo>
                  <a:pt x="260" y="513"/>
                </a:lnTo>
                <a:lnTo>
                  <a:pt x="242" y="600"/>
                </a:lnTo>
                <a:lnTo>
                  <a:pt x="243" y="607"/>
                </a:lnTo>
                <a:lnTo>
                  <a:pt x="246" y="614"/>
                </a:lnTo>
                <a:lnTo>
                  <a:pt x="249" y="620"/>
                </a:lnTo>
                <a:lnTo>
                  <a:pt x="250" y="627"/>
                </a:lnTo>
                <a:lnTo>
                  <a:pt x="249" y="634"/>
                </a:lnTo>
                <a:lnTo>
                  <a:pt x="246" y="642"/>
                </a:lnTo>
                <a:lnTo>
                  <a:pt x="233" y="661"/>
                </a:lnTo>
                <a:lnTo>
                  <a:pt x="209" y="685"/>
                </a:lnTo>
                <a:lnTo>
                  <a:pt x="173" y="705"/>
                </a:lnTo>
                <a:lnTo>
                  <a:pt x="174" y="677"/>
                </a:lnTo>
                <a:lnTo>
                  <a:pt x="172" y="671"/>
                </a:lnTo>
                <a:lnTo>
                  <a:pt x="166" y="666"/>
                </a:lnTo>
                <a:lnTo>
                  <a:pt x="160" y="666"/>
                </a:lnTo>
                <a:lnTo>
                  <a:pt x="153" y="670"/>
                </a:lnTo>
                <a:lnTo>
                  <a:pt x="149" y="673"/>
                </a:lnTo>
                <a:lnTo>
                  <a:pt x="145" y="677"/>
                </a:lnTo>
                <a:lnTo>
                  <a:pt x="137" y="677"/>
                </a:lnTo>
                <a:lnTo>
                  <a:pt x="130" y="677"/>
                </a:lnTo>
                <a:lnTo>
                  <a:pt x="103" y="671"/>
                </a:lnTo>
                <a:lnTo>
                  <a:pt x="112" y="651"/>
                </a:lnTo>
                <a:lnTo>
                  <a:pt x="118" y="628"/>
                </a:lnTo>
                <a:lnTo>
                  <a:pt x="122" y="617"/>
                </a:lnTo>
                <a:lnTo>
                  <a:pt x="122" y="612"/>
                </a:lnTo>
                <a:lnTo>
                  <a:pt x="118" y="602"/>
                </a:lnTo>
                <a:lnTo>
                  <a:pt x="95" y="565"/>
                </a:lnTo>
                <a:lnTo>
                  <a:pt x="73" y="537"/>
                </a:lnTo>
                <a:lnTo>
                  <a:pt x="72" y="531"/>
                </a:lnTo>
                <a:lnTo>
                  <a:pt x="75" y="525"/>
                </a:lnTo>
                <a:lnTo>
                  <a:pt x="84" y="519"/>
                </a:lnTo>
                <a:lnTo>
                  <a:pt x="86" y="516"/>
                </a:lnTo>
                <a:lnTo>
                  <a:pt x="98" y="472"/>
                </a:lnTo>
                <a:lnTo>
                  <a:pt x="105" y="459"/>
                </a:lnTo>
                <a:lnTo>
                  <a:pt x="106" y="449"/>
                </a:lnTo>
                <a:lnTo>
                  <a:pt x="103" y="441"/>
                </a:lnTo>
                <a:lnTo>
                  <a:pt x="98" y="435"/>
                </a:lnTo>
                <a:lnTo>
                  <a:pt x="93" y="425"/>
                </a:lnTo>
                <a:lnTo>
                  <a:pt x="91" y="417"/>
                </a:lnTo>
                <a:lnTo>
                  <a:pt x="90" y="410"/>
                </a:lnTo>
                <a:lnTo>
                  <a:pt x="93" y="397"/>
                </a:lnTo>
                <a:lnTo>
                  <a:pt x="92" y="392"/>
                </a:lnTo>
                <a:lnTo>
                  <a:pt x="72" y="361"/>
                </a:lnTo>
                <a:lnTo>
                  <a:pt x="65" y="347"/>
                </a:lnTo>
                <a:lnTo>
                  <a:pt x="59" y="340"/>
                </a:lnTo>
                <a:lnTo>
                  <a:pt x="55" y="337"/>
                </a:lnTo>
                <a:lnTo>
                  <a:pt x="51" y="339"/>
                </a:lnTo>
                <a:lnTo>
                  <a:pt x="47" y="336"/>
                </a:lnTo>
                <a:lnTo>
                  <a:pt x="44" y="333"/>
                </a:lnTo>
                <a:lnTo>
                  <a:pt x="41" y="331"/>
                </a:lnTo>
                <a:lnTo>
                  <a:pt x="35" y="330"/>
                </a:lnTo>
                <a:lnTo>
                  <a:pt x="32" y="329"/>
                </a:lnTo>
                <a:lnTo>
                  <a:pt x="30" y="326"/>
                </a:lnTo>
                <a:lnTo>
                  <a:pt x="31" y="321"/>
                </a:lnTo>
                <a:lnTo>
                  <a:pt x="35" y="319"/>
                </a:lnTo>
                <a:lnTo>
                  <a:pt x="41" y="316"/>
                </a:lnTo>
                <a:lnTo>
                  <a:pt x="45" y="311"/>
                </a:lnTo>
                <a:lnTo>
                  <a:pt x="64" y="290"/>
                </a:lnTo>
                <a:lnTo>
                  <a:pt x="68" y="289"/>
                </a:lnTo>
                <a:lnTo>
                  <a:pt x="71" y="290"/>
                </a:lnTo>
                <a:lnTo>
                  <a:pt x="75" y="293"/>
                </a:lnTo>
                <a:lnTo>
                  <a:pt x="79" y="293"/>
                </a:lnTo>
                <a:lnTo>
                  <a:pt x="81" y="291"/>
                </a:lnTo>
                <a:lnTo>
                  <a:pt x="85" y="284"/>
                </a:lnTo>
                <a:lnTo>
                  <a:pt x="88" y="279"/>
                </a:lnTo>
                <a:lnTo>
                  <a:pt x="92" y="269"/>
                </a:lnTo>
                <a:lnTo>
                  <a:pt x="93" y="260"/>
                </a:lnTo>
                <a:lnTo>
                  <a:pt x="88" y="252"/>
                </a:lnTo>
                <a:lnTo>
                  <a:pt x="83" y="246"/>
                </a:lnTo>
                <a:lnTo>
                  <a:pt x="61" y="232"/>
                </a:lnTo>
                <a:lnTo>
                  <a:pt x="53" y="223"/>
                </a:lnTo>
                <a:lnTo>
                  <a:pt x="46" y="212"/>
                </a:lnTo>
                <a:lnTo>
                  <a:pt x="44" y="198"/>
                </a:lnTo>
                <a:lnTo>
                  <a:pt x="45" y="146"/>
                </a:lnTo>
                <a:lnTo>
                  <a:pt x="46" y="139"/>
                </a:lnTo>
                <a:lnTo>
                  <a:pt x="49" y="135"/>
                </a:lnTo>
                <a:lnTo>
                  <a:pt x="52" y="134"/>
                </a:lnTo>
                <a:lnTo>
                  <a:pt x="56" y="134"/>
                </a:lnTo>
                <a:lnTo>
                  <a:pt x="59" y="132"/>
                </a:lnTo>
                <a:lnTo>
                  <a:pt x="62" y="129"/>
                </a:lnTo>
                <a:lnTo>
                  <a:pt x="65" y="125"/>
                </a:lnTo>
                <a:lnTo>
                  <a:pt x="65" y="122"/>
                </a:lnTo>
                <a:lnTo>
                  <a:pt x="45" y="108"/>
                </a:lnTo>
                <a:lnTo>
                  <a:pt x="39" y="96"/>
                </a:lnTo>
                <a:lnTo>
                  <a:pt x="34" y="93"/>
                </a:lnTo>
                <a:lnTo>
                  <a:pt x="30" y="93"/>
                </a:lnTo>
                <a:lnTo>
                  <a:pt x="26" y="97"/>
                </a:lnTo>
                <a:lnTo>
                  <a:pt x="17" y="110"/>
                </a:lnTo>
                <a:lnTo>
                  <a:pt x="13" y="114"/>
                </a:lnTo>
                <a:lnTo>
                  <a:pt x="7" y="116"/>
                </a:lnTo>
                <a:lnTo>
                  <a:pt x="2" y="115"/>
                </a:lnTo>
                <a:lnTo>
                  <a:pt x="0" y="111"/>
                </a:lnTo>
                <a:lnTo>
                  <a:pt x="2" y="102"/>
                </a:lnTo>
                <a:lnTo>
                  <a:pt x="12" y="91"/>
                </a:lnTo>
                <a:lnTo>
                  <a:pt x="28" y="65"/>
                </a:lnTo>
                <a:lnTo>
                  <a:pt x="40" y="49"/>
                </a:lnTo>
                <a:lnTo>
                  <a:pt x="72" y="34"/>
                </a:lnTo>
                <a:lnTo>
                  <a:pt x="103" y="32"/>
                </a:lnTo>
                <a:lnTo>
                  <a:pt x="151" y="7"/>
                </a:lnTo>
                <a:lnTo>
                  <a:pt x="168" y="3"/>
                </a:lnTo>
                <a:lnTo>
                  <a:pt x="186" y="0"/>
                </a:lnTo>
                <a:lnTo>
                  <a:pt x="196" y="0"/>
                </a:lnTo>
                <a:lnTo>
                  <a:pt x="204" y="2"/>
                </a:lnTo>
                <a:lnTo>
                  <a:pt x="209" y="5"/>
                </a:lnTo>
                <a:lnTo>
                  <a:pt x="212" y="10"/>
                </a:lnTo>
                <a:lnTo>
                  <a:pt x="216" y="15"/>
                </a:lnTo>
                <a:lnTo>
                  <a:pt x="237" y="28"/>
                </a:lnTo>
                <a:lnTo>
                  <a:pt x="250" y="34"/>
                </a:lnTo>
                <a:lnTo>
                  <a:pt x="266" y="3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4" name="Freeform 28">
            <a:extLst>
              <a:ext uri="{FF2B5EF4-FFF2-40B4-BE49-F238E27FC236}">
                <a16:creationId xmlns:a16="http://schemas.microsoft.com/office/drawing/2014/main" id="{935D680E-AC5E-2CB4-3677-70E71CDFE4E8}"/>
              </a:ext>
            </a:extLst>
          </p:cNvPr>
          <p:cNvSpPr>
            <a:spLocks/>
          </p:cNvSpPr>
          <p:nvPr/>
        </p:nvSpPr>
        <p:spPr bwMode="auto">
          <a:xfrm>
            <a:off x="6698885" y="4436295"/>
            <a:ext cx="1062663" cy="856497"/>
          </a:xfrm>
          <a:custGeom>
            <a:avLst/>
            <a:gdLst>
              <a:gd name="T0" fmla="*/ 418 w 897"/>
              <a:gd name="T1" fmla="*/ 144 h 764"/>
              <a:gd name="T2" fmla="*/ 440 w 897"/>
              <a:gd name="T3" fmla="*/ 124 h 764"/>
              <a:gd name="T4" fmla="*/ 453 w 897"/>
              <a:gd name="T5" fmla="*/ 106 h 764"/>
              <a:gd name="T6" fmla="*/ 478 w 897"/>
              <a:gd name="T7" fmla="*/ 110 h 764"/>
              <a:gd name="T8" fmla="*/ 528 w 897"/>
              <a:gd name="T9" fmla="*/ 162 h 764"/>
              <a:gd name="T10" fmla="*/ 553 w 897"/>
              <a:gd name="T11" fmla="*/ 207 h 764"/>
              <a:gd name="T12" fmla="*/ 602 w 897"/>
              <a:gd name="T13" fmla="*/ 220 h 764"/>
              <a:gd name="T14" fmla="*/ 626 w 897"/>
              <a:gd name="T15" fmla="*/ 218 h 764"/>
              <a:gd name="T16" fmla="*/ 632 w 897"/>
              <a:gd name="T17" fmla="*/ 202 h 764"/>
              <a:gd name="T18" fmla="*/ 650 w 897"/>
              <a:gd name="T19" fmla="*/ 172 h 764"/>
              <a:gd name="T20" fmla="*/ 648 w 897"/>
              <a:gd name="T21" fmla="*/ 148 h 764"/>
              <a:gd name="T22" fmla="*/ 667 w 897"/>
              <a:gd name="T23" fmla="*/ 128 h 764"/>
              <a:gd name="T24" fmla="*/ 700 w 897"/>
              <a:gd name="T25" fmla="*/ 127 h 764"/>
              <a:gd name="T26" fmla="*/ 744 w 897"/>
              <a:gd name="T27" fmla="*/ 101 h 764"/>
              <a:gd name="T28" fmla="*/ 767 w 897"/>
              <a:gd name="T29" fmla="*/ 75 h 764"/>
              <a:gd name="T30" fmla="*/ 812 w 897"/>
              <a:gd name="T31" fmla="*/ 44 h 764"/>
              <a:gd name="T32" fmla="*/ 816 w 897"/>
              <a:gd name="T33" fmla="*/ 82 h 764"/>
              <a:gd name="T34" fmla="*/ 831 w 897"/>
              <a:gd name="T35" fmla="*/ 74 h 764"/>
              <a:gd name="T36" fmla="*/ 851 w 897"/>
              <a:gd name="T37" fmla="*/ 50 h 764"/>
              <a:gd name="T38" fmla="*/ 888 w 897"/>
              <a:gd name="T39" fmla="*/ 65 h 764"/>
              <a:gd name="T40" fmla="*/ 897 w 897"/>
              <a:gd name="T41" fmla="*/ 87 h 764"/>
              <a:gd name="T42" fmla="*/ 805 w 897"/>
              <a:gd name="T43" fmla="*/ 143 h 764"/>
              <a:gd name="T44" fmla="*/ 780 w 897"/>
              <a:gd name="T45" fmla="*/ 198 h 764"/>
              <a:gd name="T46" fmla="*/ 798 w 897"/>
              <a:gd name="T47" fmla="*/ 223 h 764"/>
              <a:gd name="T48" fmla="*/ 758 w 897"/>
              <a:gd name="T49" fmla="*/ 302 h 764"/>
              <a:gd name="T50" fmla="*/ 737 w 897"/>
              <a:gd name="T51" fmla="*/ 364 h 764"/>
              <a:gd name="T52" fmla="*/ 712 w 897"/>
              <a:gd name="T53" fmla="*/ 417 h 764"/>
              <a:gd name="T54" fmla="*/ 634 w 897"/>
              <a:gd name="T55" fmla="*/ 464 h 764"/>
              <a:gd name="T56" fmla="*/ 551 w 897"/>
              <a:gd name="T57" fmla="*/ 554 h 764"/>
              <a:gd name="T58" fmla="*/ 479 w 897"/>
              <a:gd name="T59" fmla="*/ 604 h 764"/>
              <a:gd name="T60" fmla="*/ 470 w 897"/>
              <a:gd name="T61" fmla="*/ 632 h 764"/>
              <a:gd name="T62" fmla="*/ 478 w 897"/>
              <a:gd name="T63" fmla="*/ 655 h 764"/>
              <a:gd name="T64" fmla="*/ 476 w 897"/>
              <a:gd name="T65" fmla="*/ 707 h 764"/>
              <a:gd name="T66" fmla="*/ 458 w 897"/>
              <a:gd name="T67" fmla="*/ 760 h 764"/>
              <a:gd name="T68" fmla="*/ 427 w 897"/>
              <a:gd name="T69" fmla="*/ 726 h 764"/>
              <a:gd name="T70" fmla="*/ 395 w 897"/>
              <a:gd name="T71" fmla="*/ 651 h 764"/>
              <a:gd name="T72" fmla="*/ 361 w 897"/>
              <a:gd name="T73" fmla="*/ 645 h 764"/>
              <a:gd name="T74" fmla="*/ 314 w 897"/>
              <a:gd name="T75" fmla="*/ 630 h 764"/>
              <a:gd name="T76" fmla="*/ 308 w 897"/>
              <a:gd name="T77" fmla="*/ 587 h 764"/>
              <a:gd name="T78" fmla="*/ 280 w 897"/>
              <a:gd name="T79" fmla="*/ 565 h 764"/>
              <a:gd name="T80" fmla="*/ 203 w 897"/>
              <a:gd name="T81" fmla="*/ 557 h 764"/>
              <a:gd name="T82" fmla="*/ 136 w 897"/>
              <a:gd name="T83" fmla="*/ 549 h 764"/>
              <a:gd name="T84" fmla="*/ 62 w 897"/>
              <a:gd name="T85" fmla="*/ 551 h 764"/>
              <a:gd name="T86" fmla="*/ 86 w 897"/>
              <a:gd name="T87" fmla="*/ 532 h 764"/>
              <a:gd name="T88" fmla="*/ 112 w 897"/>
              <a:gd name="T89" fmla="*/ 474 h 764"/>
              <a:gd name="T90" fmla="*/ 83 w 897"/>
              <a:gd name="T91" fmla="*/ 424 h 764"/>
              <a:gd name="T92" fmla="*/ 8 w 897"/>
              <a:gd name="T93" fmla="*/ 353 h 764"/>
              <a:gd name="T94" fmla="*/ 39 w 897"/>
              <a:gd name="T95" fmla="*/ 265 h 764"/>
              <a:gd name="T96" fmla="*/ 194 w 897"/>
              <a:gd name="T97" fmla="*/ 67 h 764"/>
              <a:gd name="T98" fmla="*/ 211 w 897"/>
              <a:gd name="T99" fmla="*/ 54 h 764"/>
              <a:gd name="T100" fmla="*/ 225 w 897"/>
              <a:gd name="T101" fmla="*/ 17 h 764"/>
              <a:gd name="T102" fmla="*/ 257 w 897"/>
              <a:gd name="T103" fmla="*/ 16 h 764"/>
              <a:gd name="T104" fmla="*/ 302 w 897"/>
              <a:gd name="T105" fmla="*/ 54 h 764"/>
              <a:gd name="T106" fmla="*/ 325 w 897"/>
              <a:gd name="T107" fmla="*/ 81 h 764"/>
              <a:gd name="T108" fmla="*/ 408 w 897"/>
              <a:gd name="T109" fmla="*/ 159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97" h="764">
                <a:moveTo>
                  <a:pt x="408" y="159"/>
                </a:moveTo>
                <a:lnTo>
                  <a:pt x="414" y="155"/>
                </a:lnTo>
                <a:lnTo>
                  <a:pt x="416" y="150"/>
                </a:lnTo>
                <a:lnTo>
                  <a:pt x="418" y="144"/>
                </a:lnTo>
                <a:lnTo>
                  <a:pt x="418" y="139"/>
                </a:lnTo>
                <a:lnTo>
                  <a:pt x="421" y="134"/>
                </a:lnTo>
                <a:lnTo>
                  <a:pt x="427" y="130"/>
                </a:lnTo>
                <a:lnTo>
                  <a:pt x="440" y="124"/>
                </a:lnTo>
                <a:lnTo>
                  <a:pt x="446" y="120"/>
                </a:lnTo>
                <a:lnTo>
                  <a:pt x="450" y="116"/>
                </a:lnTo>
                <a:lnTo>
                  <a:pt x="451" y="110"/>
                </a:lnTo>
                <a:lnTo>
                  <a:pt x="453" y="106"/>
                </a:lnTo>
                <a:lnTo>
                  <a:pt x="457" y="103"/>
                </a:lnTo>
                <a:lnTo>
                  <a:pt x="462" y="103"/>
                </a:lnTo>
                <a:lnTo>
                  <a:pt x="470" y="105"/>
                </a:lnTo>
                <a:lnTo>
                  <a:pt x="478" y="110"/>
                </a:lnTo>
                <a:lnTo>
                  <a:pt x="488" y="119"/>
                </a:lnTo>
                <a:lnTo>
                  <a:pt x="497" y="129"/>
                </a:lnTo>
                <a:lnTo>
                  <a:pt x="516" y="154"/>
                </a:lnTo>
                <a:lnTo>
                  <a:pt x="528" y="162"/>
                </a:lnTo>
                <a:lnTo>
                  <a:pt x="542" y="178"/>
                </a:lnTo>
                <a:lnTo>
                  <a:pt x="546" y="184"/>
                </a:lnTo>
                <a:lnTo>
                  <a:pt x="550" y="191"/>
                </a:lnTo>
                <a:lnTo>
                  <a:pt x="553" y="207"/>
                </a:lnTo>
                <a:lnTo>
                  <a:pt x="556" y="214"/>
                </a:lnTo>
                <a:lnTo>
                  <a:pt x="566" y="218"/>
                </a:lnTo>
                <a:lnTo>
                  <a:pt x="591" y="221"/>
                </a:lnTo>
                <a:lnTo>
                  <a:pt x="602" y="220"/>
                </a:lnTo>
                <a:lnTo>
                  <a:pt x="608" y="219"/>
                </a:lnTo>
                <a:lnTo>
                  <a:pt x="615" y="218"/>
                </a:lnTo>
                <a:lnTo>
                  <a:pt x="620" y="217"/>
                </a:lnTo>
                <a:lnTo>
                  <a:pt x="626" y="218"/>
                </a:lnTo>
                <a:lnTo>
                  <a:pt x="630" y="219"/>
                </a:lnTo>
                <a:lnTo>
                  <a:pt x="633" y="218"/>
                </a:lnTo>
                <a:lnTo>
                  <a:pt x="633" y="213"/>
                </a:lnTo>
                <a:lnTo>
                  <a:pt x="632" y="202"/>
                </a:lnTo>
                <a:lnTo>
                  <a:pt x="633" y="197"/>
                </a:lnTo>
                <a:lnTo>
                  <a:pt x="635" y="192"/>
                </a:lnTo>
                <a:lnTo>
                  <a:pt x="648" y="176"/>
                </a:lnTo>
                <a:lnTo>
                  <a:pt x="650" y="172"/>
                </a:lnTo>
                <a:lnTo>
                  <a:pt x="653" y="168"/>
                </a:lnTo>
                <a:lnTo>
                  <a:pt x="652" y="162"/>
                </a:lnTo>
                <a:lnTo>
                  <a:pt x="649" y="156"/>
                </a:lnTo>
                <a:lnTo>
                  <a:pt x="648" y="148"/>
                </a:lnTo>
                <a:lnTo>
                  <a:pt x="649" y="142"/>
                </a:lnTo>
                <a:lnTo>
                  <a:pt x="654" y="135"/>
                </a:lnTo>
                <a:lnTo>
                  <a:pt x="660" y="131"/>
                </a:lnTo>
                <a:lnTo>
                  <a:pt x="667" y="128"/>
                </a:lnTo>
                <a:lnTo>
                  <a:pt x="675" y="128"/>
                </a:lnTo>
                <a:lnTo>
                  <a:pt x="688" y="131"/>
                </a:lnTo>
                <a:lnTo>
                  <a:pt x="694" y="130"/>
                </a:lnTo>
                <a:lnTo>
                  <a:pt x="700" y="127"/>
                </a:lnTo>
                <a:lnTo>
                  <a:pt x="709" y="120"/>
                </a:lnTo>
                <a:lnTo>
                  <a:pt x="722" y="109"/>
                </a:lnTo>
                <a:lnTo>
                  <a:pt x="728" y="105"/>
                </a:lnTo>
                <a:lnTo>
                  <a:pt x="744" y="101"/>
                </a:lnTo>
                <a:lnTo>
                  <a:pt x="752" y="98"/>
                </a:lnTo>
                <a:lnTo>
                  <a:pt x="762" y="91"/>
                </a:lnTo>
                <a:lnTo>
                  <a:pt x="766" y="82"/>
                </a:lnTo>
                <a:lnTo>
                  <a:pt x="767" y="75"/>
                </a:lnTo>
                <a:lnTo>
                  <a:pt x="771" y="67"/>
                </a:lnTo>
                <a:lnTo>
                  <a:pt x="777" y="59"/>
                </a:lnTo>
                <a:lnTo>
                  <a:pt x="801" y="43"/>
                </a:lnTo>
                <a:lnTo>
                  <a:pt x="812" y="44"/>
                </a:lnTo>
                <a:lnTo>
                  <a:pt x="808" y="64"/>
                </a:lnTo>
                <a:lnTo>
                  <a:pt x="809" y="70"/>
                </a:lnTo>
                <a:lnTo>
                  <a:pt x="811" y="77"/>
                </a:lnTo>
                <a:lnTo>
                  <a:pt x="816" y="82"/>
                </a:lnTo>
                <a:lnTo>
                  <a:pt x="822" y="85"/>
                </a:lnTo>
                <a:lnTo>
                  <a:pt x="827" y="84"/>
                </a:lnTo>
                <a:lnTo>
                  <a:pt x="829" y="80"/>
                </a:lnTo>
                <a:lnTo>
                  <a:pt x="831" y="74"/>
                </a:lnTo>
                <a:lnTo>
                  <a:pt x="834" y="66"/>
                </a:lnTo>
                <a:lnTo>
                  <a:pt x="838" y="59"/>
                </a:lnTo>
                <a:lnTo>
                  <a:pt x="844" y="53"/>
                </a:lnTo>
                <a:lnTo>
                  <a:pt x="851" y="50"/>
                </a:lnTo>
                <a:lnTo>
                  <a:pt x="857" y="48"/>
                </a:lnTo>
                <a:lnTo>
                  <a:pt x="863" y="48"/>
                </a:lnTo>
                <a:lnTo>
                  <a:pt x="867" y="50"/>
                </a:lnTo>
                <a:lnTo>
                  <a:pt x="888" y="65"/>
                </a:lnTo>
                <a:lnTo>
                  <a:pt x="893" y="70"/>
                </a:lnTo>
                <a:lnTo>
                  <a:pt x="895" y="76"/>
                </a:lnTo>
                <a:lnTo>
                  <a:pt x="897" y="81"/>
                </a:lnTo>
                <a:lnTo>
                  <a:pt x="897" y="87"/>
                </a:lnTo>
                <a:lnTo>
                  <a:pt x="894" y="93"/>
                </a:lnTo>
                <a:lnTo>
                  <a:pt x="887" y="100"/>
                </a:lnTo>
                <a:lnTo>
                  <a:pt x="813" y="137"/>
                </a:lnTo>
                <a:lnTo>
                  <a:pt x="805" y="143"/>
                </a:lnTo>
                <a:lnTo>
                  <a:pt x="800" y="149"/>
                </a:lnTo>
                <a:lnTo>
                  <a:pt x="779" y="189"/>
                </a:lnTo>
                <a:lnTo>
                  <a:pt x="778" y="194"/>
                </a:lnTo>
                <a:lnTo>
                  <a:pt x="780" y="198"/>
                </a:lnTo>
                <a:lnTo>
                  <a:pt x="785" y="204"/>
                </a:lnTo>
                <a:lnTo>
                  <a:pt x="790" y="210"/>
                </a:lnTo>
                <a:lnTo>
                  <a:pt x="795" y="217"/>
                </a:lnTo>
                <a:lnTo>
                  <a:pt x="798" y="223"/>
                </a:lnTo>
                <a:lnTo>
                  <a:pt x="798" y="230"/>
                </a:lnTo>
                <a:lnTo>
                  <a:pt x="793" y="239"/>
                </a:lnTo>
                <a:lnTo>
                  <a:pt x="762" y="291"/>
                </a:lnTo>
                <a:lnTo>
                  <a:pt x="758" y="302"/>
                </a:lnTo>
                <a:lnTo>
                  <a:pt x="756" y="309"/>
                </a:lnTo>
                <a:lnTo>
                  <a:pt x="740" y="342"/>
                </a:lnTo>
                <a:lnTo>
                  <a:pt x="737" y="353"/>
                </a:lnTo>
                <a:lnTo>
                  <a:pt x="737" y="364"/>
                </a:lnTo>
                <a:lnTo>
                  <a:pt x="738" y="374"/>
                </a:lnTo>
                <a:lnTo>
                  <a:pt x="736" y="386"/>
                </a:lnTo>
                <a:lnTo>
                  <a:pt x="730" y="398"/>
                </a:lnTo>
                <a:lnTo>
                  <a:pt x="712" y="417"/>
                </a:lnTo>
                <a:lnTo>
                  <a:pt x="696" y="430"/>
                </a:lnTo>
                <a:lnTo>
                  <a:pt x="673" y="443"/>
                </a:lnTo>
                <a:lnTo>
                  <a:pt x="647" y="451"/>
                </a:lnTo>
                <a:lnTo>
                  <a:pt x="634" y="464"/>
                </a:lnTo>
                <a:lnTo>
                  <a:pt x="552" y="530"/>
                </a:lnTo>
                <a:lnTo>
                  <a:pt x="549" y="536"/>
                </a:lnTo>
                <a:lnTo>
                  <a:pt x="548" y="542"/>
                </a:lnTo>
                <a:lnTo>
                  <a:pt x="551" y="554"/>
                </a:lnTo>
                <a:lnTo>
                  <a:pt x="537" y="567"/>
                </a:lnTo>
                <a:lnTo>
                  <a:pt x="500" y="587"/>
                </a:lnTo>
                <a:lnTo>
                  <a:pt x="488" y="596"/>
                </a:lnTo>
                <a:lnTo>
                  <a:pt x="479" y="604"/>
                </a:lnTo>
                <a:lnTo>
                  <a:pt x="473" y="613"/>
                </a:lnTo>
                <a:lnTo>
                  <a:pt x="470" y="621"/>
                </a:lnTo>
                <a:lnTo>
                  <a:pt x="468" y="626"/>
                </a:lnTo>
                <a:lnTo>
                  <a:pt x="470" y="632"/>
                </a:lnTo>
                <a:lnTo>
                  <a:pt x="473" y="641"/>
                </a:lnTo>
                <a:lnTo>
                  <a:pt x="476" y="646"/>
                </a:lnTo>
                <a:lnTo>
                  <a:pt x="478" y="650"/>
                </a:lnTo>
                <a:lnTo>
                  <a:pt x="478" y="655"/>
                </a:lnTo>
                <a:lnTo>
                  <a:pt x="474" y="668"/>
                </a:lnTo>
                <a:lnTo>
                  <a:pt x="473" y="676"/>
                </a:lnTo>
                <a:lnTo>
                  <a:pt x="472" y="684"/>
                </a:lnTo>
                <a:lnTo>
                  <a:pt x="476" y="707"/>
                </a:lnTo>
                <a:lnTo>
                  <a:pt x="468" y="746"/>
                </a:lnTo>
                <a:lnTo>
                  <a:pt x="466" y="753"/>
                </a:lnTo>
                <a:lnTo>
                  <a:pt x="462" y="758"/>
                </a:lnTo>
                <a:lnTo>
                  <a:pt x="458" y="760"/>
                </a:lnTo>
                <a:lnTo>
                  <a:pt x="453" y="762"/>
                </a:lnTo>
                <a:lnTo>
                  <a:pt x="441" y="764"/>
                </a:lnTo>
                <a:lnTo>
                  <a:pt x="429" y="746"/>
                </a:lnTo>
                <a:lnTo>
                  <a:pt x="427" y="726"/>
                </a:lnTo>
                <a:lnTo>
                  <a:pt x="427" y="711"/>
                </a:lnTo>
                <a:lnTo>
                  <a:pt x="422" y="698"/>
                </a:lnTo>
                <a:lnTo>
                  <a:pt x="402" y="665"/>
                </a:lnTo>
                <a:lnTo>
                  <a:pt x="395" y="651"/>
                </a:lnTo>
                <a:lnTo>
                  <a:pt x="390" y="638"/>
                </a:lnTo>
                <a:lnTo>
                  <a:pt x="386" y="634"/>
                </a:lnTo>
                <a:lnTo>
                  <a:pt x="380" y="635"/>
                </a:lnTo>
                <a:lnTo>
                  <a:pt x="361" y="645"/>
                </a:lnTo>
                <a:lnTo>
                  <a:pt x="351" y="646"/>
                </a:lnTo>
                <a:lnTo>
                  <a:pt x="338" y="646"/>
                </a:lnTo>
                <a:lnTo>
                  <a:pt x="321" y="639"/>
                </a:lnTo>
                <a:lnTo>
                  <a:pt x="314" y="630"/>
                </a:lnTo>
                <a:lnTo>
                  <a:pt x="309" y="622"/>
                </a:lnTo>
                <a:lnTo>
                  <a:pt x="308" y="607"/>
                </a:lnTo>
                <a:lnTo>
                  <a:pt x="309" y="594"/>
                </a:lnTo>
                <a:lnTo>
                  <a:pt x="308" y="587"/>
                </a:lnTo>
                <a:lnTo>
                  <a:pt x="304" y="576"/>
                </a:lnTo>
                <a:lnTo>
                  <a:pt x="297" y="570"/>
                </a:lnTo>
                <a:lnTo>
                  <a:pt x="289" y="565"/>
                </a:lnTo>
                <a:lnTo>
                  <a:pt x="280" y="565"/>
                </a:lnTo>
                <a:lnTo>
                  <a:pt x="262" y="567"/>
                </a:lnTo>
                <a:lnTo>
                  <a:pt x="239" y="567"/>
                </a:lnTo>
                <a:lnTo>
                  <a:pt x="220" y="563"/>
                </a:lnTo>
                <a:lnTo>
                  <a:pt x="203" y="557"/>
                </a:lnTo>
                <a:lnTo>
                  <a:pt x="181" y="549"/>
                </a:lnTo>
                <a:lnTo>
                  <a:pt x="169" y="547"/>
                </a:lnTo>
                <a:lnTo>
                  <a:pt x="161" y="547"/>
                </a:lnTo>
                <a:lnTo>
                  <a:pt x="136" y="549"/>
                </a:lnTo>
                <a:lnTo>
                  <a:pt x="98" y="558"/>
                </a:lnTo>
                <a:lnTo>
                  <a:pt x="74" y="558"/>
                </a:lnTo>
                <a:lnTo>
                  <a:pt x="67" y="555"/>
                </a:lnTo>
                <a:lnTo>
                  <a:pt x="62" y="551"/>
                </a:lnTo>
                <a:lnTo>
                  <a:pt x="64" y="546"/>
                </a:lnTo>
                <a:lnTo>
                  <a:pt x="67" y="543"/>
                </a:lnTo>
                <a:lnTo>
                  <a:pt x="80" y="536"/>
                </a:lnTo>
                <a:lnTo>
                  <a:pt x="86" y="532"/>
                </a:lnTo>
                <a:lnTo>
                  <a:pt x="90" y="525"/>
                </a:lnTo>
                <a:lnTo>
                  <a:pt x="94" y="511"/>
                </a:lnTo>
                <a:lnTo>
                  <a:pt x="109" y="483"/>
                </a:lnTo>
                <a:lnTo>
                  <a:pt x="112" y="474"/>
                </a:lnTo>
                <a:lnTo>
                  <a:pt x="113" y="465"/>
                </a:lnTo>
                <a:lnTo>
                  <a:pt x="111" y="454"/>
                </a:lnTo>
                <a:lnTo>
                  <a:pt x="108" y="445"/>
                </a:lnTo>
                <a:lnTo>
                  <a:pt x="83" y="424"/>
                </a:lnTo>
                <a:lnTo>
                  <a:pt x="0" y="380"/>
                </a:lnTo>
                <a:lnTo>
                  <a:pt x="2" y="367"/>
                </a:lnTo>
                <a:lnTo>
                  <a:pt x="4" y="362"/>
                </a:lnTo>
                <a:lnTo>
                  <a:pt x="8" y="353"/>
                </a:lnTo>
                <a:lnTo>
                  <a:pt x="45" y="309"/>
                </a:lnTo>
                <a:lnTo>
                  <a:pt x="45" y="303"/>
                </a:lnTo>
                <a:lnTo>
                  <a:pt x="44" y="284"/>
                </a:lnTo>
                <a:lnTo>
                  <a:pt x="39" y="265"/>
                </a:lnTo>
                <a:lnTo>
                  <a:pt x="38" y="253"/>
                </a:lnTo>
                <a:lnTo>
                  <a:pt x="42" y="236"/>
                </a:lnTo>
                <a:lnTo>
                  <a:pt x="47" y="220"/>
                </a:lnTo>
                <a:lnTo>
                  <a:pt x="194" y="67"/>
                </a:lnTo>
                <a:lnTo>
                  <a:pt x="197" y="65"/>
                </a:lnTo>
                <a:lnTo>
                  <a:pt x="201" y="63"/>
                </a:lnTo>
                <a:lnTo>
                  <a:pt x="205" y="59"/>
                </a:lnTo>
                <a:lnTo>
                  <a:pt x="211" y="54"/>
                </a:lnTo>
                <a:lnTo>
                  <a:pt x="226" y="39"/>
                </a:lnTo>
                <a:lnTo>
                  <a:pt x="229" y="32"/>
                </a:lnTo>
                <a:lnTo>
                  <a:pt x="230" y="25"/>
                </a:lnTo>
                <a:lnTo>
                  <a:pt x="225" y="17"/>
                </a:lnTo>
                <a:lnTo>
                  <a:pt x="217" y="0"/>
                </a:lnTo>
                <a:lnTo>
                  <a:pt x="240" y="1"/>
                </a:lnTo>
                <a:lnTo>
                  <a:pt x="250" y="7"/>
                </a:lnTo>
                <a:lnTo>
                  <a:pt x="257" y="16"/>
                </a:lnTo>
                <a:lnTo>
                  <a:pt x="269" y="42"/>
                </a:lnTo>
                <a:lnTo>
                  <a:pt x="276" y="49"/>
                </a:lnTo>
                <a:lnTo>
                  <a:pt x="284" y="52"/>
                </a:lnTo>
                <a:lnTo>
                  <a:pt x="302" y="54"/>
                </a:lnTo>
                <a:lnTo>
                  <a:pt x="312" y="61"/>
                </a:lnTo>
                <a:lnTo>
                  <a:pt x="319" y="68"/>
                </a:lnTo>
                <a:lnTo>
                  <a:pt x="321" y="75"/>
                </a:lnTo>
                <a:lnTo>
                  <a:pt x="325" y="81"/>
                </a:lnTo>
                <a:lnTo>
                  <a:pt x="331" y="90"/>
                </a:lnTo>
                <a:lnTo>
                  <a:pt x="390" y="152"/>
                </a:lnTo>
                <a:lnTo>
                  <a:pt x="400" y="157"/>
                </a:lnTo>
                <a:lnTo>
                  <a:pt x="408" y="15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7B603B4D-DCF3-DA6D-A3D8-9BAADE1DD7B4}"/>
              </a:ext>
            </a:extLst>
          </p:cNvPr>
          <p:cNvSpPr/>
          <p:nvPr/>
        </p:nvSpPr>
        <p:spPr>
          <a:xfrm>
            <a:off x="6048864" y="2828681"/>
            <a:ext cx="3897928" cy="11132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4400" b="1" dirty="0">
                <a:solidFill>
                  <a:srgbClr val="004B8E"/>
                </a:solidFill>
              </a:rPr>
              <a:t>1.849</a:t>
            </a:r>
          </a:p>
          <a:p>
            <a:pPr algn="ctr"/>
            <a:r>
              <a:rPr lang="es-EC" sz="2800" b="1" dirty="0">
                <a:solidFill>
                  <a:srgbClr val="004B8E"/>
                </a:solidFill>
              </a:rPr>
              <a:t>instituciones y empresas públicas registradas</a:t>
            </a:r>
          </a:p>
          <a:p>
            <a:pPr algn="ctr"/>
            <a:r>
              <a:rPr lang="es-EC" sz="2400" dirty="0">
                <a:solidFill>
                  <a:srgbClr val="004B8E"/>
                </a:solidFill>
              </a:rPr>
              <a:t>[crecimiento 13%]</a:t>
            </a:r>
          </a:p>
        </p:txBody>
      </p:sp>
    </p:spTree>
    <p:extLst>
      <p:ext uri="{BB962C8B-B14F-4D97-AF65-F5344CB8AC3E}">
        <p14:creationId xmlns:p14="http://schemas.microsoft.com/office/powerpoint/2010/main" val="7071644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29C77C30-0A8F-88FA-62B4-A70B83032C63}"/>
              </a:ext>
            </a:extLst>
          </p:cNvPr>
          <p:cNvSpPr/>
          <p:nvPr/>
        </p:nvSpPr>
        <p:spPr>
          <a:xfrm>
            <a:off x="884112" y="386301"/>
            <a:ext cx="24203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sultoría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B774793E-F4ED-3853-4A4E-C0959CBAF1AF}"/>
              </a:ext>
            </a:extLst>
          </p:cNvPr>
          <p:cNvGrpSpPr/>
          <p:nvPr/>
        </p:nvGrpSpPr>
        <p:grpSpPr>
          <a:xfrm>
            <a:off x="-771904" y="553941"/>
            <a:ext cx="13735808" cy="6858000"/>
            <a:chOff x="-671544" y="553941"/>
            <a:chExt cx="13735808" cy="6858000"/>
          </a:xfrm>
        </p:grpSpPr>
        <p:pic>
          <p:nvPicPr>
            <p:cNvPr id="6" name="Imagen 5" descr="Texto&#10;&#10;El contenido generado por IA puede ser incorrecto.">
              <a:extLst>
                <a:ext uri="{FF2B5EF4-FFF2-40B4-BE49-F238E27FC236}">
                  <a16:creationId xmlns:a16="http://schemas.microsoft.com/office/drawing/2014/main" id="{3DDD576F-34D0-7B63-BEF7-A58895AD1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71544" y="553941"/>
              <a:ext cx="8627807" cy="6858000"/>
            </a:xfrm>
            <a:prstGeom prst="rect">
              <a:avLst/>
            </a:prstGeom>
          </p:spPr>
        </p:pic>
        <p:pic>
          <p:nvPicPr>
            <p:cNvPr id="8" name="Imagen 7" descr="Texto&#10;&#10;El contenido generado por IA puede ser incorrecto.">
              <a:extLst>
                <a:ext uri="{FF2B5EF4-FFF2-40B4-BE49-F238E27FC236}">
                  <a16:creationId xmlns:a16="http://schemas.microsoft.com/office/drawing/2014/main" id="{A89EFC4C-DF70-94D8-04AB-561462D78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6457" y="553941"/>
              <a:ext cx="8627807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565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 descr="C:\Users\asangucho\Desktop\Power Point\Contratacion-Especia.pn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4760" y="1730438"/>
            <a:ext cx="3397124" cy="339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37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4791074" y="3167390"/>
            <a:ext cx="3961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Control de Legalidad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33C6D1C1-F9E1-A859-EE3E-C6323BC25364}"/>
              </a:ext>
            </a:extLst>
          </p:cNvPr>
          <p:cNvSpPr/>
          <p:nvPr/>
        </p:nvSpPr>
        <p:spPr>
          <a:xfrm>
            <a:off x="4882514" y="3690610"/>
            <a:ext cx="6125846" cy="374571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Controlar la legalidad de los actos y contratos del Sector Público.</a:t>
            </a:r>
          </a:p>
        </p:txBody>
      </p:sp>
    </p:spTree>
    <p:extLst>
      <p:ext uri="{BB962C8B-B14F-4D97-AF65-F5344CB8AC3E}">
        <p14:creationId xmlns:p14="http://schemas.microsoft.com/office/powerpoint/2010/main" val="13267023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81B4E7A9-D367-468E-8538-28B9E31AD2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1036073"/>
              </p:ext>
            </p:extLst>
          </p:nvPr>
        </p:nvGraphicFramePr>
        <p:xfrm>
          <a:off x="1558282" y="1227019"/>
          <a:ext cx="10208870" cy="5630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lipse 2">
            <a:extLst>
              <a:ext uri="{FF2B5EF4-FFF2-40B4-BE49-F238E27FC236}">
                <a16:creationId xmlns:a16="http://schemas.microsoft.com/office/drawing/2014/main" id="{27551A84-F2A6-4101-A223-D1C8270E6AFF}"/>
              </a:ext>
            </a:extLst>
          </p:cNvPr>
          <p:cNvSpPr/>
          <p:nvPr/>
        </p:nvSpPr>
        <p:spPr>
          <a:xfrm>
            <a:off x="4628773" y="2331999"/>
            <a:ext cx="2616040" cy="26160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rgbClr val="1F67B0"/>
                </a:solidFill>
                <a:latin typeface="Montserrat" panose="02000505000000020004" pitchFamily="2" charset="0"/>
              </a:rPr>
              <a:t>Total</a:t>
            </a:r>
          </a:p>
          <a:p>
            <a:pPr algn="ctr"/>
            <a:r>
              <a:rPr lang="es-EC" sz="2400" b="1" dirty="0">
                <a:solidFill>
                  <a:srgbClr val="1F67B0"/>
                </a:solidFill>
                <a:latin typeface="Montserrat" panose="02000505000000020004" pitchFamily="2" charset="0"/>
              </a:rPr>
              <a:t>165 casos</a:t>
            </a:r>
            <a:endParaRPr lang="es-EC" sz="1800" b="1" dirty="0">
              <a:solidFill>
                <a:srgbClr val="1F67B0"/>
              </a:solidFill>
              <a:latin typeface="Montserrat" panose="02000505000000020004" pitchFamily="2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C44F1CE1-C9B9-C1A1-5139-3EC0DF5422B3}"/>
              </a:ext>
            </a:extLst>
          </p:cNvPr>
          <p:cNvSpPr/>
          <p:nvPr/>
        </p:nvSpPr>
        <p:spPr>
          <a:xfrm>
            <a:off x="727948" y="400447"/>
            <a:ext cx="39008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TROL DE LEGALIDAD</a:t>
            </a:r>
          </a:p>
        </p:txBody>
      </p:sp>
    </p:spTree>
    <p:extLst>
      <p:ext uri="{BB962C8B-B14F-4D97-AF65-F5344CB8AC3E}">
        <p14:creationId xmlns:p14="http://schemas.microsoft.com/office/powerpoint/2010/main" val="9725883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E6DD39-26B8-665A-F6E8-B7E760CB4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AD68FF3F-FE3A-15F4-ACCA-FCBD2D9A0C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4695893"/>
              </p:ext>
            </p:extLst>
          </p:nvPr>
        </p:nvGraphicFramePr>
        <p:xfrm>
          <a:off x="202019" y="1152591"/>
          <a:ext cx="11522603" cy="5304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0BBBCF30-BCE6-DCF4-3447-0AB216FBF05C}"/>
              </a:ext>
            </a:extLst>
          </p:cNvPr>
          <p:cNvSpPr/>
          <p:nvPr/>
        </p:nvSpPr>
        <p:spPr>
          <a:xfrm>
            <a:off x="693406" y="400447"/>
            <a:ext cx="39008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7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CONTROL DE LEGALIDAD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BC18E372-EECB-C556-00FD-321E6E40FCD7}"/>
              </a:ext>
            </a:extLst>
          </p:cNvPr>
          <p:cNvSpPr/>
          <p:nvPr/>
        </p:nvSpPr>
        <p:spPr>
          <a:xfrm>
            <a:off x="8403331" y="3429000"/>
            <a:ext cx="2616040" cy="26160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rgbClr val="1F67B0"/>
                </a:solidFill>
                <a:latin typeface="Montserrat" panose="02000505000000020004" pitchFamily="2" charset="0"/>
              </a:rPr>
              <a:t>Total</a:t>
            </a:r>
          </a:p>
          <a:p>
            <a:pPr algn="ctr"/>
            <a:r>
              <a:rPr lang="es-EC" sz="2400" b="1" dirty="0">
                <a:solidFill>
                  <a:srgbClr val="1F67B0"/>
                </a:solidFill>
                <a:latin typeface="Montserrat" panose="02000505000000020004" pitchFamily="2" charset="0"/>
              </a:rPr>
              <a:t>165 casos</a:t>
            </a:r>
            <a:endParaRPr lang="es-EC" sz="1800" b="1" dirty="0">
              <a:solidFill>
                <a:srgbClr val="1F67B0"/>
              </a:solidFill>
              <a:latin typeface="Montserrat" panose="02000505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268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505654-DD69-FE27-38CE-AD0056831B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9A1ACA8C-3C4E-0460-FBDE-7F2C86F395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3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F50960EB-BB1A-05FB-39BD-81C23FC6383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F67AF">
              <a:alpha val="7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C268E3FD-99A9-B702-697B-77EC90A22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4</a:t>
            </a:fld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FE0525A-D86F-E709-088A-F74C12AA4A0D}"/>
              </a:ext>
            </a:extLst>
          </p:cNvPr>
          <p:cNvSpPr txBox="1"/>
          <p:nvPr/>
        </p:nvSpPr>
        <p:spPr>
          <a:xfrm>
            <a:off x="1388962" y="3216355"/>
            <a:ext cx="9715443" cy="1295328"/>
          </a:xfrm>
          <a:prstGeom prst="rect">
            <a:avLst/>
          </a:prstGeom>
          <a:noFill/>
        </p:spPr>
        <p:txBody>
          <a:bodyPr wrap="square" lIns="180000" tIns="0" rIns="108000" bIns="134447" anchor="ctr" anchorCtr="0">
            <a:noAutofit/>
          </a:bodyPr>
          <a:lstStyle>
            <a:defPPr>
              <a:defRPr lang="es-EC"/>
            </a:defPPr>
            <a:lvl1pPr marR="0" lvl="0" indent="0" defTabSz="6829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bas Neue" panose="020B0606020202050201" pitchFamily="34" charset="0"/>
              </a:defRPr>
            </a:lvl1pPr>
          </a:lstStyle>
          <a:p>
            <a:pPr algn="ctr"/>
            <a:r>
              <a:rPr lang="es-EC" sz="7000" b="1" dirty="0">
                <a:latin typeface="Montserrat" pitchFamily="2" charset="0"/>
              </a:rPr>
              <a:t>www.pge.gob.ec</a:t>
            </a:r>
          </a:p>
          <a:p>
            <a:pPr algn="ctr"/>
            <a:r>
              <a:rPr lang="es-EC" sz="3200" dirty="0">
                <a:latin typeface="Montserrat" pitchFamily="2" charset="0"/>
              </a:rPr>
              <a:t>rendiciondecuentasquito@pge.gob.ec</a:t>
            </a:r>
          </a:p>
        </p:txBody>
      </p:sp>
      <p:pic>
        <p:nvPicPr>
          <p:cNvPr id="16" name="Imagen 15" descr="Logotipo&#10;&#10;Descripción generada automáticamente">
            <a:extLst>
              <a:ext uri="{FF2B5EF4-FFF2-40B4-BE49-F238E27FC236}">
                <a16:creationId xmlns:a16="http://schemas.microsoft.com/office/drawing/2014/main" id="{32B8178F-9869-7DDC-4E6C-D42A2FF2FD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678" y="1371688"/>
            <a:ext cx="1982644" cy="129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0622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ACEECA18-F93E-F682-43EA-2A565FEC6C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91" t="18228" r="11994" b="10717"/>
          <a:stretch>
            <a:fillRect/>
          </a:stretch>
        </p:blipFill>
        <p:spPr>
          <a:xfrm>
            <a:off x="659757" y="946231"/>
            <a:ext cx="9936901" cy="5315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40090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15651A-75F0-ED34-22A9-A4D08839C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Texto&#10;&#10;El contenido generado por IA puede ser incorrecto.">
            <a:extLst>
              <a:ext uri="{FF2B5EF4-FFF2-40B4-BE49-F238E27FC236}">
                <a16:creationId xmlns:a16="http://schemas.microsoft.com/office/drawing/2014/main" id="{4965D0AB-95AE-DBEA-8EE5-D9BE623377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06" b="1505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0197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310" y="2370654"/>
            <a:ext cx="2112004" cy="2112004"/>
          </a:xfrm>
          <a:prstGeom prst="rect">
            <a:avLst/>
          </a:prstGeom>
        </p:spPr>
      </p:pic>
      <p:sp>
        <p:nvSpPr>
          <p:cNvPr id="7" name="7 CuadroTexto"/>
          <p:cNvSpPr txBox="1"/>
          <p:nvPr/>
        </p:nvSpPr>
        <p:spPr>
          <a:xfrm>
            <a:off x="5153024" y="3165046"/>
            <a:ext cx="49434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Iniciativa Legislativ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42</a:t>
            </a:fld>
            <a:endParaRPr lang="es-EC" dirty="0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DBEC33F-4668-D5E2-22C1-7B3E7A96E046}"/>
              </a:ext>
            </a:extLst>
          </p:cNvPr>
          <p:cNvSpPr/>
          <p:nvPr/>
        </p:nvSpPr>
        <p:spPr>
          <a:xfrm>
            <a:off x="5238114" y="3688266"/>
            <a:ext cx="5683886" cy="646986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Ejercer la iniciativa legislativa y promover la capacitación e investigación jurídica</a:t>
            </a:r>
          </a:p>
        </p:txBody>
      </p:sp>
    </p:spTree>
    <p:extLst>
      <p:ext uri="{BB962C8B-B14F-4D97-AF65-F5344CB8AC3E}">
        <p14:creationId xmlns:p14="http://schemas.microsoft.com/office/powerpoint/2010/main" val="211721300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5D593C4-5A03-43E4-A386-7EBDD9AC35C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43</a:t>
            </a:fld>
            <a:endParaRPr lang="es-EC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Entrada de lápiz 27">
                <a:extLst>
                  <a:ext uri="{FF2B5EF4-FFF2-40B4-BE49-F238E27FC236}">
                    <a16:creationId xmlns:a16="http://schemas.microsoft.com/office/drawing/2014/main" id="{AA4B98E7-674E-FEA7-68B7-0C3971506A7D}"/>
                  </a:ext>
                </a:extLst>
              </p14:cNvPr>
              <p14:cNvContentPartPr/>
              <p14:nvPr/>
            </p14:nvContentPartPr>
            <p14:xfrm>
              <a:off x="4976363" y="6057333"/>
              <a:ext cx="2196000" cy="2196000"/>
            </p14:xfrm>
          </p:contentPart>
        </mc:Choice>
        <mc:Fallback xmlns="">
          <p:pic>
            <p:nvPicPr>
              <p:cNvPr id="28" name="Entrada de lápiz 27">
                <a:extLst>
                  <a:ext uri="{FF2B5EF4-FFF2-40B4-BE49-F238E27FC236}">
                    <a16:creationId xmlns:a16="http://schemas.microsoft.com/office/drawing/2014/main" id="{AA4B98E7-674E-FEA7-68B7-0C3971506A7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9923637" y="-48842667"/>
                <a:ext cx="109800000" cy="109800000"/>
              </a:xfrm>
              <a:prstGeom prst="rect">
                <a:avLst/>
              </a:prstGeom>
            </p:spPr>
          </p:pic>
        </mc:Fallback>
      </mc:AlternateContent>
      <p:sp>
        <p:nvSpPr>
          <p:cNvPr id="4" name="Rectángulo 3">
            <a:extLst>
              <a:ext uri="{FF2B5EF4-FFF2-40B4-BE49-F238E27FC236}">
                <a16:creationId xmlns:a16="http://schemas.microsoft.com/office/drawing/2014/main" id="{06B27540-5650-F04B-F6A8-816F893723FE}"/>
              </a:ext>
            </a:extLst>
          </p:cNvPr>
          <p:cNvSpPr/>
          <p:nvPr/>
        </p:nvSpPr>
        <p:spPr>
          <a:xfrm>
            <a:off x="729829" y="453292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INICIATIVA LEGISLATIVA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662C851-E47E-C2F7-2890-458B6D2994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6016388"/>
              </p:ext>
            </p:extLst>
          </p:nvPr>
        </p:nvGraphicFramePr>
        <p:xfrm>
          <a:off x="2225205" y="1258950"/>
          <a:ext cx="7698315" cy="4861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Elipse 6">
            <a:extLst>
              <a:ext uri="{FF2B5EF4-FFF2-40B4-BE49-F238E27FC236}">
                <a16:creationId xmlns:a16="http://schemas.microsoft.com/office/drawing/2014/main" id="{172C29C3-14CE-D0AE-F094-EAA13B059486}"/>
              </a:ext>
            </a:extLst>
          </p:cNvPr>
          <p:cNvSpPr/>
          <p:nvPr/>
        </p:nvSpPr>
        <p:spPr>
          <a:xfrm>
            <a:off x="4756555" y="2393212"/>
            <a:ext cx="2678889" cy="2600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B254F53-687D-D274-DBA5-F6344FAEFBAE}"/>
              </a:ext>
            </a:extLst>
          </p:cNvPr>
          <p:cNvSpPr txBox="1"/>
          <p:nvPr/>
        </p:nvSpPr>
        <p:spPr>
          <a:xfrm>
            <a:off x="5183791" y="2781667"/>
            <a:ext cx="178114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C" sz="5200" b="1" dirty="0">
                <a:solidFill>
                  <a:srgbClr val="004B8E"/>
                </a:solidFill>
              </a:rPr>
              <a:t>55</a:t>
            </a:r>
            <a:r>
              <a:rPr lang="es-EC" sz="7000" b="1" dirty="0">
                <a:solidFill>
                  <a:srgbClr val="004B8E"/>
                </a:solidFill>
              </a:rPr>
              <a:t> </a:t>
            </a:r>
          </a:p>
          <a:p>
            <a:pPr algn="ctr"/>
            <a:r>
              <a:rPr lang="es-EC" sz="1400" dirty="0">
                <a:solidFill>
                  <a:srgbClr val="004B8E"/>
                </a:solidFill>
              </a:rPr>
              <a:t>actuaciones a oficios remitidos por la Asamblea Nacional</a:t>
            </a:r>
          </a:p>
        </p:txBody>
      </p:sp>
    </p:spTree>
    <p:extLst>
      <p:ext uri="{BB962C8B-B14F-4D97-AF65-F5344CB8AC3E}">
        <p14:creationId xmlns:p14="http://schemas.microsoft.com/office/powerpoint/2010/main" val="17342432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22526-48E4-B2F9-3097-054911479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F1EA0CCB-FA98-9406-0A1F-EBF4F3B7F60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44</a:t>
            </a:fld>
            <a:endParaRPr lang="es-EC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Entrada de lápiz 27">
                <a:extLst>
                  <a:ext uri="{FF2B5EF4-FFF2-40B4-BE49-F238E27FC236}">
                    <a16:creationId xmlns:a16="http://schemas.microsoft.com/office/drawing/2014/main" id="{7B82D009-4496-A61D-65CD-115D607AA1F7}"/>
                  </a:ext>
                </a:extLst>
              </p14:cNvPr>
              <p14:cNvContentPartPr/>
              <p14:nvPr/>
            </p14:nvContentPartPr>
            <p14:xfrm>
              <a:off x="4976363" y="6057333"/>
              <a:ext cx="2196000" cy="2196000"/>
            </p14:xfrm>
          </p:contentPart>
        </mc:Choice>
        <mc:Fallback xmlns="">
          <p:pic>
            <p:nvPicPr>
              <p:cNvPr id="28" name="Entrada de lápiz 27">
                <a:extLst>
                  <a:ext uri="{FF2B5EF4-FFF2-40B4-BE49-F238E27FC236}">
                    <a16:creationId xmlns:a16="http://schemas.microsoft.com/office/drawing/2014/main" id="{7B82D009-4496-A61D-65CD-115D607AA1F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9923637" y="-48842667"/>
                <a:ext cx="109800000" cy="10980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Entrada de lápiz 28">
                <a:extLst>
                  <a:ext uri="{FF2B5EF4-FFF2-40B4-BE49-F238E27FC236}">
                    <a16:creationId xmlns:a16="http://schemas.microsoft.com/office/drawing/2014/main" id="{623C3618-BBCE-D457-E7E9-C405899780B4}"/>
                  </a:ext>
                </a:extLst>
              </p14:cNvPr>
              <p14:cNvContentPartPr/>
              <p14:nvPr/>
            </p14:nvContentPartPr>
            <p14:xfrm>
              <a:off x="8731080" y="5024774"/>
              <a:ext cx="2196000" cy="2196000"/>
            </p14:xfrm>
          </p:contentPart>
        </mc:Choice>
        <mc:Fallback xmlns="">
          <p:pic>
            <p:nvPicPr>
              <p:cNvPr id="29" name="Entrada de lápiz 28">
                <a:extLst>
                  <a:ext uri="{FF2B5EF4-FFF2-40B4-BE49-F238E27FC236}">
                    <a16:creationId xmlns:a16="http://schemas.microsoft.com/office/drawing/2014/main" id="{623C3618-BBCE-D457-E7E9-C405899780B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46168920" y="-49875226"/>
                <a:ext cx="109800000" cy="10980000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Rectángulo 5">
            <a:extLst>
              <a:ext uri="{FF2B5EF4-FFF2-40B4-BE49-F238E27FC236}">
                <a16:creationId xmlns:a16="http://schemas.microsoft.com/office/drawing/2014/main" id="{952D5DFC-892A-E34A-C725-25682BE558F7}"/>
              </a:ext>
            </a:extLst>
          </p:cNvPr>
          <p:cNvSpPr/>
          <p:nvPr/>
        </p:nvSpPr>
        <p:spPr>
          <a:xfrm>
            <a:off x="729829" y="453292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INICIATIVA LEGISLATIVA – proyectos de ley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E984E13E-864E-26D0-4869-12F18F86DAD8}"/>
              </a:ext>
            </a:extLst>
          </p:cNvPr>
          <p:cNvSpPr txBox="1"/>
          <p:nvPr/>
        </p:nvSpPr>
        <p:spPr>
          <a:xfrm>
            <a:off x="4373950" y="1641300"/>
            <a:ext cx="3168000" cy="4464000"/>
          </a:xfrm>
          <a:prstGeom prst="rect">
            <a:avLst/>
          </a:prstGeom>
          <a:solidFill>
            <a:srgbClr val="1F67B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endParaRPr lang="es-MX" sz="2100" dirty="0">
              <a:solidFill>
                <a:schemeClr val="bg1"/>
              </a:solidFill>
            </a:endParaRPr>
          </a:p>
          <a:p>
            <a:pPr algn="ctr"/>
            <a:r>
              <a:rPr lang="es-MX" sz="2100" dirty="0">
                <a:solidFill>
                  <a:schemeClr val="bg1"/>
                </a:solidFill>
              </a:rPr>
              <a:t>Ley Orgánica de la Procuraduría General del Estado </a:t>
            </a:r>
          </a:p>
        </p:txBody>
      </p:sp>
      <p:pic>
        <p:nvPicPr>
          <p:cNvPr id="4" name="Imagen 3" descr="Logotipo&#10;&#10;El contenido generado por IA puede ser incorrecto.">
            <a:extLst>
              <a:ext uri="{FF2B5EF4-FFF2-40B4-BE49-F238E27FC236}">
                <a16:creationId xmlns:a16="http://schemas.microsoft.com/office/drawing/2014/main" id="{14C89ACD-82E1-821E-489C-51EE2EF526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453" y="2356679"/>
            <a:ext cx="1827245" cy="1193800"/>
          </a:xfrm>
          <a:prstGeom prst="rect">
            <a:avLst/>
          </a:prstGeom>
        </p:spPr>
      </p:pic>
      <p:pic>
        <p:nvPicPr>
          <p:cNvPr id="5122" name="Picture 2" descr="No hay descripción alternativa para esta imagen">
            <a:extLst>
              <a:ext uri="{FF2B5EF4-FFF2-40B4-BE49-F238E27FC236}">
                <a16:creationId xmlns:a16="http://schemas.microsoft.com/office/drawing/2014/main" id="{819204C2-AD3D-5C98-850C-BBB45897A8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33"/>
          <a:stretch>
            <a:fillRect/>
          </a:stretch>
        </p:blipFill>
        <p:spPr bwMode="auto">
          <a:xfrm>
            <a:off x="690857" y="1658774"/>
            <a:ext cx="3168001" cy="4464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No hay descripción alternativa para esta imagen">
            <a:extLst>
              <a:ext uri="{FF2B5EF4-FFF2-40B4-BE49-F238E27FC236}">
                <a16:creationId xmlns:a16="http://schemas.microsoft.com/office/drawing/2014/main" id="{4CFA868A-87DD-5EA7-688D-F05DE24AF3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7042" y="1641301"/>
            <a:ext cx="3444100" cy="446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4673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7 CuadroTexto"/>
          <p:cNvSpPr txBox="1"/>
          <p:nvPr/>
        </p:nvSpPr>
        <p:spPr>
          <a:xfrm>
            <a:off x="5153024" y="3165046"/>
            <a:ext cx="5805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Otros aspectos destacado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45</a:t>
            </a:fld>
            <a:endParaRPr lang="es-EC" dirty="0"/>
          </a:p>
        </p:txBody>
      </p:sp>
      <p:pic>
        <p:nvPicPr>
          <p:cNvPr id="2" name="Gráfico 1" descr="Persona con idea contorno">
            <a:extLst>
              <a:ext uri="{FF2B5EF4-FFF2-40B4-BE49-F238E27FC236}">
                <a16:creationId xmlns:a16="http://schemas.microsoft.com/office/drawing/2014/main" id="{EE7B09F9-07D4-4C90-6995-95C643AE19C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069895" y="2741455"/>
            <a:ext cx="1415999" cy="1415999"/>
          </a:xfrm>
          <a:prstGeom prst="rect">
            <a:avLst/>
          </a:prstGeom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F05CF2D5-A056-667E-606A-C67CB0160664}"/>
              </a:ext>
            </a:extLst>
          </p:cNvPr>
          <p:cNvSpPr/>
          <p:nvPr/>
        </p:nvSpPr>
        <p:spPr>
          <a:xfrm>
            <a:off x="2841895" y="2513455"/>
            <a:ext cx="1872000" cy="187200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64928638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Imagen">
            <a:extLst>
              <a:ext uri="{FF2B5EF4-FFF2-40B4-BE49-F238E27FC236}">
                <a16:creationId xmlns:a16="http://schemas.microsoft.com/office/drawing/2014/main" id="{045F0EE0-1568-4ED5-2004-BC61C4D713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9EEDA50-B7ED-5E1E-5E4D-41B61C3D70C2}"/>
              </a:ext>
            </a:extLst>
          </p:cNvPr>
          <p:cNvSpPr txBox="1"/>
          <p:nvPr/>
        </p:nvSpPr>
        <p:spPr>
          <a:xfrm>
            <a:off x="4039565" y="4854286"/>
            <a:ext cx="8152435" cy="1106676"/>
          </a:xfrm>
          <a:prstGeom prst="rect">
            <a:avLst/>
          </a:prstGeom>
          <a:solidFill>
            <a:srgbClr val="004B8E"/>
          </a:solidFill>
        </p:spPr>
        <p:txBody>
          <a:bodyPr wrap="square" anchor="ctr" anchorCtr="0">
            <a:noAutofit/>
          </a:bodyPr>
          <a:lstStyle/>
          <a:p>
            <a:pPr algn="r"/>
            <a:r>
              <a:rPr lang="es-MX" dirty="0">
                <a:solidFill>
                  <a:schemeClr val="bg1"/>
                </a:solidFill>
                <a:latin typeface="Montserrat" pitchFamily="2" charset="0"/>
              </a:rPr>
              <a:t>III Simposio Internacional </a:t>
            </a:r>
          </a:p>
          <a:p>
            <a:pPr algn="r"/>
            <a:r>
              <a:rPr lang="es-MX" b="1" dirty="0">
                <a:solidFill>
                  <a:schemeClr val="bg1"/>
                </a:solidFill>
                <a:latin typeface="Montserrat" pitchFamily="2" charset="0"/>
              </a:rPr>
              <a:t>Los actuales desafíos del Derecho y el rol de la Procuraduría</a:t>
            </a:r>
            <a:endParaRPr lang="es-ES" b="1" dirty="0">
              <a:solidFill>
                <a:schemeClr val="bg1"/>
              </a:solidFill>
              <a:latin typeface="Montserrat" pitchFamily="2" charset="0"/>
            </a:endParaRPr>
          </a:p>
          <a:p>
            <a:pPr algn="r"/>
            <a:r>
              <a:rPr lang="es-ES" dirty="0">
                <a:solidFill>
                  <a:schemeClr val="bg1"/>
                </a:solidFill>
                <a:latin typeface="Montserrat" pitchFamily="2" charset="0"/>
              </a:rPr>
              <a:t>Quito, agosto 2025</a:t>
            </a:r>
            <a:endParaRPr lang="es-EC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6027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 grupo de personas en un salón de clases&#10;&#10;El contenido generado por IA puede ser incorrecto.">
            <a:extLst>
              <a:ext uri="{FF2B5EF4-FFF2-40B4-BE49-F238E27FC236}">
                <a16:creationId xmlns:a16="http://schemas.microsoft.com/office/drawing/2014/main" id="{8E498BA5-FC42-AD56-8513-0016B445A2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10" b="18742"/>
          <a:stretch>
            <a:fillRect/>
          </a:stretch>
        </p:blipFill>
        <p:spPr>
          <a:xfrm>
            <a:off x="5228683" y="2895213"/>
            <a:ext cx="6963317" cy="3962787"/>
          </a:xfrm>
          <a:prstGeom prst="rect">
            <a:avLst/>
          </a:prstGeom>
        </p:spPr>
      </p:pic>
      <p:pic>
        <p:nvPicPr>
          <p:cNvPr id="5" name="Imagen 4" descr="Interfaz de usuario gráfica, Aplicación&#10;&#10;El contenido generado por IA puede ser incorrecto.">
            <a:extLst>
              <a:ext uri="{FF2B5EF4-FFF2-40B4-BE49-F238E27FC236}">
                <a16:creationId xmlns:a16="http://schemas.microsoft.com/office/drawing/2014/main" id="{CF0F2203-0893-FF82-F3B6-903E7A2356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54" b="7066"/>
          <a:stretch>
            <a:fillRect/>
          </a:stretch>
        </p:blipFill>
        <p:spPr>
          <a:xfrm>
            <a:off x="5580563" y="0"/>
            <a:ext cx="6611438" cy="3144785"/>
          </a:xfrm>
          <a:prstGeom prst="rect">
            <a:avLst/>
          </a:prstGeom>
        </p:spPr>
      </p:pic>
      <p:pic>
        <p:nvPicPr>
          <p:cNvPr id="7" name="Imagen 6" descr="Un grupo de personas sentadas alrededor de una mesa&#10;&#10;El contenido generado por IA puede ser incorrecto.">
            <a:extLst>
              <a:ext uri="{FF2B5EF4-FFF2-40B4-BE49-F238E27FC236}">
                <a16:creationId xmlns:a16="http://schemas.microsoft.com/office/drawing/2014/main" id="{63201D10-2625-561B-C5A2-EE53F683197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31"/>
          <a:stretch>
            <a:fillRect/>
          </a:stretch>
        </p:blipFill>
        <p:spPr>
          <a:xfrm>
            <a:off x="1" y="3809227"/>
            <a:ext cx="5274522" cy="3048772"/>
          </a:xfrm>
          <a:prstGeom prst="rect">
            <a:avLst/>
          </a:prstGeom>
        </p:spPr>
      </p:pic>
      <p:pic>
        <p:nvPicPr>
          <p:cNvPr id="3" name="Imagen 2" descr="Un grupo de personas en un salón de clases&#10;&#10;El contenido generado por IA puede ser incorrecto.">
            <a:extLst>
              <a:ext uri="{FF2B5EF4-FFF2-40B4-BE49-F238E27FC236}">
                <a16:creationId xmlns:a16="http://schemas.microsoft.com/office/drawing/2014/main" id="{15A0E16B-5182-1B9B-B2AC-D94F8FCC08F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6363128" cy="4242085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59103E01-7E1E-313B-2CE3-351B826A542B}"/>
              </a:ext>
            </a:extLst>
          </p:cNvPr>
          <p:cNvCxnSpPr>
            <a:cxnSpLocks/>
          </p:cNvCxnSpPr>
          <p:nvPr/>
        </p:nvCxnSpPr>
        <p:spPr>
          <a:xfrm>
            <a:off x="6363129" y="-104176"/>
            <a:ext cx="0" cy="439200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A32B3F8-BC84-22C2-3D33-63D13904AEFA}"/>
              </a:ext>
            </a:extLst>
          </p:cNvPr>
          <p:cNvCxnSpPr>
            <a:cxnSpLocks/>
          </p:cNvCxnSpPr>
          <p:nvPr/>
        </p:nvCxnSpPr>
        <p:spPr>
          <a:xfrm flipH="1">
            <a:off x="6363129" y="3190524"/>
            <a:ext cx="582887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77115A1A-0D1A-68FE-8424-2B74A872813E}"/>
              </a:ext>
            </a:extLst>
          </p:cNvPr>
          <p:cNvCxnSpPr>
            <a:cxnSpLocks/>
          </p:cNvCxnSpPr>
          <p:nvPr/>
        </p:nvCxnSpPr>
        <p:spPr>
          <a:xfrm flipH="1">
            <a:off x="0" y="4242085"/>
            <a:ext cx="6363129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0ACA8EA4-AB06-D521-956F-78F723918D9C}"/>
              </a:ext>
            </a:extLst>
          </p:cNvPr>
          <p:cNvCxnSpPr>
            <a:cxnSpLocks/>
          </p:cNvCxnSpPr>
          <p:nvPr/>
        </p:nvCxnSpPr>
        <p:spPr>
          <a:xfrm>
            <a:off x="5274522" y="4242085"/>
            <a:ext cx="0" cy="2615914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 descr="Logotipo&#10;&#10;El contenido generado por IA puede ser incorrecto.">
            <a:extLst>
              <a:ext uri="{FF2B5EF4-FFF2-40B4-BE49-F238E27FC236}">
                <a16:creationId xmlns:a16="http://schemas.microsoft.com/office/drawing/2014/main" id="{81D50E9D-0260-50E8-1B57-499B500F13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31" y="114643"/>
            <a:ext cx="1209870" cy="79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1536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agen">
            <a:extLst>
              <a:ext uri="{FF2B5EF4-FFF2-40B4-BE49-F238E27FC236}">
                <a16:creationId xmlns:a16="http://schemas.microsoft.com/office/drawing/2014/main" id="{95DB8763-DDDC-FF6A-F2EB-423D65631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014" y="3907634"/>
            <a:ext cx="2061616" cy="2672141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n">
            <a:extLst>
              <a:ext uri="{FF2B5EF4-FFF2-40B4-BE49-F238E27FC236}">
                <a16:creationId xmlns:a16="http://schemas.microsoft.com/office/drawing/2014/main" id="{2397E88F-2408-69B0-0E41-C90B4F0C9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611" y="3907634"/>
            <a:ext cx="2061616" cy="2672141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n">
            <a:extLst>
              <a:ext uri="{FF2B5EF4-FFF2-40B4-BE49-F238E27FC236}">
                <a16:creationId xmlns:a16="http://schemas.microsoft.com/office/drawing/2014/main" id="{B8F47735-631F-1E3E-F4F7-BEE54FBE8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150" y="3907634"/>
            <a:ext cx="2061616" cy="2672141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n">
            <a:extLst>
              <a:ext uri="{FF2B5EF4-FFF2-40B4-BE49-F238E27FC236}">
                <a16:creationId xmlns:a16="http://schemas.microsoft.com/office/drawing/2014/main" id="{249FBFE3-27EB-5F48-7D69-37D16586B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416" y="3907634"/>
            <a:ext cx="2061616" cy="2672141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Imagen">
            <a:extLst>
              <a:ext uri="{FF2B5EF4-FFF2-40B4-BE49-F238E27FC236}">
                <a16:creationId xmlns:a16="http://schemas.microsoft.com/office/drawing/2014/main" id="{73CE6D1B-B68F-2E64-0638-10E907426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416" y="1053296"/>
            <a:ext cx="2061616" cy="268015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Imagen">
            <a:extLst>
              <a:ext uri="{FF2B5EF4-FFF2-40B4-BE49-F238E27FC236}">
                <a16:creationId xmlns:a16="http://schemas.microsoft.com/office/drawing/2014/main" id="{58C3F099-6398-FB7E-E12C-297B65E02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150" y="1053296"/>
            <a:ext cx="2061616" cy="268015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Imagen">
            <a:extLst>
              <a:ext uri="{FF2B5EF4-FFF2-40B4-BE49-F238E27FC236}">
                <a16:creationId xmlns:a16="http://schemas.microsoft.com/office/drawing/2014/main" id="{9A52EC37-EC96-6028-4E81-55025F5C8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014" y="1053296"/>
            <a:ext cx="2061616" cy="268015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Imagen">
            <a:extLst>
              <a:ext uri="{FF2B5EF4-FFF2-40B4-BE49-F238E27FC236}">
                <a16:creationId xmlns:a16="http://schemas.microsoft.com/office/drawing/2014/main" id="{09B406E6-E2AF-872C-1F22-9CEFD8B84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92" y="1064520"/>
            <a:ext cx="2061616" cy="2668934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Imagen">
            <a:extLst>
              <a:ext uri="{FF2B5EF4-FFF2-40B4-BE49-F238E27FC236}">
                <a16:creationId xmlns:a16="http://schemas.microsoft.com/office/drawing/2014/main" id="{1B8C5CF8-37A0-7E2C-852C-2AF030D4F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611" y="1061313"/>
            <a:ext cx="2061616" cy="2672141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n">
            <a:extLst>
              <a:ext uri="{FF2B5EF4-FFF2-40B4-BE49-F238E27FC236}">
                <a16:creationId xmlns:a16="http://schemas.microsoft.com/office/drawing/2014/main" id="{4905F753-16F9-31F4-43BD-591C9C4C4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92" y="3907634"/>
            <a:ext cx="2061631" cy="2672142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1656DB0D-5BB2-63A9-D419-588F91B566CA}"/>
              </a:ext>
            </a:extLst>
          </p:cNvPr>
          <p:cNvSpPr/>
          <p:nvPr/>
        </p:nvSpPr>
        <p:spPr>
          <a:xfrm>
            <a:off x="729829" y="453292"/>
            <a:ext cx="455748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500" dirty="0">
                <a:solidFill>
                  <a:srgbClr val="1F67B0"/>
                </a:solidFill>
                <a:latin typeface="Bebas Neue" panose="020B0606020202050201" pitchFamily="34" charset="0"/>
                <a:ea typeface="Microsoft YaHei" panose="020B0503020204020204" pitchFamily="34" charset="-122"/>
              </a:rPr>
              <a:t>PODCAST PGE</a:t>
            </a:r>
          </a:p>
        </p:txBody>
      </p:sp>
    </p:spTree>
    <p:extLst>
      <p:ext uri="{BB962C8B-B14F-4D97-AF65-F5344CB8AC3E}">
        <p14:creationId xmlns:p14="http://schemas.microsoft.com/office/powerpoint/2010/main" val="292783538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5CFA449-3568-7B83-2D34-6BF10A3D0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7 CuadroTexto">
            <a:extLst>
              <a:ext uri="{FF2B5EF4-FFF2-40B4-BE49-F238E27FC236}">
                <a16:creationId xmlns:a16="http://schemas.microsoft.com/office/drawing/2014/main" id="{DD03421D-2900-CD73-9945-9C55FB09CCC9}"/>
              </a:ext>
            </a:extLst>
          </p:cNvPr>
          <p:cNvSpPr txBox="1"/>
          <p:nvPr/>
        </p:nvSpPr>
        <p:spPr>
          <a:xfrm>
            <a:off x="5153024" y="3165046"/>
            <a:ext cx="5805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Direcciones regionales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5077C0-8F61-36AB-E244-08976BCADBD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356350"/>
            <a:ext cx="5040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49</a:t>
            </a:fld>
            <a:endParaRPr lang="es-EC" dirty="0"/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3E4019D3-09F7-D0E5-DD87-B5E2CF0E0FBE}"/>
              </a:ext>
            </a:extLst>
          </p:cNvPr>
          <p:cNvSpPr/>
          <p:nvPr/>
        </p:nvSpPr>
        <p:spPr>
          <a:xfrm>
            <a:off x="2841895" y="2513455"/>
            <a:ext cx="1872000" cy="187200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2DF4DA3-F051-66D1-FDFB-7BBD3DF941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718" y="2752278"/>
            <a:ext cx="1394353" cy="139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589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961AB-45D2-995D-3B69-559236CEB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69956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96CE8-B4CC-EA4C-D6CE-3AB57F7BF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399735B6-D641-2CC7-D6C3-0F2FBC9F2285}"/>
              </a:ext>
            </a:extLst>
          </p:cNvPr>
          <p:cNvGrpSpPr/>
          <p:nvPr/>
        </p:nvGrpSpPr>
        <p:grpSpPr>
          <a:xfrm>
            <a:off x="1803229" y="139351"/>
            <a:ext cx="9570172" cy="6579297"/>
            <a:chOff x="1284243" y="250388"/>
            <a:chExt cx="9231357" cy="635428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00A3110B-27BB-9AA7-227C-E6D7EA341A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84243" y="250388"/>
              <a:ext cx="9231357" cy="6354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E61EF83B-0504-864C-9844-26E15256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075" y="4936670"/>
              <a:ext cx="1069343" cy="1666528"/>
            </a:xfrm>
            <a:custGeom>
              <a:avLst/>
              <a:gdLst>
                <a:gd name="T0" fmla="*/ 534 w 727"/>
                <a:gd name="T1" fmla="*/ 152 h 1133"/>
                <a:gd name="T2" fmla="*/ 555 w 727"/>
                <a:gd name="T3" fmla="*/ 144 h 1133"/>
                <a:gd name="T4" fmla="*/ 726 w 727"/>
                <a:gd name="T5" fmla="*/ 138 h 1133"/>
                <a:gd name="T6" fmla="*/ 708 w 727"/>
                <a:gd name="T7" fmla="*/ 182 h 1133"/>
                <a:gd name="T8" fmla="*/ 709 w 727"/>
                <a:gd name="T9" fmla="*/ 239 h 1133"/>
                <a:gd name="T10" fmla="*/ 693 w 727"/>
                <a:gd name="T11" fmla="*/ 249 h 1133"/>
                <a:gd name="T12" fmla="*/ 681 w 727"/>
                <a:gd name="T13" fmla="*/ 330 h 1133"/>
                <a:gd name="T14" fmla="*/ 656 w 727"/>
                <a:gd name="T15" fmla="*/ 353 h 1133"/>
                <a:gd name="T16" fmla="*/ 642 w 727"/>
                <a:gd name="T17" fmla="*/ 423 h 1133"/>
                <a:gd name="T18" fmla="*/ 609 w 727"/>
                <a:gd name="T19" fmla="*/ 433 h 1133"/>
                <a:gd name="T20" fmla="*/ 592 w 727"/>
                <a:gd name="T21" fmla="*/ 521 h 1133"/>
                <a:gd name="T22" fmla="*/ 526 w 727"/>
                <a:gd name="T23" fmla="*/ 659 h 1133"/>
                <a:gd name="T24" fmla="*/ 536 w 727"/>
                <a:gd name="T25" fmla="*/ 736 h 1133"/>
                <a:gd name="T26" fmla="*/ 530 w 727"/>
                <a:gd name="T27" fmla="*/ 785 h 1133"/>
                <a:gd name="T28" fmla="*/ 522 w 727"/>
                <a:gd name="T29" fmla="*/ 835 h 1133"/>
                <a:gd name="T30" fmla="*/ 407 w 727"/>
                <a:gd name="T31" fmla="*/ 891 h 1133"/>
                <a:gd name="T32" fmla="*/ 357 w 727"/>
                <a:gd name="T33" fmla="*/ 974 h 1133"/>
                <a:gd name="T34" fmla="*/ 353 w 727"/>
                <a:gd name="T35" fmla="*/ 1038 h 1133"/>
                <a:gd name="T36" fmla="*/ 308 w 727"/>
                <a:gd name="T37" fmla="*/ 1084 h 1133"/>
                <a:gd name="T38" fmla="*/ 253 w 727"/>
                <a:gd name="T39" fmla="*/ 1121 h 1133"/>
                <a:gd name="T40" fmla="*/ 221 w 727"/>
                <a:gd name="T41" fmla="*/ 1113 h 1133"/>
                <a:gd name="T42" fmla="*/ 169 w 727"/>
                <a:gd name="T43" fmla="*/ 1101 h 1133"/>
                <a:gd name="T44" fmla="*/ 96 w 727"/>
                <a:gd name="T45" fmla="*/ 1088 h 1133"/>
                <a:gd name="T46" fmla="*/ 62 w 727"/>
                <a:gd name="T47" fmla="*/ 1053 h 1133"/>
                <a:gd name="T48" fmla="*/ 44 w 727"/>
                <a:gd name="T49" fmla="*/ 1023 h 1133"/>
                <a:gd name="T50" fmla="*/ 2 w 727"/>
                <a:gd name="T51" fmla="*/ 983 h 1133"/>
                <a:gd name="T52" fmla="*/ 57 w 727"/>
                <a:gd name="T53" fmla="*/ 901 h 1133"/>
                <a:gd name="T54" fmla="*/ 94 w 727"/>
                <a:gd name="T55" fmla="*/ 845 h 1133"/>
                <a:gd name="T56" fmla="*/ 95 w 727"/>
                <a:gd name="T57" fmla="*/ 798 h 1133"/>
                <a:gd name="T58" fmla="*/ 118 w 727"/>
                <a:gd name="T59" fmla="*/ 773 h 1133"/>
                <a:gd name="T60" fmla="*/ 147 w 727"/>
                <a:gd name="T61" fmla="*/ 779 h 1133"/>
                <a:gd name="T62" fmla="*/ 171 w 727"/>
                <a:gd name="T63" fmla="*/ 792 h 1133"/>
                <a:gd name="T64" fmla="*/ 188 w 727"/>
                <a:gd name="T65" fmla="*/ 776 h 1133"/>
                <a:gd name="T66" fmla="*/ 210 w 727"/>
                <a:gd name="T67" fmla="*/ 759 h 1133"/>
                <a:gd name="T68" fmla="*/ 233 w 727"/>
                <a:gd name="T69" fmla="*/ 728 h 1133"/>
                <a:gd name="T70" fmla="*/ 236 w 727"/>
                <a:gd name="T71" fmla="*/ 668 h 1133"/>
                <a:gd name="T72" fmla="*/ 240 w 727"/>
                <a:gd name="T73" fmla="*/ 592 h 1133"/>
                <a:gd name="T74" fmla="*/ 228 w 727"/>
                <a:gd name="T75" fmla="*/ 569 h 1133"/>
                <a:gd name="T76" fmla="*/ 212 w 727"/>
                <a:gd name="T77" fmla="*/ 560 h 1133"/>
                <a:gd name="T78" fmla="*/ 205 w 727"/>
                <a:gd name="T79" fmla="*/ 547 h 1133"/>
                <a:gd name="T80" fmla="*/ 218 w 727"/>
                <a:gd name="T81" fmla="*/ 475 h 1133"/>
                <a:gd name="T82" fmla="*/ 220 w 727"/>
                <a:gd name="T83" fmla="*/ 404 h 1133"/>
                <a:gd name="T84" fmla="*/ 227 w 727"/>
                <a:gd name="T85" fmla="*/ 365 h 1133"/>
                <a:gd name="T86" fmla="*/ 198 w 727"/>
                <a:gd name="T87" fmla="*/ 319 h 1133"/>
                <a:gd name="T88" fmla="*/ 179 w 727"/>
                <a:gd name="T89" fmla="*/ 274 h 1133"/>
                <a:gd name="T90" fmla="*/ 189 w 727"/>
                <a:gd name="T91" fmla="*/ 263 h 1133"/>
                <a:gd name="T92" fmla="*/ 207 w 727"/>
                <a:gd name="T93" fmla="*/ 260 h 1133"/>
                <a:gd name="T94" fmla="*/ 212 w 727"/>
                <a:gd name="T95" fmla="*/ 237 h 1133"/>
                <a:gd name="T96" fmla="*/ 252 w 727"/>
                <a:gd name="T97" fmla="*/ 208 h 1133"/>
                <a:gd name="T98" fmla="*/ 267 w 727"/>
                <a:gd name="T99" fmla="*/ 192 h 1133"/>
                <a:gd name="T100" fmla="*/ 273 w 727"/>
                <a:gd name="T101" fmla="*/ 114 h 1133"/>
                <a:gd name="T102" fmla="*/ 272 w 727"/>
                <a:gd name="T103" fmla="*/ 87 h 1133"/>
                <a:gd name="T104" fmla="*/ 272 w 727"/>
                <a:gd name="T105" fmla="*/ 59 h 1133"/>
                <a:gd name="T106" fmla="*/ 336 w 727"/>
                <a:gd name="T107" fmla="*/ 13 h 1133"/>
                <a:gd name="T108" fmla="*/ 412 w 727"/>
                <a:gd name="T109" fmla="*/ 49 h 1133"/>
                <a:gd name="T110" fmla="*/ 400 w 727"/>
                <a:gd name="T111" fmla="*/ 68 h 1133"/>
                <a:gd name="T112" fmla="*/ 393 w 727"/>
                <a:gd name="T113" fmla="*/ 84 h 1133"/>
                <a:gd name="T114" fmla="*/ 400 w 727"/>
                <a:gd name="T115" fmla="*/ 117 h 1133"/>
                <a:gd name="T116" fmla="*/ 414 w 727"/>
                <a:gd name="T117" fmla="*/ 134 h 1133"/>
                <a:gd name="T118" fmla="*/ 428 w 727"/>
                <a:gd name="T119" fmla="*/ 150 h 1133"/>
                <a:gd name="T120" fmla="*/ 504 w 727"/>
                <a:gd name="T121" fmla="*/ 165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7" h="1133">
                  <a:moveTo>
                    <a:pt x="520" y="172"/>
                  </a:moveTo>
                  <a:lnTo>
                    <a:pt x="524" y="169"/>
                  </a:lnTo>
                  <a:lnTo>
                    <a:pt x="527" y="164"/>
                  </a:lnTo>
                  <a:lnTo>
                    <a:pt x="534" y="152"/>
                  </a:lnTo>
                  <a:lnTo>
                    <a:pt x="536" y="149"/>
                  </a:lnTo>
                  <a:lnTo>
                    <a:pt x="540" y="147"/>
                  </a:lnTo>
                  <a:lnTo>
                    <a:pt x="546" y="145"/>
                  </a:lnTo>
                  <a:lnTo>
                    <a:pt x="555" y="144"/>
                  </a:lnTo>
                  <a:lnTo>
                    <a:pt x="581" y="147"/>
                  </a:lnTo>
                  <a:lnTo>
                    <a:pt x="594" y="147"/>
                  </a:lnTo>
                  <a:lnTo>
                    <a:pt x="642" y="137"/>
                  </a:lnTo>
                  <a:lnTo>
                    <a:pt x="726" y="138"/>
                  </a:lnTo>
                  <a:lnTo>
                    <a:pt x="727" y="138"/>
                  </a:lnTo>
                  <a:lnTo>
                    <a:pt x="726" y="140"/>
                  </a:lnTo>
                  <a:lnTo>
                    <a:pt x="713" y="167"/>
                  </a:lnTo>
                  <a:lnTo>
                    <a:pt x="708" y="182"/>
                  </a:lnTo>
                  <a:lnTo>
                    <a:pt x="707" y="195"/>
                  </a:lnTo>
                  <a:lnTo>
                    <a:pt x="707" y="218"/>
                  </a:lnTo>
                  <a:lnTo>
                    <a:pt x="711" y="233"/>
                  </a:lnTo>
                  <a:lnTo>
                    <a:pt x="709" y="239"/>
                  </a:lnTo>
                  <a:lnTo>
                    <a:pt x="705" y="243"/>
                  </a:lnTo>
                  <a:lnTo>
                    <a:pt x="696" y="244"/>
                  </a:lnTo>
                  <a:lnTo>
                    <a:pt x="693" y="246"/>
                  </a:lnTo>
                  <a:lnTo>
                    <a:pt x="693" y="249"/>
                  </a:lnTo>
                  <a:lnTo>
                    <a:pt x="693" y="257"/>
                  </a:lnTo>
                  <a:lnTo>
                    <a:pt x="701" y="301"/>
                  </a:lnTo>
                  <a:lnTo>
                    <a:pt x="698" y="314"/>
                  </a:lnTo>
                  <a:lnTo>
                    <a:pt x="681" y="330"/>
                  </a:lnTo>
                  <a:lnTo>
                    <a:pt x="676" y="333"/>
                  </a:lnTo>
                  <a:lnTo>
                    <a:pt x="667" y="337"/>
                  </a:lnTo>
                  <a:lnTo>
                    <a:pt x="663" y="340"/>
                  </a:lnTo>
                  <a:lnTo>
                    <a:pt x="656" y="353"/>
                  </a:lnTo>
                  <a:lnTo>
                    <a:pt x="652" y="366"/>
                  </a:lnTo>
                  <a:lnTo>
                    <a:pt x="644" y="416"/>
                  </a:lnTo>
                  <a:lnTo>
                    <a:pt x="646" y="420"/>
                  </a:lnTo>
                  <a:lnTo>
                    <a:pt x="642" y="423"/>
                  </a:lnTo>
                  <a:lnTo>
                    <a:pt x="633" y="428"/>
                  </a:lnTo>
                  <a:lnTo>
                    <a:pt x="624" y="431"/>
                  </a:lnTo>
                  <a:lnTo>
                    <a:pt x="616" y="431"/>
                  </a:lnTo>
                  <a:lnTo>
                    <a:pt x="609" y="433"/>
                  </a:lnTo>
                  <a:lnTo>
                    <a:pt x="602" y="441"/>
                  </a:lnTo>
                  <a:lnTo>
                    <a:pt x="599" y="451"/>
                  </a:lnTo>
                  <a:lnTo>
                    <a:pt x="599" y="491"/>
                  </a:lnTo>
                  <a:lnTo>
                    <a:pt x="592" y="521"/>
                  </a:lnTo>
                  <a:lnTo>
                    <a:pt x="551" y="606"/>
                  </a:lnTo>
                  <a:lnTo>
                    <a:pt x="545" y="636"/>
                  </a:lnTo>
                  <a:lnTo>
                    <a:pt x="539" y="649"/>
                  </a:lnTo>
                  <a:lnTo>
                    <a:pt x="526" y="659"/>
                  </a:lnTo>
                  <a:lnTo>
                    <a:pt x="521" y="673"/>
                  </a:lnTo>
                  <a:lnTo>
                    <a:pt x="522" y="698"/>
                  </a:lnTo>
                  <a:lnTo>
                    <a:pt x="527" y="723"/>
                  </a:lnTo>
                  <a:lnTo>
                    <a:pt x="536" y="736"/>
                  </a:lnTo>
                  <a:lnTo>
                    <a:pt x="551" y="746"/>
                  </a:lnTo>
                  <a:lnTo>
                    <a:pt x="550" y="757"/>
                  </a:lnTo>
                  <a:lnTo>
                    <a:pt x="539" y="770"/>
                  </a:lnTo>
                  <a:lnTo>
                    <a:pt x="530" y="785"/>
                  </a:lnTo>
                  <a:lnTo>
                    <a:pt x="529" y="797"/>
                  </a:lnTo>
                  <a:lnTo>
                    <a:pt x="529" y="811"/>
                  </a:lnTo>
                  <a:lnTo>
                    <a:pt x="527" y="824"/>
                  </a:lnTo>
                  <a:lnTo>
                    <a:pt x="522" y="835"/>
                  </a:lnTo>
                  <a:lnTo>
                    <a:pt x="504" y="847"/>
                  </a:lnTo>
                  <a:lnTo>
                    <a:pt x="496" y="851"/>
                  </a:lnTo>
                  <a:lnTo>
                    <a:pt x="435" y="876"/>
                  </a:lnTo>
                  <a:lnTo>
                    <a:pt x="407" y="891"/>
                  </a:lnTo>
                  <a:lnTo>
                    <a:pt x="377" y="921"/>
                  </a:lnTo>
                  <a:lnTo>
                    <a:pt x="364" y="937"/>
                  </a:lnTo>
                  <a:lnTo>
                    <a:pt x="356" y="956"/>
                  </a:lnTo>
                  <a:lnTo>
                    <a:pt x="357" y="974"/>
                  </a:lnTo>
                  <a:lnTo>
                    <a:pt x="373" y="1004"/>
                  </a:lnTo>
                  <a:lnTo>
                    <a:pt x="376" y="1020"/>
                  </a:lnTo>
                  <a:lnTo>
                    <a:pt x="368" y="1033"/>
                  </a:lnTo>
                  <a:lnTo>
                    <a:pt x="353" y="1038"/>
                  </a:lnTo>
                  <a:lnTo>
                    <a:pt x="336" y="1038"/>
                  </a:lnTo>
                  <a:lnTo>
                    <a:pt x="322" y="1041"/>
                  </a:lnTo>
                  <a:lnTo>
                    <a:pt x="315" y="1052"/>
                  </a:lnTo>
                  <a:lnTo>
                    <a:pt x="308" y="1084"/>
                  </a:lnTo>
                  <a:lnTo>
                    <a:pt x="302" y="1098"/>
                  </a:lnTo>
                  <a:lnTo>
                    <a:pt x="285" y="1117"/>
                  </a:lnTo>
                  <a:lnTo>
                    <a:pt x="266" y="1133"/>
                  </a:lnTo>
                  <a:lnTo>
                    <a:pt x="253" y="1121"/>
                  </a:lnTo>
                  <a:lnTo>
                    <a:pt x="246" y="1116"/>
                  </a:lnTo>
                  <a:lnTo>
                    <a:pt x="239" y="1112"/>
                  </a:lnTo>
                  <a:lnTo>
                    <a:pt x="232" y="1111"/>
                  </a:lnTo>
                  <a:lnTo>
                    <a:pt x="221" y="1113"/>
                  </a:lnTo>
                  <a:lnTo>
                    <a:pt x="214" y="1114"/>
                  </a:lnTo>
                  <a:lnTo>
                    <a:pt x="202" y="1111"/>
                  </a:lnTo>
                  <a:lnTo>
                    <a:pt x="181" y="1104"/>
                  </a:lnTo>
                  <a:lnTo>
                    <a:pt x="169" y="1101"/>
                  </a:lnTo>
                  <a:lnTo>
                    <a:pt x="153" y="1103"/>
                  </a:lnTo>
                  <a:lnTo>
                    <a:pt x="121" y="1104"/>
                  </a:lnTo>
                  <a:lnTo>
                    <a:pt x="106" y="1099"/>
                  </a:lnTo>
                  <a:lnTo>
                    <a:pt x="96" y="1088"/>
                  </a:lnTo>
                  <a:lnTo>
                    <a:pt x="89" y="1074"/>
                  </a:lnTo>
                  <a:lnTo>
                    <a:pt x="80" y="1061"/>
                  </a:lnTo>
                  <a:lnTo>
                    <a:pt x="75" y="1057"/>
                  </a:lnTo>
                  <a:lnTo>
                    <a:pt x="62" y="1053"/>
                  </a:lnTo>
                  <a:lnTo>
                    <a:pt x="55" y="1048"/>
                  </a:lnTo>
                  <a:lnTo>
                    <a:pt x="52" y="1042"/>
                  </a:lnTo>
                  <a:lnTo>
                    <a:pt x="48" y="1029"/>
                  </a:lnTo>
                  <a:lnTo>
                    <a:pt x="44" y="1023"/>
                  </a:lnTo>
                  <a:lnTo>
                    <a:pt x="32" y="1015"/>
                  </a:lnTo>
                  <a:lnTo>
                    <a:pt x="18" y="1007"/>
                  </a:lnTo>
                  <a:lnTo>
                    <a:pt x="7" y="997"/>
                  </a:lnTo>
                  <a:lnTo>
                    <a:pt x="2" y="983"/>
                  </a:lnTo>
                  <a:lnTo>
                    <a:pt x="0" y="971"/>
                  </a:lnTo>
                  <a:lnTo>
                    <a:pt x="6" y="968"/>
                  </a:lnTo>
                  <a:lnTo>
                    <a:pt x="35" y="937"/>
                  </a:lnTo>
                  <a:lnTo>
                    <a:pt x="57" y="901"/>
                  </a:lnTo>
                  <a:lnTo>
                    <a:pt x="66" y="892"/>
                  </a:lnTo>
                  <a:lnTo>
                    <a:pt x="87" y="862"/>
                  </a:lnTo>
                  <a:lnTo>
                    <a:pt x="91" y="854"/>
                  </a:lnTo>
                  <a:lnTo>
                    <a:pt x="94" y="845"/>
                  </a:lnTo>
                  <a:lnTo>
                    <a:pt x="95" y="838"/>
                  </a:lnTo>
                  <a:lnTo>
                    <a:pt x="92" y="825"/>
                  </a:lnTo>
                  <a:lnTo>
                    <a:pt x="92" y="819"/>
                  </a:lnTo>
                  <a:lnTo>
                    <a:pt x="95" y="798"/>
                  </a:lnTo>
                  <a:lnTo>
                    <a:pt x="106" y="791"/>
                  </a:lnTo>
                  <a:lnTo>
                    <a:pt x="109" y="785"/>
                  </a:lnTo>
                  <a:lnTo>
                    <a:pt x="114" y="778"/>
                  </a:lnTo>
                  <a:lnTo>
                    <a:pt x="118" y="773"/>
                  </a:lnTo>
                  <a:lnTo>
                    <a:pt x="123" y="773"/>
                  </a:lnTo>
                  <a:lnTo>
                    <a:pt x="130" y="774"/>
                  </a:lnTo>
                  <a:lnTo>
                    <a:pt x="139" y="778"/>
                  </a:lnTo>
                  <a:lnTo>
                    <a:pt x="147" y="779"/>
                  </a:lnTo>
                  <a:lnTo>
                    <a:pt x="153" y="782"/>
                  </a:lnTo>
                  <a:lnTo>
                    <a:pt x="159" y="786"/>
                  </a:lnTo>
                  <a:lnTo>
                    <a:pt x="166" y="792"/>
                  </a:lnTo>
                  <a:lnTo>
                    <a:pt x="171" y="792"/>
                  </a:lnTo>
                  <a:lnTo>
                    <a:pt x="175" y="787"/>
                  </a:lnTo>
                  <a:lnTo>
                    <a:pt x="179" y="782"/>
                  </a:lnTo>
                  <a:lnTo>
                    <a:pt x="183" y="779"/>
                  </a:lnTo>
                  <a:lnTo>
                    <a:pt x="188" y="776"/>
                  </a:lnTo>
                  <a:lnTo>
                    <a:pt x="194" y="775"/>
                  </a:lnTo>
                  <a:lnTo>
                    <a:pt x="200" y="773"/>
                  </a:lnTo>
                  <a:lnTo>
                    <a:pt x="205" y="769"/>
                  </a:lnTo>
                  <a:lnTo>
                    <a:pt x="210" y="759"/>
                  </a:lnTo>
                  <a:lnTo>
                    <a:pt x="220" y="745"/>
                  </a:lnTo>
                  <a:lnTo>
                    <a:pt x="227" y="737"/>
                  </a:lnTo>
                  <a:lnTo>
                    <a:pt x="231" y="733"/>
                  </a:lnTo>
                  <a:lnTo>
                    <a:pt x="233" y="728"/>
                  </a:lnTo>
                  <a:lnTo>
                    <a:pt x="237" y="706"/>
                  </a:lnTo>
                  <a:lnTo>
                    <a:pt x="238" y="692"/>
                  </a:lnTo>
                  <a:lnTo>
                    <a:pt x="237" y="676"/>
                  </a:lnTo>
                  <a:lnTo>
                    <a:pt x="236" y="668"/>
                  </a:lnTo>
                  <a:lnTo>
                    <a:pt x="241" y="630"/>
                  </a:lnTo>
                  <a:lnTo>
                    <a:pt x="239" y="613"/>
                  </a:lnTo>
                  <a:lnTo>
                    <a:pt x="240" y="604"/>
                  </a:lnTo>
                  <a:lnTo>
                    <a:pt x="240" y="592"/>
                  </a:lnTo>
                  <a:lnTo>
                    <a:pt x="239" y="587"/>
                  </a:lnTo>
                  <a:lnTo>
                    <a:pt x="237" y="581"/>
                  </a:lnTo>
                  <a:lnTo>
                    <a:pt x="231" y="573"/>
                  </a:lnTo>
                  <a:lnTo>
                    <a:pt x="228" y="569"/>
                  </a:lnTo>
                  <a:lnTo>
                    <a:pt x="225" y="566"/>
                  </a:lnTo>
                  <a:lnTo>
                    <a:pt x="222" y="564"/>
                  </a:lnTo>
                  <a:lnTo>
                    <a:pt x="215" y="561"/>
                  </a:lnTo>
                  <a:lnTo>
                    <a:pt x="212" y="560"/>
                  </a:lnTo>
                  <a:lnTo>
                    <a:pt x="210" y="558"/>
                  </a:lnTo>
                  <a:lnTo>
                    <a:pt x="209" y="555"/>
                  </a:lnTo>
                  <a:lnTo>
                    <a:pt x="207" y="552"/>
                  </a:lnTo>
                  <a:lnTo>
                    <a:pt x="205" y="547"/>
                  </a:lnTo>
                  <a:lnTo>
                    <a:pt x="206" y="537"/>
                  </a:lnTo>
                  <a:lnTo>
                    <a:pt x="207" y="523"/>
                  </a:lnTo>
                  <a:lnTo>
                    <a:pt x="217" y="485"/>
                  </a:lnTo>
                  <a:lnTo>
                    <a:pt x="218" y="475"/>
                  </a:lnTo>
                  <a:lnTo>
                    <a:pt x="214" y="455"/>
                  </a:lnTo>
                  <a:lnTo>
                    <a:pt x="213" y="439"/>
                  </a:lnTo>
                  <a:lnTo>
                    <a:pt x="215" y="419"/>
                  </a:lnTo>
                  <a:lnTo>
                    <a:pt x="220" y="404"/>
                  </a:lnTo>
                  <a:lnTo>
                    <a:pt x="225" y="390"/>
                  </a:lnTo>
                  <a:lnTo>
                    <a:pt x="228" y="382"/>
                  </a:lnTo>
                  <a:lnTo>
                    <a:pt x="228" y="376"/>
                  </a:lnTo>
                  <a:lnTo>
                    <a:pt x="227" y="365"/>
                  </a:lnTo>
                  <a:lnTo>
                    <a:pt x="225" y="358"/>
                  </a:lnTo>
                  <a:lnTo>
                    <a:pt x="218" y="344"/>
                  </a:lnTo>
                  <a:lnTo>
                    <a:pt x="205" y="329"/>
                  </a:lnTo>
                  <a:lnTo>
                    <a:pt x="198" y="319"/>
                  </a:lnTo>
                  <a:lnTo>
                    <a:pt x="188" y="296"/>
                  </a:lnTo>
                  <a:lnTo>
                    <a:pt x="182" y="285"/>
                  </a:lnTo>
                  <a:lnTo>
                    <a:pt x="181" y="279"/>
                  </a:lnTo>
                  <a:lnTo>
                    <a:pt x="179" y="274"/>
                  </a:lnTo>
                  <a:lnTo>
                    <a:pt x="180" y="268"/>
                  </a:lnTo>
                  <a:lnTo>
                    <a:pt x="182" y="265"/>
                  </a:lnTo>
                  <a:lnTo>
                    <a:pt x="185" y="264"/>
                  </a:lnTo>
                  <a:lnTo>
                    <a:pt x="189" y="263"/>
                  </a:lnTo>
                  <a:lnTo>
                    <a:pt x="193" y="264"/>
                  </a:lnTo>
                  <a:lnTo>
                    <a:pt x="200" y="263"/>
                  </a:lnTo>
                  <a:lnTo>
                    <a:pt x="204" y="262"/>
                  </a:lnTo>
                  <a:lnTo>
                    <a:pt x="207" y="260"/>
                  </a:lnTo>
                  <a:lnTo>
                    <a:pt x="210" y="255"/>
                  </a:lnTo>
                  <a:lnTo>
                    <a:pt x="210" y="251"/>
                  </a:lnTo>
                  <a:lnTo>
                    <a:pt x="210" y="241"/>
                  </a:lnTo>
                  <a:lnTo>
                    <a:pt x="212" y="237"/>
                  </a:lnTo>
                  <a:lnTo>
                    <a:pt x="222" y="228"/>
                  </a:lnTo>
                  <a:lnTo>
                    <a:pt x="227" y="226"/>
                  </a:lnTo>
                  <a:lnTo>
                    <a:pt x="240" y="210"/>
                  </a:lnTo>
                  <a:lnTo>
                    <a:pt x="252" y="208"/>
                  </a:lnTo>
                  <a:lnTo>
                    <a:pt x="257" y="206"/>
                  </a:lnTo>
                  <a:lnTo>
                    <a:pt x="261" y="204"/>
                  </a:lnTo>
                  <a:lnTo>
                    <a:pt x="265" y="199"/>
                  </a:lnTo>
                  <a:lnTo>
                    <a:pt x="267" y="192"/>
                  </a:lnTo>
                  <a:lnTo>
                    <a:pt x="275" y="153"/>
                  </a:lnTo>
                  <a:lnTo>
                    <a:pt x="271" y="130"/>
                  </a:lnTo>
                  <a:lnTo>
                    <a:pt x="272" y="122"/>
                  </a:lnTo>
                  <a:lnTo>
                    <a:pt x="273" y="114"/>
                  </a:lnTo>
                  <a:lnTo>
                    <a:pt x="277" y="101"/>
                  </a:lnTo>
                  <a:lnTo>
                    <a:pt x="277" y="96"/>
                  </a:lnTo>
                  <a:lnTo>
                    <a:pt x="275" y="92"/>
                  </a:lnTo>
                  <a:lnTo>
                    <a:pt x="272" y="87"/>
                  </a:lnTo>
                  <a:lnTo>
                    <a:pt x="269" y="78"/>
                  </a:lnTo>
                  <a:lnTo>
                    <a:pt x="267" y="72"/>
                  </a:lnTo>
                  <a:lnTo>
                    <a:pt x="269" y="67"/>
                  </a:lnTo>
                  <a:lnTo>
                    <a:pt x="272" y="59"/>
                  </a:lnTo>
                  <a:lnTo>
                    <a:pt x="278" y="50"/>
                  </a:lnTo>
                  <a:lnTo>
                    <a:pt x="287" y="42"/>
                  </a:lnTo>
                  <a:lnTo>
                    <a:pt x="299" y="33"/>
                  </a:lnTo>
                  <a:lnTo>
                    <a:pt x="336" y="13"/>
                  </a:lnTo>
                  <a:lnTo>
                    <a:pt x="350" y="0"/>
                  </a:lnTo>
                  <a:lnTo>
                    <a:pt x="405" y="39"/>
                  </a:lnTo>
                  <a:lnTo>
                    <a:pt x="409" y="44"/>
                  </a:lnTo>
                  <a:lnTo>
                    <a:pt x="412" y="49"/>
                  </a:lnTo>
                  <a:lnTo>
                    <a:pt x="412" y="53"/>
                  </a:lnTo>
                  <a:lnTo>
                    <a:pt x="410" y="57"/>
                  </a:lnTo>
                  <a:lnTo>
                    <a:pt x="407" y="60"/>
                  </a:lnTo>
                  <a:lnTo>
                    <a:pt x="400" y="68"/>
                  </a:lnTo>
                  <a:lnTo>
                    <a:pt x="396" y="71"/>
                  </a:lnTo>
                  <a:lnTo>
                    <a:pt x="393" y="75"/>
                  </a:lnTo>
                  <a:lnTo>
                    <a:pt x="393" y="80"/>
                  </a:lnTo>
                  <a:lnTo>
                    <a:pt x="393" y="84"/>
                  </a:lnTo>
                  <a:lnTo>
                    <a:pt x="396" y="94"/>
                  </a:lnTo>
                  <a:lnTo>
                    <a:pt x="397" y="106"/>
                  </a:lnTo>
                  <a:lnTo>
                    <a:pt x="399" y="112"/>
                  </a:lnTo>
                  <a:lnTo>
                    <a:pt x="400" y="117"/>
                  </a:lnTo>
                  <a:lnTo>
                    <a:pt x="403" y="121"/>
                  </a:lnTo>
                  <a:lnTo>
                    <a:pt x="406" y="125"/>
                  </a:lnTo>
                  <a:lnTo>
                    <a:pt x="412" y="130"/>
                  </a:lnTo>
                  <a:lnTo>
                    <a:pt x="414" y="134"/>
                  </a:lnTo>
                  <a:lnTo>
                    <a:pt x="416" y="137"/>
                  </a:lnTo>
                  <a:lnTo>
                    <a:pt x="417" y="143"/>
                  </a:lnTo>
                  <a:lnTo>
                    <a:pt x="420" y="146"/>
                  </a:lnTo>
                  <a:lnTo>
                    <a:pt x="428" y="150"/>
                  </a:lnTo>
                  <a:lnTo>
                    <a:pt x="446" y="152"/>
                  </a:lnTo>
                  <a:lnTo>
                    <a:pt x="474" y="160"/>
                  </a:lnTo>
                  <a:lnTo>
                    <a:pt x="497" y="163"/>
                  </a:lnTo>
                  <a:lnTo>
                    <a:pt x="504" y="165"/>
                  </a:lnTo>
                  <a:lnTo>
                    <a:pt x="516" y="171"/>
                  </a:lnTo>
                  <a:lnTo>
                    <a:pt x="520" y="17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5F4CE3AC-8261-8341-4C24-935F41ACB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185" y="2611180"/>
              <a:ext cx="800169" cy="554529"/>
            </a:xfrm>
            <a:custGeom>
              <a:avLst/>
              <a:gdLst>
                <a:gd name="T0" fmla="*/ 417 w 544"/>
                <a:gd name="T1" fmla="*/ 120 h 377"/>
                <a:gd name="T2" fmla="*/ 435 w 544"/>
                <a:gd name="T3" fmla="*/ 118 h 377"/>
                <a:gd name="T4" fmla="*/ 454 w 544"/>
                <a:gd name="T5" fmla="*/ 122 h 377"/>
                <a:gd name="T6" fmla="*/ 473 w 544"/>
                <a:gd name="T7" fmla="*/ 118 h 377"/>
                <a:gd name="T8" fmla="*/ 478 w 544"/>
                <a:gd name="T9" fmla="*/ 124 h 377"/>
                <a:gd name="T10" fmla="*/ 482 w 544"/>
                <a:gd name="T11" fmla="*/ 132 h 377"/>
                <a:gd name="T12" fmla="*/ 494 w 544"/>
                <a:gd name="T13" fmla="*/ 131 h 377"/>
                <a:gd name="T14" fmla="*/ 503 w 544"/>
                <a:gd name="T15" fmla="*/ 147 h 377"/>
                <a:gd name="T16" fmla="*/ 537 w 544"/>
                <a:gd name="T17" fmla="*/ 154 h 377"/>
                <a:gd name="T18" fmla="*/ 543 w 544"/>
                <a:gd name="T19" fmla="*/ 164 h 377"/>
                <a:gd name="T20" fmla="*/ 544 w 544"/>
                <a:gd name="T21" fmla="*/ 253 h 377"/>
                <a:gd name="T22" fmla="*/ 540 w 544"/>
                <a:gd name="T23" fmla="*/ 274 h 377"/>
                <a:gd name="T24" fmla="*/ 505 w 544"/>
                <a:gd name="T25" fmla="*/ 324 h 377"/>
                <a:gd name="T26" fmla="*/ 486 w 544"/>
                <a:gd name="T27" fmla="*/ 342 h 377"/>
                <a:gd name="T28" fmla="*/ 465 w 544"/>
                <a:gd name="T29" fmla="*/ 350 h 377"/>
                <a:gd name="T30" fmla="*/ 425 w 544"/>
                <a:gd name="T31" fmla="*/ 346 h 377"/>
                <a:gd name="T32" fmla="*/ 403 w 544"/>
                <a:gd name="T33" fmla="*/ 356 h 377"/>
                <a:gd name="T34" fmla="*/ 385 w 544"/>
                <a:gd name="T35" fmla="*/ 377 h 377"/>
                <a:gd name="T36" fmla="*/ 377 w 544"/>
                <a:gd name="T37" fmla="*/ 357 h 377"/>
                <a:gd name="T38" fmla="*/ 370 w 544"/>
                <a:gd name="T39" fmla="*/ 352 h 377"/>
                <a:gd name="T40" fmla="*/ 354 w 544"/>
                <a:gd name="T41" fmla="*/ 344 h 377"/>
                <a:gd name="T42" fmla="*/ 333 w 544"/>
                <a:gd name="T43" fmla="*/ 338 h 377"/>
                <a:gd name="T44" fmla="*/ 308 w 544"/>
                <a:gd name="T45" fmla="*/ 324 h 377"/>
                <a:gd name="T46" fmla="*/ 293 w 544"/>
                <a:gd name="T47" fmla="*/ 320 h 377"/>
                <a:gd name="T48" fmla="*/ 282 w 544"/>
                <a:gd name="T49" fmla="*/ 338 h 377"/>
                <a:gd name="T50" fmla="*/ 268 w 544"/>
                <a:gd name="T51" fmla="*/ 347 h 377"/>
                <a:gd name="T52" fmla="*/ 246 w 544"/>
                <a:gd name="T53" fmla="*/ 344 h 377"/>
                <a:gd name="T54" fmla="*/ 222 w 544"/>
                <a:gd name="T55" fmla="*/ 350 h 377"/>
                <a:gd name="T56" fmla="*/ 189 w 544"/>
                <a:gd name="T57" fmla="*/ 352 h 377"/>
                <a:gd name="T58" fmla="*/ 137 w 544"/>
                <a:gd name="T59" fmla="*/ 338 h 377"/>
                <a:gd name="T60" fmla="*/ 103 w 544"/>
                <a:gd name="T61" fmla="*/ 315 h 377"/>
                <a:gd name="T62" fmla="*/ 86 w 544"/>
                <a:gd name="T63" fmla="*/ 308 h 377"/>
                <a:gd name="T64" fmla="*/ 68 w 544"/>
                <a:gd name="T65" fmla="*/ 313 h 377"/>
                <a:gd name="T66" fmla="*/ 32 w 544"/>
                <a:gd name="T67" fmla="*/ 331 h 377"/>
                <a:gd name="T68" fmla="*/ 19 w 544"/>
                <a:gd name="T69" fmla="*/ 314 h 377"/>
                <a:gd name="T70" fmla="*/ 0 w 544"/>
                <a:gd name="T71" fmla="*/ 280 h 377"/>
                <a:gd name="T72" fmla="*/ 12 w 544"/>
                <a:gd name="T73" fmla="*/ 235 h 377"/>
                <a:gd name="T74" fmla="*/ 24 w 544"/>
                <a:gd name="T75" fmla="*/ 204 h 377"/>
                <a:gd name="T76" fmla="*/ 26 w 544"/>
                <a:gd name="T77" fmla="*/ 170 h 377"/>
                <a:gd name="T78" fmla="*/ 60 w 544"/>
                <a:gd name="T79" fmla="*/ 136 h 377"/>
                <a:gd name="T80" fmla="*/ 95 w 544"/>
                <a:gd name="T81" fmla="*/ 115 h 377"/>
                <a:gd name="T82" fmla="*/ 120 w 544"/>
                <a:gd name="T83" fmla="*/ 112 h 377"/>
                <a:gd name="T84" fmla="*/ 167 w 544"/>
                <a:gd name="T85" fmla="*/ 120 h 377"/>
                <a:gd name="T86" fmla="*/ 190 w 544"/>
                <a:gd name="T87" fmla="*/ 111 h 377"/>
                <a:gd name="T88" fmla="*/ 213 w 544"/>
                <a:gd name="T89" fmla="*/ 96 h 377"/>
                <a:gd name="T90" fmla="*/ 237 w 544"/>
                <a:gd name="T91" fmla="*/ 93 h 377"/>
                <a:gd name="T92" fmla="*/ 243 w 544"/>
                <a:gd name="T93" fmla="*/ 84 h 377"/>
                <a:gd name="T94" fmla="*/ 244 w 544"/>
                <a:gd name="T95" fmla="*/ 71 h 377"/>
                <a:gd name="T96" fmla="*/ 257 w 544"/>
                <a:gd name="T97" fmla="*/ 64 h 377"/>
                <a:gd name="T98" fmla="*/ 269 w 544"/>
                <a:gd name="T99" fmla="*/ 66 h 377"/>
                <a:gd name="T100" fmla="*/ 278 w 544"/>
                <a:gd name="T101" fmla="*/ 72 h 377"/>
                <a:gd name="T102" fmla="*/ 292 w 544"/>
                <a:gd name="T103" fmla="*/ 79 h 377"/>
                <a:gd name="T104" fmla="*/ 317 w 544"/>
                <a:gd name="T105" fmla="*/ 74 h 377"/>
                <a:gd name="T106" fmla="*/ 331 w 544"/>
                <a:gd name="T107" fmla="*/ 54 h 377"/>
                <a:gd name="T108" fmla="*/ 331 w 544"/>
                <a:gd name="T109" fmla="*/ 35 h 377"/>
                <a:gd name="T110" fmla="*/ 337 w 544"/>
                <a:gd name="T111" fmla="*/ 21 h 377"/>
                <a:gd name="T112" fmla="*/ 359 w 544"/>
                <a:gd name="T113" fmla="*/ 0 h 377"/>
                <a:gd name="T114" fmla="*/ 390 w 544"/>
                <a:gd name="T115" fmla="*/ 43 h 377"/>
                <a:gd name="T116" fmla="*/ 399 w 544"/>
                <a:gd name="T117" fmla="*/ 64 h 377"/>
                <a:gd name="T118" fmla="*/ 398 w 544"/>
                <a:gd name="T119" fmla="*/ 105 h 377"/>
                <a:gd name="T120" fmla="*/ 390 w 544"/>
                <a:gd name="T121" fmla="*/ 123 h 377"/>
                <a:gd name="T122" fmla="*/ 390 w 544"/>
                <a:gd name="T123" fmla="*/ 13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" h="377">
                  <a:moveTo>
                    <a:pt x="395" y="134"/>
                  </a:moveTo>
                  <a:lnTo>
                    <a:pt x="417" y="120"/>
                  </a:lnTo>
                  <a:lnTo>
                    <a:pt x="426" y="118"/>
                  </a:lnTo>
                  <a:lnTo>
                    <a:pt x="435" y="118"/>
                  </a:lnTo>
                  <a:lnTo>
                    <a:pt x="449" y="121"/>
                  </a:lnTo>
                  <a:lnTo>
                    <a:pt x="454" y="122"/>
                  </a:lnTo>
                  <a:lnTo>
                    <a:pt x="466" y="119"/>
                  </a:lnTo>
                  <a:lnTo>
                    <a:pt x="473" y="118"/>
                  </a:lnTo>
                  <a:lnTo>
                    <a:pt x="476" y="120"/>
                  </a:lnTo>
                  <a:lnTo>
                    <a:pt x="478" y="124"/>
                  </a:lnTo>
                  <a:lnTo>
                    <a:pt x="479" y="131"/>
                  </a:lnTo>
                  <a:lnTo>
                    <a:pt x="482" y="132"/>
                  </a:lnTo>
                  <a:lnTo>
                    <a:pt x="490" y="131"/>
                  </a:lnTo>
                  <a:lnTo>
                    <a:pt x="494" y="131"/>
                  </a:lnTo>
                  <a:lnTo>
                    <a:pt x="497" y="134"/>
                  </a:lnTo>
                  <a:lnTo>
                    <a:pt x="503" y="147"/>
                  </a:lnTo>
                  <a:lnTo>
                    <a:pt x="514" y="150"/>
                  </a:lnTo>
                  <a:lnTo>
                    <a:pt x="537" y="154"/>
                  </a:lnTo>
                  <a:lnTo>
                    <a:pt x="541" y="158"/>
                  </a:lnTo>
                  <a:lnTo>
                    <a:pt x="543" y="164"/>
                  </a:lnTo>
                  <a:lnTo>
                    <a:pt x="543" y="181"/>
                  </a:lnTo>
                  <a:lnTo>
                    <a:pt x="544" y="253"/>
                  </a:lnTo>
                  <a:lnTo>
                    <a:pt x="543" y="264"/>
                  </a:lnTo>
                  <a:lnTo>
                    <a:pt x="540" y="274"/>
                  </a:lnTo>
                  <a:lnTo>
                    <a:pt x="521" y="308"/>
                  </a:lnTo>
                  <a:lnTo>
                    <a:pt x="505" y="324"/>
                  </a:lnTo>
                  <a:lnTo>
                    <a:pt x="492" y="337"/>
                  </a:lnTo>
                  <a:lnTo>
                    <a:pt x="486" y="342"/>
                  </a:lnTo>
                  <a:lnTo>
                    <a:pt x="475" y="346"/>
                  </a:lnTo>
                  <a:lnTo>
                    <a:pt x="465" y="350"/>
                  </a:lnTo>
                  <a:lnTo>
                    <a:pt x="448" y="351"/>
                  </a:lnTo>
                  <a:lnTo>
                    <a:pt x="425" y="346"/>
                  </a:lnTo>
                  <a:lnTo>
                    <a:pt x="416" y="349"/>
                  </a:lnTo>
                  <a:lnTo>
                    <a:pt x="403" y="356"/>
                  </a:lnTo>
                  <a:lnTo>
                    <a:pt x="396" y="362"/>
                  </a:lnTo>
                  <a:lnTo>
                    <a:pt x="385" y="377"/>
                  </a:lnTo>
                  <a:lnTo>
                    <a:pt x="380" y="369"/>
                  </a:lnTo>
                  <a:lnTo>
                    <a:pt x="377" y="357"/>
                  </a:lnTo>
                  <a:lnTo>
                    <a:pt x="374" y="354"/>
                  </a:lnTo>
                  <a:lnTo>
                    <a:pt x="370" y="352"/>
                  </a:lnTo>
                  <a:lnTo>
                    <a:pt x="361" y="349"/>
                  </a:lnTo>
                  <a:lnTo>
                    <a:pt x="354" y="344"/>
                  </a:lnTo>
                  <a:lnTo>
                    <a:pt x="346" y="341"/>
                  </a:lnTo>
                  <a:lnTo>
                    <a:pt x="333" y="338"/>
                  </a:lnTo>
                  <a:lnTo>
                    <a:pt x="324" y="333"/>
                  </a:lnTo>
                  <a:lnTo>
                    <a:pt x="308" y="324"/>
                  </a:lnTo>
                  <a:lnTo>
                    <a:pt x="299" y="319"/>
                  </a:lnTo>
                  <a:lnTo>
                    <a:pt x="293" y="320"/>
                  </a:lnTo>
                  <a:lnTo>
                    <a:pt x="286" y="327"/>
                  </a:lnTo>
                  <a:lnTo>
                    <a:pt x="282" y="338"/>
                  </a:lnTo>
                  <a:lnTo>
                    <a:pt x="277" y="345"/>
                  </a:lnTo>
                  <a:lnTo>
                    <a:pt x="268" y="347"/>
                  </a:lnTo>
                  <a:lnTo>
                    <a:pt x="257" y="345"/>
                  </a:lnTo>
                  <a:lnTo>
                    <a:pt x="246" y="344"/>
                  </a:lnTo>
                  <a:lnTo>
                    <a:pt x="234" y="345"/>
                  </a:lnTo>
                  <a:lnTo>
                    <a:pt x="222" y="350"/>
                  </a:lnTo>
                  <a:lnTo>
                    <a:pt x="206" y="352"/>
                  </a:lnTo>
                  <a:lnTo>
                    <a:pt x="189" y="352"/>
                  </a:lnTo>
                  <a:lnTo>
                    <a:pt x="153" y="344"/>
                  </a:lnTo>
                  <a:lnTo>
                    <a:pt x="137" y="338"/>
                  </a:lnTo>
                  <a:lnTo>
                    <a:pt x="124" y="330"/>
                  </a:lnTo>
                  <a:lnTo>
                    <a:pt x="103" y="315"/>
                  </a:lnTo>
                  <a:lnTo>
                    <a:pt x="95" y="311"/>
                  </a:lnTo>
                  <a:lnTo>
                    <a:pt x="86" y="308"/>
                  </a:lnTo>
                  <a:lnTo>
                    <a:pt x="76" y="308"/>
                  </a:lnTo>
                  <a:lnTo>
                    <a:pt x="68" y="313"/>
                  </a:lnTo>
                  <a:lnTo>
                    <a:pt x="46" y="327"/>
                  </a:lnTo>
                  <a:lnTo>
                    <a:pt x="32" y="331"/>
                  </a:lnTo>
                  <a:lnTo>
                    <a:pt x="26" y="323"/>
                  </a:lnTo>
                  <a:lnTo>
                    <a:pt x="19" y="314"/>
                  </a:lnTo>
                  <a:lnTo>
                    <a:pt x="3" y="290"/>
                  </a:lnTo>
                  <a:lnTo>
                    <a:pt x="0" y="280"/>
                  </a:lnTo>
                  <a:lnTo>
                    <a:pt x="8" y="247"/>
                  </a:lnTo>
                  <a:lnTo>
                    <a:pt x="12" y="235"/>
                  </a:lnTo>
                  <a:lnTo>
                    <a:pt x="21" y="215"/>
                  </a:lnTo>
                  <a:lnTo>
                    <a:pt x="24" y="204"/>
                  </a:lnTo>
                  <a:lnTo>
                    <a:pt x="25" y="178"/>
                  </a:lnTo>
                  <a:lnTo>
                    <a:pt x="26" y="170"/>
                  </a:lnTo>
                  <a:lnTo>
                    <a:pt x="42" y="144"/>
                  </a:lnTo>
                  <a:lnTo>
                    <a:pt x="60" y="136"/>
                  </a:lnTo>
                  <a:lnTo>
                    <a:pt x="78" y="120"/>
                  </a:lnTo>
                  <a:lnTo>
                    <a:pt x="95" y="115"/>
                  </a:lnTo>
                  <a:lnTo>
                    <a:pt x="108" y="112"/>
                  </a:lnTo>
                  <a:lnTo>
                    <a:pt x="120" y="112"/>
                  </a:lnTo>
                  <a:lnTo>
                    <a:pt x="151" y="119"/>
                  </a:lnTo>
                  <a:lnTo>
                    <a:pt x="167" y="120"/>
                  </a:lnTo>
                  <a:lnTo>
                    <a:pt x="178" y="117"/>
                  </a:lnTo>
                  <a:lnTo>
                    <a:pt x="190" y="111"/>
                  </a:lnTo>
                  <a:lnTo>
                    <a:pt x="205" y="98"/>
                  </a:lnTo>
                  <a:lnTo>
                    <a:pt x="213" y="96"/>
                  </a:lnTo>
                  <a:lnTo>
                    <a:pt x="230" y="95"/>
                  </a:lnTo>
                  <a:lnTo>
                    <a:pt x="237" y="93"/>
                  </a:lnTo>
                  <a:lnTo>
                    <a:pt x="241" y="89"/>
                  </a:lnTo>
                  <a:lnTo>
                    <a:pt x="243" y="84"/>
                  </a:lnTo>
                  <a:lnTo>
                    <a:pt x="243" y="74"/>
                  </a:lnTo>
                  <a:lnTo>
                    <a:pt x="244" y="71"/>
                  </a:lnTo>
                  <a:lnTo>
                    <a:pt x="251" y="65"/>
                  </a:lnTo>
                  <a:lnTo>
                    <a:pt x="257" y="64"/>
                  </a:lnTo>
                  <a:lnTo>
                    <a:pt x="265" y="64"/>
                  </a:lnTo>
                  <a:lnTo>
                    <a:pt x="269" y="66"/>
                  </a:lnTo>
                  <a:lnTo>
                    <a:pt x="274" y="68"/>
                  </a:lnTo>
                  <a:lnTo>
                    <a:pt x="278" y="72"/>
                  </a:lnTo>
                  <a:lnTo>
                    <a:pt x="283" y="77"/>
                  </a:lnTo>
                  <a:lnTo>
                    <a:pt x="292" y="79"/>
                  </a:lnTo>
                  <a:lnTo>
                    <a:pt x="308" y="78"/>
                  </a:lnTo>
                  <a:lnTo>
                    <a:pt x="317" y="74"/>
                  </a:lnTo>
                  <a:lnTo>
                    <a:pt x="322" y="67"/>
                  </a:lnTo>
                  <a:lnTo>
                    <a:pt x="331" y="54"/>
                  </a:lnTo>
                  <a:lnTo>
                    <a:pt x="331" y="42"/>
                  </a:lnTo>
                  <a:lnTo>
                    <a:pt x="331" y="35"/>
                  </a:lnTo>
                  <a:lnTo>
                    <a:pt x="333" y="28"/>
                  </a:lnTo>
                  <a:lnTo>
                    <a:pt x="337" y="21"/>
                  </a:lnTo>
                  <a:lnTo>
                    <a:pt x="339" y="16"/>
                  </a:lnTo>
                  <a:lnTo>
                    <a:pt x="359" y="0"/>
                  </a:lnTo>
                  <a:lnTo>
                    <a:pt x="373" y="22"/>
                  </a:lnTo>
                  <a:lnTo>
                    <a:pt x="390" y="43"/>
                  </a:lnTo>
                  <a:lnTo>
                    <a:pt x="397" y="54"/>
                  </a:lnTo>
                  <a:lnTo>
                    <a:pt x="399" y="64"/>
                  </a:lnTo>
                  <a:lnTo>
                    <a:pt x="399" y="96"/>
                  </a:lnTo>
                  <a:lnTo>
                    <a:pt x="398" y="105"/>
                  </a:lnTo>
                  <a:lnTo>
                    <a:pt x="396" y="112"/>
                  </a:lnTo>
                  <a:lnTo>
                    <a:pt x="390" y="123"/>
                  </a:lnTo>
                  <a:lnTo>
                    <a:pt x="388" y="131"/>
                  </a:lnTo>
                  <a:lnTo>
                    <a:pt x="390" y="134"/>
                  </a:lnTo>
                  <a:lnTo>
                    <a:pt x="395" y="134"/>
                  </a:lnTo>
                  <a:close/>
                </a:path>
              </a:pathLst>
            </a:custGeom>
            <a:solidFill>
              <a:srgbClr val="004B8E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CC461E22-6414-8E38-9F7D-747EE37D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031" y="1010842"/>
              <a:ext cx="2674093" cy="1284094"/>
            </a:xfrm>
            <a:custGeom>
              <a:avLst/>
              <a:gdLst>
                <a:gd name="T0" fmla="*/ 619 w 1818"/>
                <a:gd name="T1" fmla="*/ 238 h 873"/>
                <a:gd name="T2" fmla="*/ 719 w 1818"/>
                <a:gd name="T3" fmla="*/ 278 h 873"/>
                <a:gd name="T4" fmla="*/ 826 w 1818"/>
                <a:gd name="T5" fmla="*/ 260 h 873"/>
                <a:gd name="T6" fmla="*/ 940 w 1818"/>
                <a:gd name="T7" fmla="*/ 298 h 873"/>
                <a:gd name="T8" fmla="*/ 1041 w 1818"/>
                <a:gd name="T9" fmla="*/ 173 h 873"/>
                <a:gd name="T10" fmla="*/ 1098 w 1818"/>
                <a:gd name="T11" fmla="*/ 145 h 873"/>
                <a:gd name="T12" fmla="*/ 1184 w 1818"/>
                <a:gd name="T13" fmla="*/ 173 h 873"/>
                <a:gd name="T14" fmla="*/ 1239 w 1818"/>
                <a:gd name="T15" fmla="*/ 207 h 873"/>
                <a:gd name="T16" fmla="*/ 1341 w 1818"/>
                <a:gd name="T17" fmla="*/ 283 h 873"/>
                <a:gd name="T18" fmla="*/ 1460 w 1818"/>
                <a:gd name="T19" fmla="*/ 386 h 873"/>
                <a:gd name="T20" fmla="*/ 1569 w 1818"/>
                <a:gd name="T21" fmla="*/ 390 h 873"/>
                <a:gd name="T22" fmla="*/ 1693 w 1818"/>
                <a:gd name="T23" fmla="*/ 474 h 873"/>
                <a:gd name="T24" fmla="*/ 1767 w 1818"/>
                <a:gd name="T25" fmla="*/ 539 h 873"/>
                <a:gd name="T26" fmla="*/ 1637 w 1818"/>
                <a:gd name="T27" fmla="*/ 525 h 873"/>
                <a:gd name="T28" fmla="*/ 1562 w 1818"/>
                <a:gd name="T29" fmla="*/ 517 h 873"/>
                <a:gd name="T30" fmla="*/ 1601 w 1818"/>
                <a:gd name="T31" fmla="*/ 564 h 873"/>
                <a:gd name="T32" fmla="*/ 1685 w 1818"/>
                <a:gd name="T33" fmla="*/ 684 h 873"/>
                <a:gd name="T34" fmla="*/ 1756 w 1818"/>
                <a:gd name="T35" fmla="*/ 758 h 873"/>
                <a:gd name="T36" fmla="*/ 1804 w 1818"/>
                <a:gd name="T37" fmla="*/ 793 h 873"/>
                <a:gd name="T38" fmla="*/ 1818 w 1818"/>
                <a:gd name="T39" fmla="*/ 860 h 873"/>
                <a:gd name="T40" fmla="*/ 1798 w 1818"/>
                <a:gd name="T41" fmla="*/ 860 h 873"/>
                <a:gd name="T42" fmla="*/ 1744 w 1818"/>
                <a:gd name="T43" fmla="*/ 848 h 873"/>
                <a:gd name="T44" fmla="*/ 1719 w 1818"/>
                <a:gd name="T45" fmla="*/ 821 h 873"/>
                <a:gd name="T46" fmla="*/ 1646 w 1818"/>
                <a:gd name="T47" fmla="*/ 812 h 873"/>
                <a:gd name="T48" fmla="*/ 1606 w 1818"/>
                <a:gd name="T49" fmla="*/ 776 h 873"/>
                <a:gd name="T50" fmla="*/ 1579 w 1818"/>
                <a:gd name="T51" fmla="*/ 762 h 873"/>
                <a:gd name="T52" fmla="*/ 1521 w 1818"/>
                <a:gd name="T53" fmla="*/ 753 h 873"/>
                <a:gd name="T54" fmla="*/ 1481 w 1818"/>
                <a:gd name="T55" fmla="*/ 727 h 873"/>
                <a:gd name="T56" fmla="*/ 1424 w 1818"/>
                <a:gd name="T57" fmla="*/ 733 h 873"/>
                <a:gd name="T58" fmla="*/ 1352 w 1818"/>
                <a:gd name="T59" fmla="*/ 732 h 873"/>
                <a:gd name="T60" fmla="*/ 1361 w 1818"/>
                <a:gd name="T61" fmla="*/ 819 h 873"/>
                <a:gd name="T62" fmla="*/ 1263 w 1818"/>
                <a:gd name="T63" fmla="*/ 773 h 873"/>
                <a:gd name="T64" fmla="*/ 1129 w 1818"/>
                <a:gd name="T65" fmla="*/ 741 h 873"/>
                <a:gd name="T66" fmla="*/ 1033 w 1818"/>
                <a:gd name="T67" fmla="*/ 768 h 873"/>
                <a:gd name="T68" fmla="*/ 903 w 1818"/>
                <a:gd name="T69" fmla="*/ 727 h 873"/>
                <a:gd name="T70" fmla="*/ 835 w 1818"/>
                <a:gd name="T71" fmla="*/ 663 h 873"/>
                <a:gd name="T72" fmla="*/ 806 w 1818"/>
                <a:gd name="T73" fmla="*/ 612 h 873"/>
                <a:gd name="T74" fmla="*/ 668 w 1818"/>
                <a:gd name="T75" fmla="*/ 490 h 873"/>
                <a:gd name="T76" fmla="*/ 563 w 1818"/>
                <a:gd name="T77" fmla="*/ 500 h 873"/>
                <a:gd name="T78" fmla="*/ 480 w 1818"/>
                <a:gd name="T79" fmla="*/ 481 h 873"/>
                <a:gd name="T80" fmla="*/ 416 w 1818"/>
                <a:gd name="T81" fmla="*/ 531 h 873"/>
                <a:gd name="T82" fmla="*/ 350 w 1818"/>
                <a:gd name="T83" fmla="*/ 522 h 873"/>
                <a:gd name="T84" fmla="*/ 349 w 1818"/>
                <a:gd name="T85" fmla="*/ 493 h 873"/>
                <a:gd name="T86" fmla="*/ 345 w 1818"/>
                <a:gd name="T87" fmla="*/ 465 h 873"/>
                <a:gd name="T88" fmla="*/ 313 w 1818"/>
                <a:gd name="T89" fmla="*/ 473 h 873"/>
                <a:gd name="T90" fmla="*/ 260 w 1818"/>
                <a:gd name="T91" fmla="*/ 508 h 873"/>
                <a:gd name="T92" fmla="*/ 133 w 1818"/>
                <a:gd name="T93" fmla="*/ 486 h 873"/>
                <a:gd name="T94" fmla="*/ 126 w 1818"/>
                <a:gd name="T95" fmla="*/ 439 h 873"/>
                <a:gd name="T96" fmla="*/ 92 w 1818"/>
                <a:gd name="T97" fmla="*/ 421 h 873"/>
                <a:gd name="T98" fmla="*/ 74 w 1818"/>
                <a:gd name="T99" fmla="*/ 396 h 873"/>
                <a:gd name="T100" fmla="*/ 26 w 1818"/>
                <a:gd name="T101" fmla="*/ 373 h 873"/>
                <a:gd name="T102" fmla="*/ 2 w 1818"/>
                <a:gd name="T103" fmla="*/ 366 h 873"/>
                <a:gd name="T104" fmla="*/ 49 w 1818"/>
                <a:gd name="T105" fmla="*/ 303 h 873"/>
                <a:gd name="T106" fmla="*/ 85 w 1818"/>
                <a:gd name="T107" fmla="*/ 266 h 873"/>
                <a:gd name="T108" fmla="*/ 84 w 1818"/>
                <a:gd name="T109" fmla="*/ 256 h 873"/>
                <a:gd name="T110" fmla="*/ 83 w 1818"/>
                <a:gd name="T111" fmla="*/ 238 h 873"/>
                <a:gd name="T112" fmla="*/ 125 w 1818"/>
                <a:gd name="T113" fmla="*/ 152 h 873"/>
                <a:gd name="T114" fmla="*/ 214 w 1818"/>
                <a:gd name="T115" fmla="*/ 49 h 873"/>
                <a:gd name="T116" fmla="*/ 199 w 1818"/>
                <a:gd name="T117" fmla="*/ 18 h 873"/>
                <a:gd name="T118" fmla="*/ 233 w 1818"/>
                <a:gd name="T119" fmla="*/ 18 h 873"/>
                <a:gd name="T120" fmla="*/ 308 w 1818"/>
                <a:gd name="T121" fmla="*/ 0 h 873"/>
                <a:gd name="T122" fmla="*/ 383 w 1818"/>
                <a:gd name="T123" fmla="*/ 18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18" h="873">
                  <a:moveTo>
                    <a:pt x="511" y="219"/>
                  </a:moveTo>
                  <a:lnTo>
                    <a:pt x="526" y="218"/>
                  </a:lnTo>
                  <a:lnTo>
                    <a:pt x="560" y="206"/>
                  </a:lnTo>
                  <a:lnTo>
                    <a:pt x="571" y="204"/>
                  </a:lnTo>
                  <a:lnTo>
                    <a:pt x="580" y="206"/>
                  </a:lnTo>
                  <a:lnTo>
                    <a:pt x="594" y="209"/>
                  </a:lnTo>
                  <a:lnTo>
                    <a:pt x="619" y="238"/>
                  </a:lnTo>
                  <a:lnTo>
                    <a:pt x="640" y="245"/>
                  </a:lnTo>
                  <a:lnTo>
                    <a:pt x="666" y="245"/>
                  </a:lnTo>
                  <a:lnTo>
                    <a:pt x="675" y="247"/>
                  </a:lnTo>
                  <a:lnTo>
                    <a:pt x="685" y="250"/>
                  </a:lnTo>
                  <a:lnTo>
                    <a:pt x="693" y="256"/>
                  </a:lnTo>
                  <a:lnTo>
                    <a:pt x="707" y="270"/>
                  </a:lnTo>
                  <a:lnTo>
                    <a:pt x="719" y="278"/>
                  </a:lnTo>
                  <a:lnTo>
                    <a:pt x="729" y="282"/>
                  </a:lnTo>
                  <a:lnTo>
                    <a:pt x="739" y="283"/>
                  </a:lnTo>
                  <a:lnTo>
                    <a:pt x="785" y="275"/>
                  </a:lnTo>
                  <a:lnTo>
                    <a:pt x="794" y="276"/>
                  </a:lnTo>
                  <a:lnTo>
                    <a:pt x="818" y="287"/>
                  </a:lnTo>
                  <a:lnTo>
                    <a:pt x="827" y="286"/>
                  </a:lnTo>
                  <a:lnTo>
                    <a:pt x="826" y="260"/>
                  </a:lnTo>
                  <a:lnTo>
                    <a:pt x="834" y="257"/>
                  </a:lnTo>
                  <a:lnTo>
                    <a:pt x="858" y="263"/>
                  </a:lnTo>
                  <a:lnTo>
                    <a:pt x="890" y="266"/>
                  </a:lnTo>
                  <a:lnTo>
                    <a:pt x="900" y="270"/>
                  </a:lnTo>
                  <a:lnTo>
                    <a:pt x="910" y="277"/>
                  </a:lnTo>
                  <a:lnTo>
                    <a:pt x="928" y="293"/>
                  </a:lnTo>
                  <a:lnTo>
                    <a:pt x="940" y="298"/>
                  </a:lnTo>
                  <a:lnTo>
                    <a:pt x="951" y="297"/>
                  </a:lnTo>
                  <a:lnTo>
                    <a:pt x="968" y="288"/>
                  </a:lnTo>
                  <a:lnTo>
                    <a:pt x="1034" y="280"/>
                  </a:lnTo>
                  <a:lnTo>
                    <a:pt x="1046" y="272"/>
                  </a:lnTo>
                  <a:lnTo>
                    <a:pt x="1039" y="227"/>
                  </a:lnTo>
                  <a:lnTo>
                    <a:pt x="1041" y="178"/>
                  </a:lnTo>
                  <a:lnTo>
                    <a:pt x="1041" y="173"/>
                  </a:lnTo>
                  <a:lnTo>
                    <a:pt x="1046" y="174"/>
                  </a:lnTo>
                  <a:lnTo>
                    <a:pt x="1061" y="173"/>
                  </a:lnTo>
                  <a:lnTo>
                    <a:pt x="1068" y="172"/>
                  </a:lnTo>
                  <a:lnTo>
                    <a:pt x="1074" y="170"/>
                  </a:lnTo>
                  <a:lnTo>
                    <a:pt x="1091" y="150"/>
                  </a:lnTo>
                  <a:lnTo>
                    <a:pt x="1095" y="147"/>
                  </a:lnTo>
                  <a:lnTo>
                    <a:pt x="1098" y="145"/>
                  </a:lnTo>
                  <a:lnTo>
                    <a:pt x="1110" y="135"/>
                  </a:lnTo>
                  <a:lnTo>
                    <a:pt x="1118" y="133"/>
                  </a:lnTo>
                  <a:lnTo>
                    <a:pt x="1124" y="136"/>
                  </a:lnTo>
                  <a:lnTo>
                    <a:pt x="1143" y="156"/>
                  </a:lnTo>
                  <a:lnTo>
                    <a:pt x="1156" y="165"/>
                  </a:lnTo>
                  <a:lnTo>
                    <a:pt x="1170" y="170"/>
                  </a:lnTo>
                  <a:lnTo>
                    <a:pt x="1184" y="173"/>
                  </a:lnTo>
                  <a:lnTo>
                    <a:pt x="1200" y="174"/>
                  </a:lnTo>
                  <a:lnTo>
                    <a:pt x="1215" y="174"/>
                  </a:lnTo>
                  <a:lnTo>
                    <a:pt x="1222" y="174"/>
                  </a:lnTo>
                  <a:lnTo>
                    <a:pt x="1228" y="176"/>
                  </a:lnTo>
                  <a:lnTo>
                    <a:pt x="1231" y="184"/>
                  </a:lnTo>
                  <a:lnTo>
                    <a:pt x="1236" y="201"/>
                  </a:lnTo>
                  <a:lnTo>
                    <a:pt x="1239" y="207"/>
                  </a:lnTo>
                  <a:lnTo>
                    <a:pt x="1251" y="207"/>
                  </a:lnTo>
                  <a:lnTo>
                    <a:pt x="1268" y="201"/>
                  </a:lnTo>
                  <a:lnTo>
                    <a:pt x="1283" y="199"/>
                  </a:lnTo>
                  <a:lnTo>
                    <a:pt x="1290" y="209"/>
                  </a:lnTo>
                  <a:lnTo>
                    <a:pt x="1292" y="217"/>
                  </a:lnTo>
                  <a:lnTo>
                    <a:pt x="1338" y="274"/>
                  </a:lnTo>
                  <a:lnTo>
                    <a:pt x="1341" y="283"/>
                  </a:lnTo>
                  <a:lnTo>
                    <a:pt x="1344" y="295"/>
                  </a:lnTo>
                  <a:lnTo>
                    <a:pt x="1352" y="305"/>
                  </a:lnTo>
                  <a:lnTo>
                    <a:pt x="1368" y="322"/>
                  </a:lnTo>
                  <a:lnTo>
                    <a:pt x="1408" y="347"/>
                  </a:lnTo>
                  <a:lnTo>
                    <a:pt x="1415" y="355"/>
                  </a:lnTo>
                  <a:lnTo>
                    <a:pt x="1441" y="376"/>
                  </a:lnTo>
                  <a:lnTo>
                    <a:pt x="1460" y="386"/>
                  </a:lnTo>
                  <a:lnTo>
                    <a:pt x="1471" y="390"/>
                  </a:lnTo>
                  <a:lnTo>
                    <a:pt x="1484" y="393"/>
                  </a:lnTo>
                  <a:lnTo>
                    <a:pt x="1499" y="395"/>
                  </a:lnTo>
                  <a:lnTo>
                    <a:pt x="1514" y="393"/>
                  </a:lnTo>
                  <a:lnTo>
                    <a:pt x="1543" y="387"/>
                  </a:lnTo>
                  <a:lnTo>
                    <a:pt x="1555" y="386"/>
                  </a:lnTo>
                  <a:lnTo>
                    <a:pt x="1569" y="390"/>
                  </a:lnTo>
                  <a:lnTo>
                    <a:pt x="1579" y="400"/>
                  </a:lnTo>
                  <a:lnTo>
                    <a:pt x="1588" y="408"/>
                  </a:lnTo>
                  <a:lnTo>
                    <a:pt x="1595" y="413"/>
                  </a:lnTo>
                  <a:lnTo>
                    <a:pt x="1607" y="417"/>
                  </a:lnTo>
                  <a:lnTo>
                    <a:pt x="1639" y="445"/>
                  </a:lnTo>
                  <a:lnTo>
                    <a:pt x="1678" y="469"/>
                  </a:lnTo>
                  <a:lnTo>
                    <a:pt x="1693" y="474"/>
                  </a:lnTo>
                  <a:lnTo>
                    <a:pt x="1706" y="484"/>
                  </a:lnTo>
                  <a:lnTo>
                    <a:pt x="1744" y="491"/>
                  </a:lnTo>
                  <a:lnTo>
                    <a:pt x="1786" y="507"/>
                  </a:lnTo>
                  <a:lnTo>
                    <a:pt x="1799" y="514"/>
                  </a:lnTo>
                  <a:lnTo>
                    <a:pt x="1791" y="524"/>
                  </a:lnTo>
                  <a:lnTo>
                    <a:pt x="1775" y="535"/>
                  </a:lnTo>
                  <a:lnTo>
                    <a:pt x="1767" y="539"/>
                  </a:lnTo>
                  <a:lnTo>
                    <a:pt x="1758" y="543"/>
                  </a:lnTo>
                  <a:lnTo>
                    <a:pt x="1747" y="543"/>
                  </a:lnTo>
                  <a:lnTo>
                    <a:pt x="1724" y="539"/>
                  </a:lnTo>
                  <a:lnTo>
                    <a:pt x="1719" y="540"/>
                  </a:lnTo>
                  <a:lnTo>
                    <a:pt x="1701" y="552"/>
                  </a:lnTo>
                  <a:lnTo>
                    <a:pt x="1683" y="550"/>
                  </a:lnTo>
                  <a:lnTo>
                    <a:pt x="1637" y="525"/>
                  </a:lnTo>
                  <a:lnTo>
                    <a:pt x="1628" y="523"/>
                  </a:lnTo>
                  <a:lnTo>
                    <a:pt x="1618" y="523"/>
                  </a:lnTo>
                  <a:lnTo>
                    <a:pt x="1606" y="524"/>
                  </a:lnTo>
                  <a:lnTo>
                    <a:pt x="1595" y="522"/>
                  </a:lnTo>
                  <a:lnTo>
                    <a:pt x="1584" y="517"/>
                  </a:lnTo>
                  <a:lnTo>
                    <a:pt x="1572" y="513"/>
                  </a:lnTo>
                  <a:lnTo>
                    <a:pt x="1562" y="517"/>
                  </a:lnTo>
                  <a:lnTo>
                    <a:pt x="1558" y="529"/>
                  </a:lnTo>
                  <a:lnTo>
                    <a:pt x="1561" y="544"/>
                  </a:lnTo>
                  <a:lnTo>
                    <a:pt x="1567" y="557"/>
                  </a:lnTo>
                  <a:lnTo>
                    <a:pt x="1574" y="563"/>
                  </a:lnTo>
                  <a:lnTo>
                    <a:pt x="1580" y="565"/>
                  </a:lnTo>
                  <a:lnTo>
                    <a:pt x="1594" y="564"/>
                  </a:lnTo>
                  <a:lnTo>
                    <a:pt x="1601" y="564"/>
                  </a:lnTo>
                  <a:lnTo>
                    <a:pt x="1610" y="570"/>
                  </a:lnTo>
                  <a:lnTo>
                    <a:pt x="1623" y="583"/>
                  </a:lnTo>
                  <a:lnTo>
                    <a:pt x="1631" y="587"/>
                  </a:lnTo>
                  <a:lnTo>
                    <a:pt x="1645" y="591"/>
                  </a:lnTo>
                  <a:lnTo>
                    <a:pt x="1656" y="599"/>
                  </a:lnTo>
                  <a:lnTo>
                    <a:pt x="1664" y="609"/>
                  </a:lnTo>
                  <a:lnTo>
                    <a:pt x="1685" y="684"/>
                  </a:lnTo>
                  <a:lnTo>
                    <a:pt x="1697" y="713"/>
                  </a:lnTo>
                  <a:lnTo>
                    <a:pt x="1717" y="739"/>
                  </a:lnTo>
                  <a:lnTo>
                    <a:pt x="1730" y="751"/>
                  </a:lnTo>
                  <a:lnTo>
                    <a:pt x="1737" y="755"/>
                  </a:lnTo>
                  <a:lnTo>
                    <a:pt x="1744" y="756"/>
                  </a:lnTo>
                  <a:lnTo>
                    <a:pt x="1753" y="756"/>
                  </a:lnTo>
                  <a:lnTo>
                    <a:pt x="1756" y="758"/>
                  </a:lnTo>
                  <a:lnTo>
                    <a:pt x="1759" y="762"/>
                  </a:lnTo>
                  <a:lnTo>
                    <a:pt x="1785" y="782"/>
                  </a:lnTo>
                  <a:lnTo>
                    <a:pt x="1787" y="785"/>
                  </a:lnTo>
                  <a:lnTo>
                    <a:pt x="1792" y="793"/>
                  </a:lnTo>
                  <a:lnTo>
                    <a:pt x="1794" y="796"/>
                  </a:lnTo>
                  <a:lnTo>
                    <a:pt x="1797" y="796"/>
                  </a:lnTo>
                  <a:lnTo>
                    <a:pt x="1804" y="793"/>
                  </a:lnTo>
                  <a:lnTo>
                    <a:pt x="1807" y="794"/>
                  </a:lnTo>
                  <a:lnTo>
                    <a:pt x="1814" y="806"/>
                  </a:lnTo>
                  <a:lnTo>
                    <a:pt x="1817" y="819"/>
                  </a:lnTo>
                  <a:lnTo>
                    <a:pt x="1814" y="845"/>
                  </a:lnTo>
                  <a:lnTo>
                    <a:pt x="1815" y="850"/>
                  </a:lnTo>
                  <a:lnTo>
                    <a:pt x="1817" y="856"/>
                  </a:lnTo>
                  <a:lnTo>
                    <a:pt x="1818" y="860"/>
                  </a:lnTo>
                  <a:lnTo>
                    <a:pt x="1817" y="867"/>
                  </a:lnTo>
                  <a:lnTo>
                    <a:pt x="1810" y="873"/>
                  </a:lnTo>
                  <a:lnTo>
                    <a:pt x="1809" y="873"/>
                  </a:lnTo>
                  <a:lnTo>
                    <a:pt x="1800" y="873"/>
                  </a:lnTo>
                  <a:lnTo>
                    <a:pt x="1798" y="872"/>
                  </a:lnTo>
                  <a:lnTo>
                    <a:pt x="1797" y="868"/>
                  </a:lnTo>
                  <a:lnTo>
                    <a:pt x="1798" y="860"/>
                  </a:lnTo>
                  <a:lnTo>
                    <a:pt x="1797" y="858"/>
                  </a:lnTo>
                  <a:lnTo>
                    <a:pt x="1795" y="857"/>
                  </a:lnTo>
                  <a:lnTo>
                    <a:pt x="1791" y="858"/>
                  </a:lnTo>
                  <a:lnTo>
                    <a:pt x="1785" y="859"/>
                  </a:lnTo>
                  <a:lnTo>
                    <a:pt x="1778" y="859"/>
                  </a:lnTo>
                  <a:lnTo>
                    <a:pt x="1755" y="853"/>
                  </a:lnTo>
                  <a:lnTo>
                    <a:pt x="1744" y="848"/>
                  </a:lnTo>
                  <a:lnTo>
                    <a:pt x="1737" y="847"/>
                  </a:lnTo>
                  <a:lnTo>
                    <a:pt x="1732" y="845"/>
                  </a:lnTo>
                  <a:lnTo>
                    <a:pt x="1729" y="842"/>
                  </a:lnTo>
                  <a:lnTo>
                    <a:pt x="1727" y="835"/>
                  </a:lnTo>
                  <a:lnTo>
                    <a:pt x="1724" y="829"/>
                  </a:lnTo>
                  <a:lnTo>
                    <a:pt x="1722" y="823"/>
                  </a:lnTo>
                  <a:lnTo>
                    <a:pt x="1719" y="821"/>
                  </a:lnTo>
                  <a:lnTo>
                    <a:pt x="1708" y="821"/>
                  </a:lnTo>
                  <a:lnTo>
                    <a:pt x="1703" y="819"/>
                  </a:lnTo>
                  <a:lnTo>
                    <a:pt x="1695" y="815"/>
                  </a:lnTo>
                  <a:lnTo>
                    <a:pt x="1688" y="812"/>
                  </a:lnTo>
                  <a:lnTo>
                    <a:pt x="1657" y="811"/>
                  </a:lnTo>
                  <a:lnTo>
                    <a:pt x="1653" y="812"/>
                  </a:lnTo>
                  <a:lnTo>
                    <a:pt x="1646" y="812"/>
                  </a:lnTo>
                  <a:lnTo>
                    <a:pt x="1626" y="806"/>
                  </a:lnTo>
                  <a:lnTo>
                    <a:pt x="1617" y="799"/>
                  </a:lnTo>
                  <a:lnTo>
                    <a:pt x="1614" y="795"/>
                  </a:lnTo>
                  <a:lnTo>
                    <a:pt x="1611" y="791"/>
                  </a:lnTo>
                  <a:lnTo>
                    <a:pt x="1608" y="786"/>
                  </a:lnTo>
                  <a:lnTo>
                    <a:pt x="1607" y="779"/>
                  </a:lnTo>
                  <a:lnTo>
                    <a:pt x="1606" y="776"/>
                  </a:lnTo>
                  <a:lnTo>
                    <a:pt x="1604" y="773"/>
                  </a:lnTo>
                  <a:lnTo>
                    <a:pt x="1598" y="778"/>
                  </a:lnTo>
                  <a:lnTo>
                    <a:pt x="1594" y="777"/>
                  </a:lnTo>
                  <a:lnTo>
                    <a:pt x="1592" y="773"/>
                  </a:lnTo>
                  <a:lnTo>
                    <a:pt x="1591" y="769"/>
                  </a:lnTo>
                  <a:lnTo>
                    <a:pt x="1587" y="766"/>
                  </a:lnTo>
                  <a:lnTo>
                    <a:pt x="1579" y="762"/>
                  </a:lnTo>
                  <a:lnTo>
                    <a:pt x="1564" y="755"/>
                  </a:lnTo>
                  <a:lnTo>
                    <a:pt x="1556" y="750"/>
                  </a:lnTo>
                  <a:lnTo>
                    <a:pt x="1550" y="747"/>
                  </a:lnTo>
                  <a:lnTo>
                    <a:pt x="1545" y="747"/>
                  </a:lnTo>
                  <a:lnTo>
                    <a:pt x="1538" y="751"/>
                  </a:lnTo>
                  <a:lnTo>
                    <a:pt x="1528" y="753"/>
                  </a:lnTo>
                  <a:lnTo>
                    <a:pt x="1521" y="753"/>
                  </a:lnTo>
                  <a:lnTo>
                    <a:pt x="1512" y="750"/>
                  </a:lnTo>
                  <a:lnTo>
                    <a:pt x="1508" y="744"/>
                  </a:lnTo>
                  <a:lnTo>
                    <a:pt x="1502" y="734"/>
                  </a:lnTo>
                  <a:lnTo>
                    <a:pt x="1499" y="730"/>
                  </a:lnTo>
                  <a:lnTo>
                    <a:pt x="1493" y="727"/>
                  </a:lnTo>
                  <a:lnTo>
                    <a:pt x="1487" y="726"/>
                  </a:lnTo>
                  <a:lnTo>
                    <a:pt x="1481" y="727"/>
                  </a:lnTo>
                  <a:lnTo>
                    <a:pt x="1474" y="729"/>
                  </a:lnTo>
                  <a:lnTo>
                    <a:pt x="1467" y="731"/>
                  </a:lnTo>
                  <a:lnTo>
                    <a:pt x="1450" y="731"/>
                  </a:lnTo>
                  <a:lnTo>
                    <a:pt x="1444" y="732"/>
                  </a:lnTo>
                  <a:lnTo>
                    <a:pt x="1437" y="734"/>
                  </a:lnTo>
                  <a:lnTo>
                    <a:pt x="1432" y="734"/>
                  </a:lnTo>
                  <a:lnTo>
                    <a:pt x="1424" y="733"/>
                  </a:lnTo>
                  <a:lnTo>
                    <a:pt x="1417" y="728"/>
                  </a:lnTo>
                  <a:lnTo>
                    <a:pt x="1407" y="723"/>
                  </a:lnTo>
                  <a:lnTo>
                    <a:pt x="1395" y="719"/>
                  </a:lnTo>
                  <a:lnTo>
                    <a:pt x="1373" y="719"/>
                  </a:lnTo>
                  <a:lnTo>
                    <a:pt x="1363" y="721"/>
                  </a:lnTo>
                  <a:lnTo>
                    <a:pt x="1354" y="726"/>
                  </a:lnTo>
                  <a:lnTo>
                    <a:pt x="1352" y="732"/>
                  </a:lnTo>
                  <a:lnTo>
                    <a:pt x="1352" y="743"/>
                  </a:lnTo>
                  <a:lnTo>
                    <a:pt x="1358" y="798"/>
                  </a:lnTo>
                  <a:lnTo>
                    <a:pt x="1361" y="806"/>
                  </a:lnTo>
                  <a:lnTo>
                    <a:pt x="1365" y="811"/>
                  </a:lnTo>
                  <a:lnTo>
                    <a:pt x="1366" y="814"/>
                  </a:lnTo>
                  <a:lnTo>
                    <a:pt x="1365" y="817"/>
                  </a:lnTo>
                  <a:lnTo>
                    <a:pt x="1361" y="819"/>
                  </a:lnTo>
                  <a:lnTo>
                    <a:pt x="1354" y="818"/>
                  </a:lnTo>
                  <a:lnTo>
                    <a:pt x="1338" y="817"/>
                  </a:lnTo>
                  <a:lnTo>
                    <a:pt x="1322" y="812"/>
                  </a:lnTo>
                  <a:lnTo>
                    <a:pt x="1307" y="804"/>
                  </a:lnTo>
                  <a:lnTo>
                    <a:pt x="1280" y="784"/>
                  </a:lnTo>
                  <a:lnTo>
                    <a:pt x="1267" y="778"/>
                  </a:lnTo>
                  <a:lnTo>
                    <a:pt x="1263" y="773"/>
                  </a:lnTo>
                  <a:lnTo>
                    <a:pt x="1261" y="757"/>
                  </a:lnTo>
                  <a:lnTo>
                    <a:pt x="1257" y="750"/>
                  </a:lnTo>
                  <a:lnTo>
                    <a:pt x="1253" y="742"/>
                  </a:lnTo>
                  <a:lnTo>
                    <a:pt x="1250" y="739"/>
                  </a:lnTo>
                  <a:lnTo>
                    <a:pt x="1187" y="734"/>
                  </a:lnTo>
                  <a:lnTo>
                    <a:pt x="1135" y="739"/>
                  </a:lnTo>
                  <a:lnTo>
                    <a:pt x="1129" y="741"/>
                  </a:lnTo>
                  <a:lnTo>
                    <a:pt x="1116" y="747"/>
                  </a:lnTo>
                  <a:lnTo>
                    <a:pt x="1094" y="755"/>
                  </a:lnTo>
                  <a:lnTo>
                    <a:pt x="1087" y="757"/>
                  </a:lnTo>
                  <a:lnTo>
                    <a:pt x="1060" y="777"/>
                  </a:lnTo>
                  <a:lnTo>
                    <a:pt x="1044" y="784"/>
                  </a:lnTo>
                  <a:lnTo>
                    <a:pt x="1038" y="778"/>
                  </a:lnTo>
                  <a:lnTo>
                    <a:pt x="1033" y="768"/>
                  </a:lnTo>
                  <a:lnTo>
                    <a:pt x="1022" y="765"/>
                  </a:lnTo>
                  <a:lnTo>
                    <a:pt x="995" y="766"/>
                  </a:lnTo>
                  <a:lnTo>
                    <a:pt x="983" y="759"/>
                  </a:lnTo>
                  <a:lnTo>
                    <a:pt x="948" y="733"/>
                  </a:lnTo>
                  <a:lnTo>
                    <a:pt x="934" y="714"/>
                  </a:lnTo>
                  <a:lnTo>
                    <a:pt x="917" y="718"/>
                  </a:lnTo>
                  <a:lnTo>
                    <a:pt x="903" y="727"/>
                  </a:lnTo>
                  <a:lnTo>
                    <a:pt x="896" y="717"/>
                  </a:lnTo>
                  <a:lnTo>
                    <a:pt x="892" y="712"/>
                  </a:lnTo>
                  <a:lnTo>
                    <a:pt x="886" y="704"/>
                  </a:lnTo>
                  <a:lnTo>
                    <a:pt x="849" y="678"/>
                  </a:lnTo>
                  <a:lnTo>
                    <a:pt x="841" y="672"/>
                  </a:lnTo>
                  <a:lnTo>
                    <a:pt x="837" y="666"/>
                  </a:lnTo>
                  <a:lnTo>
                    <a:pt x="835" y="663"/>
                  </a:lnTo>
                  <a:lnTo>
                    <a:pt x="828" y="652"/>
                  </a:lnTo>
                  <a:lnTo>
                    <a:pt x="823" y="646"/>
                  </a:lnTo>
                  <a:lnTo>
                    <a:pt x="810" y="627"/>
                  </a:lnTo>
                  <a:lnTo>
                    <a:pt x="809" y="623"/>
                  </a:lnTo>
                  <a:lnTo>
                    <a:pt x="809" y="617"/>
                  </a:lnTo>
                  <a:lnTo>
                    <a:pt x="808" y="615"/>
                  </a:lnTo>
                  <a:lnTo>
                    <a:pt x="806" y="612"/>
                  </a:lnTo>
                  <a:lnTo>
                    <a:pt x="785" y="594"/>
                  </a:lnTo>
                  <a:lnTo>
                    <a:pt x="716" y="512"/>
                  </a:lnTo>
                  <a:lnTo>
                    <a:pt x="709" y="500"/>
                  </a:lnTo>
                  <a:lnTo>
                    <a:pt x="705" y="495"/>
                  </a:lnTo>
                  <a:lnTo>
                    <a:pt x="695" y="490"/>
                  </a:lnTo>
                  <a:lnTo>
                    <a:pt x="687" y="486"/>
                  </a:lnTo>
                  <a:lnTo>
                    <a:pt x="668" y="490"/>
                  </a:lnTo>
                  <a:lnTo>
                    <a:pt x="658" y="494"/>
                  </a:lnTo>
                  <a:lnTo>
                    <a:pt x="649" y="498"/>
                  </a:lnTo>
                  <a:lnTo>
                    <a:pt x="641" y="504"/>
                  </a:lnTo>
                  <a:lnTo>
                    <a:pt x="631" y="509"/>
                  </a:lnTo>
                  <a:lnTo>
                    <a:pt x="617" y="511"/>
                  </a:lnTo>
                  <a:lnTo>
                    <a:pt x="600" y="511"/>
                  </a:lnTo>
                  <a:lnTo>
                    <a:pt x="563" y="500"/>
                  </a:lnTo>
                  <a:lnTo>
                    <a:pt x="551" y="498"/>
                  </a:lnTo>
                  <a:lnTo>
                    <a:pt x="540" y="500"/>
                  </a:lnTo>
                  <a:lnTo>
                    <a:pt x="533" y="504"/>
                  </a:lnTo>
                  <a:lnTo>
                    <a:pt x="525" y="505"/>
                  </a:lnTo>
                  <a:lnTo>
                    <a:pt x="518" y="503"/>
                  </a:lnTo>
                  <a:lnTo>
                    <a:pt x="498" y="490"/>
                  </a:lnTo>
                  <a:lnTo>
                    <a:pt x="480" y="481"/>
                  </a:lnTo>
                  <a:lnTo>
                    <a:pt x="469" y="477"/>
                  </a:lnTo>
                  <a:lnTo>
                    <a:pt x="459" y="474"/>
                  </a:lnTo>
                  <a:lnTo>
                    <a:pt x="449" y="482"/>
                  </a:lnTo>
                  <a:lnTo>
                    <a:pt x="432" y="501"/>
                  </a:lnTo>
                  <a:lnTo>
                    <a:pt x="427" y="510"/>
                  </a:lnTo>
                  <a:lnTo>
                    <a:pt x="419" y="525"/>
                  </a:lnTo>
                  <a:lnTo>
                    <a:pt x="416" y="531"/>
                  </a:lnTo>
                  <a:lnTo>
                    <a:pt x="411" y="534"/>
                  </a:lnTo>
                  <a:lnTo>
                    <a:pt x="407" y="536"/>
                  </a:lnTo>
                  <a:lnTo>
                    <a:pt x="399" y="537"/>
                  </a:lnTo>
                  <a:lnTo>
                    <a:pt x="388" y="536"/>
                  </a:lnTo>
                  <a:lnTo>
                    <a:pt x="356" y="529"/>
                  </a:lnTo>
                  <a:lnTo>
                    <a:pt x="351" y="526"/>
                  </a:lnTo>
                  <a:lnTo>
                    <a:pt x="350" y="522"/>
                  </a:lnTo>
                  <a:lnTo>
                    <a:pt x="350" y="518"/>
                  </a:lnTo>
                  <a:lnTo>
                    <a:pt x="350" y="513"/>
                  </a:lnTo>
                  <a:lnTo>
                    <a:pt x="351" y="509"/>
                  </a:lnTo>
                  <a:lnTo>
                    <a:pt x="352" y="506"/>
                  </a:lnTo>
                  <a:lnTo>
                    <a:pt x="352" y="503"/>
                  </a:lnTo>
                  <a:lnTo>
                    <a:pt x="349" y="496"/>
                  </a:lnTo>
                  <a:lnTo>
                    <a:pt x="349" y="493"/>
                  </a:lnTo>
                  <a:lnTo>
                    <a:pt x="350" y="490"/>
                  </a:lnTo>
                  <a:lnTo>
                    <a:pt x="352" y="486"/>
                  </a:lnTo>
                  <a:lnTo>
                    <a:pt x="353" y="483"/>
                  </a:lnTo>
                  <a:lnTo>
                    <a:pt x="352" y="480"/>
                  </a:lnTo>
                  <a:lnTo>
                    <a:pt x="350" y="477"/>
                  </a:lnTo>
                  <a:lnTo>
                    <a:pt x="347" y="472"/>
                  </a:lnTo>
                  <a:lnTo>
                    <a:pt x="345" y="465"/>
                  </a:lnTo>
                  <a:lnTo>
                    <a:pt x="342" y="460"/>
                  </a:lnTo>
                  <a:lnTo>
                    <a:pt x="339" y="458"/>
                  </a:lnTo>
                  <a:lnTo>
                    <a:pt x="330" y="461"/>
                  </a:lnTo>
                  <a:lnTo>
                    <a:pt x="321" y="468"/>
                  </a:lnTo>
                  <a:lnTo>
                    <a:pt x="318" y="469"/>
                  </a:lnTo>
                  <a:lnTo>
                    <a:pt x="315" y="470"/>
                  </a:lnTo>
                  <a:lnTo>
                    <a:pt x="313" y="473"/>
                  </a:lnTo>
                  <a:lnTo>
                    <a:pt x="311" y="477"/>
                  </a:lnTo>
                  <a:lnTo>
                    <a:pt x="306" y="480"/>
                  </a:lnTo>
                  <a:lnTo>
                    <a:pt x="300" y="482"/>
                  </a:lnTo>
                  <a:lnTo>
                    <a:pt x="289" y="484"/>
                  </a:lnTo>
                  <a:lnTo>
                    <a:pt x="281" y="488"/>
                  </a:lnTo>
                  <a:lnTo>
                    <a:pt x="267" y="504"/>
                  </a:lnTo>
                  <a:lnTo>
                    <a:pt x="260" y="508"/>
                  </a:lnTo>
                  <a:lnTo>
                    <a:pt x="255" y="509"/>
                  </a:lnTo>
                  <a:lnTo>
                    <a:pt x="248" y="505"/>
                  </a:lnTo>
                  <a:lnTo>
                    <a:pt x="239" y="501"/>
                  </a:lnTo>
                  <a:lnTo>
                    <a:pt x="221" y="497"/>
                  </a:lnTo>
                  <a:lnTo>
                    <a:pt x="154" y="495"/>
                  </a:lnTo>
                  <a:lnTo>
                    <a:pt x="142" y="493"/>
                  </a:lnTo>
                  <a:lnTo>
                    <a:pt x="133" y="486"/>
                  </a:lnTo>
                  <a:lnTo>
                    <a:pt x="129" y="473"/>
                  </a:lnTo>
                  <a:lnTo>
                    <a:pt x="124" y="452"/>
                  </a:lnTo>
                  <a:lnTo>
                    <a:pt x="124" y="445"/>
                  </a:lnTo>
                  <a:lnTo>
                    <a:pt x="124" y="442"/>
                  </a:lnTo>
                  <a:lnTo>
                    <a:pt x="125" y="441"/>
                  </a:lnTo>
                  <a:lnTo>
                    <a:pt x="126" y="440"/>
                  </a:lnTo>
                  <a:lnTo>
                    <a:pt x="126" y="439"/>
                  </a:lnTo>
                  <a:lnTo>
                    <a:pt x="128" y="438"/>
                  </a:lnTo>
                  <a:lnTo>
                    <a:pt x="128" y="436"/>
                  </a:lnTo>
                  <a:lnTo>
                    <a:pt x="129" y="434"/>
                  </a:lnTo>
                  <a:lnTo>
                    <a:pt x="129" y="433"/>
                  </a:lnTo>
                  <a:lnTo>
                    <a:pt x="129" y="432"/>
                  </a:lnTo>
                  <a:lnTo>
                    <a:pt x="122" y="428"/>
                  </a:lnTo>
                  <a:lnTo>
                    <a:pt x="92" y="421"/>
                  </a:lnTo>
                  <a:lnTo>
                    <a:pt x="84" y="418"/>
                  </a:lnTo>
                  <a:lnTo>
                    <a:pt x="81" y="416"/>
                  </a:lnTo>
                  <a:lnTo>
                    <a:pt x="80" y="415"/>
                  </a:lnTo>
                  <a:lnTo>
                    <a:pt x="80" y="413"/>
                  </a:lnTo>
                  <a:lnTo>
                    <a:pt x="79" y="405"/>
                  </a:lnTo>
                  <a:lnTo>
                    <a:pt x="77" y="400"/>
                  </a:lnTo>
                  <a:lnTo>
                    <a:pt x="74" y="396"/>
                  </a:lnTo>
                  <a:lnTo>
                    <a:pt x="71" y="393"/>
                  </a:lnTo>
                  <a:lnTo>
                    <a:pt x="61" y="387"/>
                  </a:lnTo>
                  <a:lnTo>
                    <a:pt x="58" y="386"/>
                  </a:lnTo>
                  <a:lnTo>
                    <a:pt x="56" y="386"/>
                  </a:lnTo>
                  <a:lnTo>
                    <a:pt x="53" y="384"/>
                  </a:lnTo>
                  <a:lnTo>
                    <a:pt x="43" y="381"/>
                  </a:lnTo>
                  <a:lnTo>
                    <a:pt x="26" y="373"/>
                  </a:lnTo>
                  <a:lnTo>
                    <a:pt x="25" y="373"/>
                  </a:lnTo>
                  <a:lnTo>
                    <a:pt x="21" y="373"/>
                  </a:lnTo>
                  <a:lnTo>
                    <a:pt x="20" y="373"/>
                  </a:lnTo>
                  <a:lnTo>
                    <a:pt x="19" y="373"/>
                  </a:lnTo>
                  <a:lnTo>
                    <a:pt x="12" y="369"/>
                  </a:lnTo>
                  <a:lnTo>
                    <a:pt x="4" y="367"/>
                  </a:lnTo>
                  <a:lnTo>
                    <a:pt x="2" y="366"/>
                  </a:lnTo>
                  <a:lnTo>
                    <a:pt x="0" y="365"/>
                  </a:lnTo>
                  <a:lnTo>
                    <a:pt x="0" y="364"/>
                  </a:lnTo>
                  <a:lnTo>
                    <a:pt x="0" y="363"/>
                  </a:lnTo>
                  <a:lnTo>
                    <a:pt x="0" y="363"/>
                  </a:lnTo>
                  <a:lnTo>
                    <a:pt x="17" y="335"/>
                  </a:lnTo>
                  <a:lnTo>
                    <a:pt x="40" y="310"/>
                  </a:lnTo>
                  <a:lnTo>
                    <a:pt x="49" y="303"/>
                  </a:lnTo>
                  <a:lnTo>
                    <a:pt x="53" y="302"/>
                  </a:lnTo>
                  <a:lnTo>
                    <a:pt x="56" y="301"/>
                  </a:lnTo>
                  <a:lnTo>
                    <a:pt x="59" y="299"/>
                  </a:lnTo>
                  <a:lnTo>
                    <a:pt x="61" y="298"/>
                  </a:lnTo>
                  <a:lnTo>
                    <a:pt x="65" y="293"/>
                  </a:lnTo>
                  <a:lnTo>
                    <a:pt x="78" y="276"/>
                  </a:lnTo>
                  <a:lnTo>
                    <a:pt x="85" y="266"/>
                  </a:lnTo>
                  <a:lnTo>
                    <a:pt x="88" y="264"/>
                  </a:lnTo>
                  <a:lnTo>
                    <a:pt x="91" y="262"/>
                  </a:lnTo>
                  <a:lnTo>
                    <a:pt x="91" y="260"/>
                  </a:lnTo>
                  <a:lnTo>
                    <a:pt x="90" y="258"/>
                  </a:lnTo>
                  <a:lnTo>
                    <a:pt x="87" y="257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3" y="256"/>
                  </a:lnTo>
                  <a:lnTo>
                    <a:pt x="82" y="254"/>
                  </a:lnTo>
                  <a:lnTo>
                    <a:pt x="81" y="253"/>
                  </a:lnTo>
                  <a:lnTo>
                    <a:pt x="80" y="252"/>
                  </a:lnTo>
                  <a:lnTo>
                    <a:pt x="79" y="251"/>
                  </a:lnTo>
                  <a:lnTo>
                    <a:pt x="79" y="247"/>
                  </a:lnTo>
                  <a:lnTo>
                    <a:pt x="83" y="238"/>
                  </a:lnTo>
                  <a:lnTo>
                    <a:pt x="105" y="211"/>
                  </a:lnTo>
                  <a:lnTo>
                    <a:pt x="120" y="194"/>
                  </a:lnTo>
                  <a:lnTo>
                    <a:pt x="122" y="186"/>
                  </a:lnTo>
                  <a:lnTo>
                    <a:pt x="121" y="178"/>
                  </a:lnTo>
                  <a:lnTo>
                    <a:pt x="120" y="171"/>
                  </a:lnTo>
                  <a:lnTo>
                    <a:pt x="121" y="159"/>
                  </a:lnTo>
                  <a:lnTo>
                    <a:pt x="125" y="152"/>
                  </a:lnTo>
                  <a:lnTo>
                    <a:pt x="131" y="142"/>
                  </a:lnTo>
                  <a:lnTo>
                    <a:pt x="177" y="83"/>
                  </a:lnTo>
                  <a:lnTo>
                    <a:pt x="182" y="78"/>
                  </a:lnTo>
                  <a:lnTo>
                    <a:pt x="208" y="59"/>
                  </a:lnTo>
                  <a:lnTo>
                    <a:pt x="212" y="55"/>
                  </a:lnTo>
                  <a:lnTo>
                    <a:pt x="214" y="51"/>
                  </a:lnTo>
                  <a:lnTo>
                    <a:pt x="214" y="49"/>
                  </a:lnTo>
                  <a:lnTo>
                    <a:pt x="213" y="45"/>
                  </a:lnTo>
                  <a:lnTo>
                    <a:pt x="211" y="42"/>
                  </a:lnTo>
                  <a:lnTo>
                    <a:pt x="209" y="39"/>
                  </a:lnTo>
                  <a:lnTo>
                    <a:pt x="201" y="32"/>
                  </a:lnTo>
                  <a:lnTo>
                    <a:pt x="199" y="29"/>
                  </a:lnTo>
                  <a:lnTo>
                    <a:pt x="198" y="25"/>
                  </a:lnTo>
                  <a:lnTo>
                    <a:pt x="199" y="18"/>
                  </a:lnTo>
                  <a:lnTo>
                    <a:pt x="201" y="15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11" y="13"/>
                  </a:lnTo>
                  <a:lnTo>
                    <a:pt x="216" y="14"/>
                  </a:lnTo>
                  <a:lnTo>
                    <a:pt x="227" y="17"/>
                  </a:lnTo>
                  <a:lnTo>
                    <a:pt x="233" y="18"/>
                  </a:lnTo>
                  <a:lnTo>
                    <a:pt x="251" y="18"/>
                  </a:lnTo>
                  <a:lnTo>
                    <a:pt x="254" y="18"/>
                  </a:lnTo>
                  <a:lnTo>
                    <a:pt x="268" y="24"/>
                  </a:lnTo>
                  <a:lnTo>
                    <a:pt x="279" y="21"/>
                  </a:lnTo>
                  <a:lnTo>
                    <a:pt x="303" y="3"/>
                  </a:lnTo>
                  <a:lnTo>
                    <a:pt x="305" y="0"/>
                  </a:lnTo>
                  <a:lnTo>
                    <a:pt x="308" y="0"/>
                  </a:lnTo>
                  <a:lnTo>
                    <a:pt x="337" y="6"/>
                  </a:lnTo>
                  <a:lnTo>
                    <a:pt x="345" y="39"/>
                  </a:lnTo>
                  <a:lnTo>
                    <a:pt x="350" y="109"/>
                  </a:lnTo>
                  <a:lnTo>
                    <a:pt x="356" y="132"/>
                  </a:lnTo>
                  <a:lnTo>
                    <a:pt x="358" y="152"/>
                  </a:lnTo>
                  <a:lnTo>
                    <a:pt x="366" y="169"/>
                  </a:lnTo>
                  <a:lnTo>
                    <a:pt x="383" y="183"/>
                  </a:lnTo>
                  <a:lnTo>
                    <a:pt x="407" y="192"/>
                  </a:lnTo>
                  <a:lnTo>
                    <a:pt x="479" y="206"/>
                  </a:lnTo>
                  <a:lnTo>
                    <a:pt x="490" y="210"/>
                  </a:lnTo>
                  <a:lnTo>
                    <a:pt x="500" y="215"/>
                  </a:lnTo>
                  <a:lnTo>
                    <a:pt x="511" y="21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88DCECA5-C801-4A6E-29AE-0CCD2D200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811" y="3292206"/>
              <a:ext cx="786931" cy="861946"/>
            </a:xfrm>
            <a:custGeom>
              <a:avLst/>
              <a:gdLst>
                <a:gd name="T0" fmla="*/ 339 w 535"/>
                <a:gd name="T1" fmla="*/ 153 h 586"/>
                <a:gd name="T2" fmla="*/ 393 w 535"/>
                <a:gd name="T3" fmla="*/ 205 h 586"/>
                <a:gd name="T4" fmla="*/ 485 w 535"/>
                <a:gd name="T5" fmla="*/ 242 h 586"/>
                <a:gd name="T6" fmla="*/ 535 w 535"/>
                <a:gd name="T7" fmla="*/ 305 h 586"/>
                <a:gd name="T8" fmla="*/ 523 w 535"/>
                <a:gd name="T9" fmla="*/ 432 h 586"/>
                <a:gd name="T10" fmla="*/ 460 w 535"/>
                <a:gd name="T11" fmla="*/ 496 h 586"/>
                <a:gd name="T12" fmla="*/ 363 w 535"/>
                <a:gd name="T13" fmla="*/ 540 h 586"/>
                <a:gd name="T14" fmla="*/ 293 w 535"/>
                <a:gd name="T15" fmla="*/ 561 h 586"/>
                <a:gd name="T16" fmla="*/ 217 w 535"/>
                <a:gd name="T17" fmla="*/ 502 h 586"/>
                <a:gd name="T18" fmla="*/ 175 w 535"/>
                <a:gd name="T19" fmla="*/ 493 h 586"/>
                <a:gd name="T20" fmla="*/ 128 w 535"/>
                <a:gd name="T21" fmla="*/ 476 h 586"/>
                <a:gd name="T22" fmla="*/ 85 w 535"/>
                <a:gd name="T23" fmla="*/ 446 h 586"/>
                <a:gd name="T24" fmla="*/ 67 w 535"/>
                <a:gd name="T25" fmla="*/ 445 h 586"/>
                <a:gd name="T26" fmla="*/ 57 w 535"/>
                <a:gd name="T27" fmla="*/ 415 h 586"/>
                <a:gd name="T28" fmla="*/ 41 w 535"/>
                <a:gd name="T29" fmla="*/ 390 h 586"/>
                <a:gd name="T30" fmla="*/ 7 w 535"/>
                <a:gd name="T31" fmla="*/ 360 h 586"/>
                <a:gd name="T32" fmla="*/ 1 w 535"/>
                <a:gd name="T33" fmla="*/ 349 h 586"/>
                <a:gd name="T34" fmla="*/ 3 w 535"/>
                <a:gd name="T35" fmla="*/ 340 h 586"/>
                <a:gd name="T36" fmla="*/ 11 w 535"/>
                <a:gd name="T37" fmla="*/ 344 h 586"/>
                <a:gd name="T38" fmla="*/ 14 w 535"/>
                <a:gd name="T39" fmla="*/ 349 h 586"/>
                <a:gd name="T40" fmla="*/ 39 w 535"/>
                <a:gd name="T41" fmla="*/ 354 h 586"/>
                <a:gd name="T42" fmla="*/ 46 w 535"/>
                <a:gd name="T43" fmla="*/ 367 h 586"/>
                <a:gd name="T44" fmla="*/ 71 w 535"/>
                <a:gd name="T45" fmla="*/ 375 h 586"/>
                <a:gd name="T46" fmla="*/ 130 w 535"/>
                <a:gd name="T47" fmla="*/ 340 h 586"/>
                <a:gd name="T48" fmla="*/ 180 w 535"/>
                <a:gd name="T49" fmla="*/ 299 h 586"/>
                <a:gd name="T50" fmla="*/ 175 w 535"/>
                <a:gd name="T51" fmla="*/ 240 h 586"/>
                <a:gd name="T52" fmla="*/ 168 w 535"/>
                <a:gd name="T53" fmla="*/ 213 h 586"/>
                <a:gd name="T54" fmla="*/ 178 w 535"/>
                <a:gd name="T55" fmla="*/ 205 h 586"/>
                <a:gd name="T56" fmla="*/ 189 w 535"/>
                <a:gd name="T57" fmla="*/ 184 h 586"/>
                <a:gd name="T58" fmla="*/ 169 w 535"/>
                <a:gd name="T59" fmla="*/ 95 h 586"/>
                <a:gd name="T60" fmla="*/ 155 w 535"/>
                <a:gd name="T61" fmla="*/ 55 h 586"/>
                <a:gd name="T62" fmla="*/ 143 w 535"/>
                <a:gd name="T63" fmla="*/ 36 h 586"/>
                <a:gd name="T64" fmla="*/ 131 w 535"/>
                <a:gd name="T65" fmla="*/ 15 h 586"/>
                <a:gd name="T66" fmla="*/ 148 w 535"/>
                <a:gd name="T67" fmla="*/ 10 h 586"/>
                <a:gd name="T68" fmla="*/ 166 w 535"/>
                <a:gd name="T69" fmla="*/ 11 h 586"/>
                <a:gd name="T70" fmla="*/ 223 w 535"/>
                <a:gd name="T71" fmla="*/ 11 h 586"/>
                <a:gd name="T72" fmla="*/ 260 w 535"/>
                <a:gd name="T73" fmla="*/ 0 h 586"/>
                <a:gd name="T74" fmla="*/ 291 w 535"/>
                <a:gd name="T75" fmla="*/ 3 h 586"/>
                <a:gd name="T76" fmla="*/ 304 w 535"/>
                <a:gd name="T77" fmla="*/ 13 h 586"/>
                <a:gd name="T78" fmla="*/ 303 w 535"/>
                <a:gd name="T79" fmla="*/ 24 h 586"/>
                <a:gd name="T80" fmla="*/ 313 w 535"/>
                <a:gd name="T81" fmla="*/ 37 h 586"/>
                <a:gd name="T82" fmla="*/ 317 w 535"/>
                <a:gd name="T83" fmla="*/ 48 h 586"/>
                <a:gd name="T84" fmla="*/ 313 w 535"/>
                <a:gd name="T85" fmla="*/ 72 h 586"/>
                <a:gd name="T86" fmla="*/ 303 w 535"/>
                <a:gd name="T87" fmla="*/ 89 h 586"/>
                <a:gd name="T88" fmla="*/ 301 w 535"/>
                <a:gd name="T89" fmla="*/ 102 h 586"/>
                <a:gd name="T90" fmla="*/ 309 w 535"/>
                <a:gd name="T91" fmla="*/ 115 h 586"/>
                <a:gd name="T92" fmla="*/ 332 w 535"/>
                <a:gd name="T93" fmla="*/ 12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5" h="586">
                  <a:moveTo>
                    <a:pt x="332" y="124"/>
                  </a:moveTo>
                  <a:lnTo>
                    <a:pt x="339" y="153"/>
                  </a:lnTo>
                  <a:lnTo>
                    <a:pt x="358" y="185"/>
                  </a:lnTo>
                  <a:lnTo>
                    <a:pt x="393" y="205"/>
                  </a:lnTo>
                  <a:lnTo>
                    <a:pt x="445" y="218"/>
                  </a:lnTo>
                  <a:lnTo>
                    <a:pt x="485" y="242"/>
                  </a:lnTo>
                  <a:lnTo>
                    <a:pt x="509" y="265"/>
                  </a:lnTo>
                  <a:lnTo>
                    <a:pt x="535" y="305"/>
                  </a:lnTo>
                  <a:lnTo>
                    <a:pt x="534" y="363"/>
                  </a:lnTo>
                  <a:lnTo>
                    <a:pt x="523" y="432"/>
                  </a:lnTo>
                  <a:lnTo>
                    <a:pt x="493" y="477"/>
                  </a:lnTo>
                  <a:lnTo>
                    <a:pt x="460" y="496"/>
                  </a:lnTo>
                  <a:lnTo>
                    <a:pt x="403" y="510"/>
                  </a:lnTo>
                  <a:lnTo>
                    <a:pt x="363" y="540"/>
                  </a:lnTo>
                  <a:lnTo>
                    <a:pt x="315" y="586"/>
                  </a:lnTo>
                  <a:lnTo>
                    <a:pt x="293" y="561"/>
                  </a:lnTo>
                  <a:lnTo>
                    <a:pt x="238" y="510"/>
                  </a:lnTo>
                  <a:lnTo>
                    <a:pt x="217" y="502"/>
                  </a:lnTo>
                  <a:lnTo>
                    <a:pt x="197" y="493"/>
                  </a:lnTo>
                  <a:lnTo>
                    <a:pt x="175" y="493"/>
                  </a:lnTo>
                  <a:lnTo>
                    <a:pt x="141" y="482"/>
                  </a:lnTo>
                  <a:lnTo>
                    <a:pt x="128" y="476"/>
                  </a:lnTo>
                  <a:lnTo>
                    <a:pt x="100" y="451"/>
                  </a:lnTo>
                  <a:lnTo>
                    <a:pt x="85" y="446"/>
                  </a:lnTo>
                  <a:lnTo>
                    <a:pt x="75" y="446"/>
                  </a:lnTo>
                  <a:lnTo>
                    <a:pt x="67" y="445"/>
                  </a:lnTo>
                  <a:lnTo>
                    <a:pt x="62" y="438"/>
                  </a:lnTo>
                  <a:lnTo>
                    <a:pt x="57" y="415"/>
                  </a:lnTo>
                  <a:lnTo>
                    <a:pt x="52" y="406"/>
                  </a:lnTo>
                  <a:lnTo>
                    <a:pt x="41" y="390"/>
                  </a:lnTo>
                  <a:lnTo>
                    <a:pt x="32" y="381"/>
                  </a:lnTo>
                  <a:lnTo>
                    <a:pt x="7" y="360"/>
                  </a:lnTo>
                  <a:lnTo>
                    <a:pt x="4" y="356"/>
                  </a:lnTo>
                  <a:lnTo>
                    <a:pt x="1" y="349"/>
                  </a:lnTo>
                  <a:lnTo>
                    <a:pt x="0" y="343"/>
                  </a:lnTo>
                  <a:lnTo>
                    <a:pt x="3" y="340"/>
                  </a:lnTo>
                  <a:lnTo>
                    <a:pt x="7" y="341"/>
                  </a:lnTo>
                  <a:lnTo>
                    <a:pt x="11" y="344"/>
                  </a:lnTo>
                  <a:lnTo>
                    <a:pt x="12" y="347"/>
                  </a:lnTo>
                  <a:lnTo>
                    <a:pt x="14" y="349"/>
                  </a:lnTo>
                  <a:lnTo>
                    <a:pt x="31" y="353"/>
                  </a:lnTo>
                  <a:lnTo>
                    <a:pt x="39" y="354"/>
                  </a:lnTo>
                  <a:lnTo>
                    <a:pt x="42" y="356"/>
                  </a:lnTo>
                  <a:lnTo>
                    <a:pt x="46" y="367"/>
                  </a:lnTo>
                  <a:lnTo>
                    <a:pt x="55" y="376"/>
                  </a:lnTo>
                  <a:lnTo>
                    <a:pt x="71" y="375"/>
                  </a:lnTo>
                  <a:lnTo>
                    <a:pt x="95" y="367"/>
                  </a:lnTo>
                  <a:lnTo>
                    <a:pt x="130" y="340"/>
                  </a:lnTo>
                  <a:lnTo>
                    <a:pt x="156" y="327"/>
                  </a:lnTo>
                  <a:lnTo>
                    <a:pt x="180" y="299"/>
                  </a:lnTo>
                  <a:lnTo>
                    <a:pt x="184" y="260"/>
                  </a:lnTo>
                  <a:lnTo>
                    <a:pt x="175" y="240"/>
                  </a:lnTo>
                  <a:lnTo>
                    <a:pt x="170" y="219"/>
                  </a:lnTo>
                  <a:lnTo>
                    <a:pt x="168" y="213"/>
                  </a:lnTo>
                  <a:lnTo>
                    <a:pt x="171" y="206"/>
                  </a:lnTo>
                  <a:lnTo>
                    <a:pt x="178" y="205"/>
                  </a:lnTo>
                  <a:lnTo>
                    <a:pt x="187" y="200"/>
                  </a:lnTo>
                  <a:lnTo>
                    <a:pt x="189" y="184"/>
                  </a:lnTo>
                  <a:lnTo>
                    <a:pt x="187" y="166"/>
                  </a:lnTo>
                  <a:lnTo>
                    <a:pt x="169" y="95"/>
                  </a:lnTo>
                  <a:lnTo>
                    <a:pt x="159" y="67"/>
                  </a:lnTo>
                  <a:lnTo>
                    <a:pt x="155" y="55"/>
                  </a:lnTo>
                  <a:lnTo>
                    <a:pt x="148" y="45"/>
                  </a:lnTo>
                  <a:lnTo>
                    <a:pt x="143" y="36"/>
                  </a:lnTo>
                  <a:lnTo>
                    <a:pt x="134" y="2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48" y="10"/>
                  </a:lnTo>
                  <a:lnTo>
                    <a:pt x="161" y="12"/>
                  </a:lnTo>
                  <a:lnTo>
                    <a:pt x="166" y="11"/>
                  </a:lnTo>
                  <a:lnTo>
                    <a:pt x="175" y="8"/>
                  </a:lnTo>
                  <a:lnTo>
                    <a:pt x="223" y="11"/>
                  </a:lnTo>
                  <a:lnTo>
                    <a:pt x="236" y="8"/>
                  </a:lnTo>
                  <a:lnTo>
                    <a:pt x="260" y="0"/>
                  </a:lnTo>
                  <a:lnTo>
                    <a:pt x="272" y="0"/>
                  </a:lnTo>
                  <a:lnTo>
                    <a:pt x="291" y="3"/>
                  </a:lnTo>
                  <a:lnTo>
                    <a:pt x="301" y="8"/>
                  </a:lnTo>
                  <a:lnTo>
                    <a:pt x="304" y="13"/>
                  </a:lnTo>
                  <a:lnTo>
                    <a:pt x="303" y="20"/>
                  </a:lnTo>
                  <a:lnTo>
                    <a:pt x="303" y="24"/>
                  </a:lnTo>
                  <a:lnTo>
                    <a:pt x="304" y="29"/>
                  </a:lnTo>
                  <a:lnTo>
                    <a:pt x="313" y="37"/>
                  </a:lnTo>
                  <a:lnTo>
                    <a:pt x="316" y="42"/>
                  </a:lnTo>
                  <a:lnTo>
                    <a:pt x="317" y="48"/>
                  </a:lnTo>
                  <a:lnTo>
                    <a:pt x="314" y="68"/>
                  </a:lnTo>
                  <a:lnTo>
                    <a:pt x="313" y="72"/>
                  </a:lnTo>
                  <a:lnTo>
                    <a:pt x="305" y="84"/>
                  </a:lnTo>
                  <a:lnTo>
                    <a:pt x="303" y="89"/>
                  </a:lnTo>
                  <a:lnTo>
                    <a:pt x="301" y="96"/>
                  </a:lnTo>
                  <a:lnTo>
                    <a:pt x="301" y="102"/>
                  </a:lnTo>
                  <a:lnTo>
                    <a:pt x="302" y="108"/>
                  </a:lnTo>
                  <a:lnTo>
                    <a:pt x="309" y="115"/>
                  </a:lnTo>
                  <a:lnTo>
                    <a:pt x="318" y="121"/>
                  </a:lnTo>
                  <a:lnTo>
                    <a:pt x="332" y="12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1D5A2CC0-DE93-7710-7846-1C814CCF2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2927" y="1616853"/>
              <a:ext cx="848708" cy="731036"/>
            </a:xfrm>
            <a:custGeom>
              <a:avLst/>
              <a:gdLst>
                <a:gd name="T0" fmla="*/ 479 w 577"/>
                <a:gd name="T1" fmla="*/ 102 h 497"/>
                <a:gd name="T2" fmla="*/ 565 w 577"/>
                <a:gd name="T3" fmla="*/ 222 h 497"/>
                <a:gd name="T4" fmla="*/ 455 w 577"/>
                <a:gd name="T5" fmla="*/ 263 h 497"/>
                <a:gd name="T6" fmla="*/ 449 w 577"/>
                <a:gd name="T7" fmla="*/ 270 h 497"/>
                <a:gd name="T8" fmla="*/ 435 w 577"/>
                <a:gd name="T9" fmla="*/ 276 h 497"/>
                <a:gd name="T10" fmla="*/ 428 w 577"/>
                <a:gd name="T11" fmla="*/ 291 h 497"/>
                <a:gd name="T12" fmla="*/ 422 w 577"/>
                <a:gd name="T13" fmla="*/ 301 h 497"/>
                <a:gd name="T14" fmla="*/ 404 w 577"/>
                <a:gd name="T15" fmla="*/ 311 h 497"/>
                <a:gd name="T16" fmla="*/ 388 w 577"/>
                <a:gd name="T17" fmla="*/ 345 h 497"/>
                <a:gd name="T18" fmla="*/ 386 w 577"/>
                <a:gd name="T19" fmla="*/ 355 h 497"/>
                <a:gd name="T20" fmla="*/ 406 w 577"/>
                <a:gd name="T21" fmla="*/ 367 h 497"/>
                <a:gd name="T22" fmla="*/ 413 w 577"/>
                <a:gd name="T23" fmla="*/ 383 h 497"/>
                <a:gd name="T24" fmla="*/ 406 w 577"/>
                <a:gd name="T25" fmla="*/ 391 h 497"/>
                <a:gd name="T26" fmla="*/ 390 w 577"/>
                <a:gd name="T27" fmla="*/ 399 h 497"/>
                <a:gd name="T28" fmla="*/ 382 w 577"/>
                <a:gd name="T29" fmla="*/ 419 h 497"/>
                <a:gd name="T30" fmla="*/ 365 w 577"/>
                <a:gd name="T31" fmla="*/ 420 h 497"/>
                <a:gd name="T32" fmla="*/ 348 w 577"/>
                <a:gd name="T33" fmla="*/ 400 h 497"/>
                <a:gd name="T34" fmla="*/ 319 w 577"/>
                <a:gd name="T35" fmla="*/ 403 h 497"/>
                <a:gd name="T36" fmla="*/ 244 w 577"/>
                <a:gd name="T37" fmla="*/ 465 h 497"/>
                <a:gd name="T38" fmla="*/ 219 w 577"/>
                <a:gd name="T39" fmla="*/ 489 h 497"/>
                <a:gd name="T40" fmla="*/ 195 w 577"/>
                <a:gd name="T41" fmla="*/ 497 h 497"/>
                <a:gd name="T42" fmla="*/ 172 w 577"/>
                <a:gd name="T43" fmla="*/ 487 h 497"/>
                <a:gd name="T44" fmla="*/ 165 w 577"/>
                <a:gd name="T45" fmla="*/ 470 h 497"/>
                <a:gd name="T46" fmla="*/ 175 w 577"/>
                <a:gd name="T47" fmla="*/ 447 h 497"/>
                <a:gd name="T48" fmla="*/ 167 w 577"/>
                <a:gd name="T49" fmla="*/ 417 h 497"/>
                <a:gd name="T50" fmla="*/ 178 w 577"/>
                <a:gd name="T51" fmla="*/ 402 h 497"/>
                <a:gd name="T52" fmla="*/ 120 w 577"/>
                <a:gd name="T53" fmla="*/ 397 h 497"/>
                <a:gd name="T54" fmla="*/ 97 w 577"/>
                <a:gd name="T55" fmla="*/ 380 h 497"/>
                <a:gd name="T56" fmla="*/ 107 w 577"/>
                <a:gd name="T57" fmla="*/ 340 h 497"/>
                <a:gd name="T58" fmla="*/ 135 w 577"/>
                <a:gd name="T59" fmla="*/ 287 h 497"/>
                <a:gd name="T60" fmla="*/ 128 w 577"/>
                <a:gd name="T61" fmla="*/ 150 h 497"/>
                <a:gd name="T62" fmla="*/ 107 w 577"/>
                <a:gd name="T63" fmla="*/ 149 h 497"/>
                <a:gd name="T64" fmla="*/ 74 w 577"/>
                <a:gd name="T65" fmla="*/ 139 h 497"/>
                <a:gd name="T66" fmla="*/ 35 w 577"/>
                <a:gd name="T67" fmla="*/ 97 h 497"/>
                <a:gd name="T68" fmla="*/ 17 w 577"/>
                <a:gd name="T69" fmla="*/ 84 h 497"/>
                <a:gd name="T70" fmla="*/ 3 w 577"/>
                <a:gd name="T71" fmla="*/ 71 h 497"/>
                <a:gd name="T72" fmla="*/ 3 w 577"/>
                <a:gd name="T73" fmla="*/ 45 h 497"/>
                <a:gd name="T74" fmla="*/ 36 w 577"/>
                <a:gd name="T75" fmla="*/ 43 h 497"/>
                <a:gd name="T76" fmla="*/ 103 w 577"/>
                <a:gd name="T77" fmla="*/ 56 h 497"/>
                <a:gd name="T78" fmla="*/ 116 w 577"/>
                <a:gd name="T79" fmla="*/ 63 h 497"/>
                <a:gd name="T80" fmla="*/ 124 w 577"/>
                <a:gd name="T81" fmla="*/ 57 h 497"/>
                <a:gd name="T82" fmla="*/ 121 w 577"/>
                <a:gd name="T83" fmla="*/ 49 h 497"/>
                <a:gd name="T84" fmla="*/ 115 w 577"/>
                <a:gd name="T85" fmla="*/ 49 h 497"/>
                <a:gd name="T86" fmla="*/ 104 w 577"/>
                <a:gd name="T87" fmla="*/ 34 h 497"/>
                <a:gd name="T88" fmla="*/ 123 w 577"/>
                <a:gd name="T89" fmla="*/ 23 h 497"/>
                <a:gd name="T90" fmla="*/ 160 w 577"/>
                <a:gd name="T91" fmla="*/ 6 h 497"/>
                <a:gd name="T92" fmla="*/ 335 w 577"/>
                <a:gd name="T93" fmla="*/ 3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7" h="497">
                  <a:moveTo>
                    <a:pt x="339" y="85"/>
                  </a:moveTo>
                  <a:lnTo>
                    <a:pt x="459" y="81"/>
                  </a:lnTo>
                  <a:lnTo>
                    <a:pt x="479" y="102"/>
                  </a:lnTo>
                  <a:lnTo>
                    <a:pt x="543" y="136"/>
                  </a:lnTo>
                  <a:lnTo>
                    <a:pt x="577" y="174"/>
                  </a:lnTo>
                  <a:lnTo>
                    <a:pt x="565" y="222"/>
                  </a:lnTo>
                  <a:lnTo>
                    <a:pt x="479" y="229"/>
                  </a:lnTo>
                  <a:lnTo>
                    <a:pt x="460" y="262"/>
                  </a:lnTo>
                  <a:lnTo>
                    <a:pt x="455" y="263"/>
                  </a:lnTo>
                  <a:lnTo>
                    <a:pt x="453" y="265"/>
                  </a:lnTo>
                  <a:lnTo>
                    <a:pt x="451" y="267"/>
                  </a:lnTo>
                  <a:lnTo>
                    <a:pt x="449" y="270"/>
                  </a:lnTo>
                  <a:lnTo>
                    <a:pt x="441" y="272"/>
                  </a:lnTo>
                  <a:lnTo>
                    <a:pt x="438" y="273"/>
                  </a:lnTo>
                  <a:lnTo>
                    <a:pt x="435" y="276"/>
                  </a:lnTo>
                  <a:lnTo>
                    <a:pt x="432" y="280"/>
                  </a:lnTo>
                  <a:lnTo>
                    <a:pt x="429" y="286"/>
                  </a:lnTo>
                  <a:lnTo>
                    <a:pt x="428" y="291"/>
                  </a:lnTo>
                  <a:lnTo>
                    <a:pt x="427" y="295"/>
                  </a:lnTo>
                  <a:lnTo>
                    <a:pt x="425" y="299"/>
                  </a:lnTo>
                  <a:lnTo>
                    <a:pt x="422" y="301"/>
                  </a:lnTo>
                  <a:lnTo>
                    <a:pt x="411" y="306"/>
                  </a:lnTo>
                  <a:lnTo>
                    <a:pt x="408" y="307"/>
                  </a:lnTo>
                  <a:lnTo>
                    <a:pt x="404" y="311"/>
                  </a:lnTo>
                  <a:lnTo>
                    <a:pt x="402" y="315"/>
                  </a:lnTo>
                  <a:lnTo>
                    <a:pt x="394" y="334"/>
                  </a:lnTo>
                  <a:lnTo>
                    <a:pt x="388" y="345"/>
                  </a:lnTo>
                  <a:lnTo>
                    <a:pt x="385" y="348"/>
                  </a:lnTo>
                  <a:lnTo>
                    <a:pt x="384" y="352"/>
                  </a:lnTo>
                  <a:lnTo>
                    <a:pt x="386" y="355"/>
                  </a:lnTo>
                  <a:lnTo>
                    <a:pt x="389" y="358"/>
                  </a:lnTo>
                  <a:lnTo>
                    <a:pt x="401" y="363"/>
                  </a:lnTo>
                  <a:lnTo>
                    <a:pt x="406" y="367"/>
                  </a:lnTo>
                  <a:lnTo>
                    <a:pt x="409" y="372"/>
                  </a:lnTo>
                  <a:lnTo>
                    <a:pt x="411" y="378"/>
                  </a:lnTo>
                  <a:lnTo>
                    <a:pt x="413" y="383"/>
                  </a:lnTo>
                  <a:lnTo>
                    <a:pt x="413" y="386"/>
                  </a:lnTo>
                  <a:lnTo>
                    <a:pt x="410" y="389"/>
                  </a:lnTo>
                  <a:lnTo>
                    <a:pt x="406" y="391"/>
                  </a:lnTo>
                  <a:lnTo>
                    <a:pt x="398" y="394"/>
                  </a:lnTo>
                  <a:lnTo>
                    <a:pt x="394" y="396"/>
                  </a:lnTo>
                  <a:lnTo>
                    <a:pt x="390" y="399"/>
                  </a:lnTo>
                  <a:lnTo>
                    <a:pt x="388" y="409"/>
                  </a:lnTo>
                  <a:lnTo>
                    <a:pt x="386" y="415"/>
                  </a:lnTo>
                  <a:lnTo>
                    <a:pt x="382" y="419"/>
                  </a:lnTo>
                  <a:lnTo>
                    <a:pt x="375" y="422"/>
                  </a:lnTo>
                  <a:lnTo>
                    <a:pt x="370" y="422"/>
                  </a:lnTo>
                  <a:lnTo>
                    <a:pt x="365" y="420"/>
                  </a:lnTo>
                  <a:lnTo>
                    <a:pt x="361" y="418"/>
                  </a:lnTo>
                  <a:lnTo>
                    <a:pt x="359" y="416"/>
                  </a:lnTo>
                  <a:lnTo>
                    <a:pt x="348" y="400"/>
                  </a:lnTo>
                  <a:lnTo>
                    <a:pt x="336" y="396"/>
                  </a:lnTo>
                  <a:lnTo>
                    <a:pt x="330" y="396"/>
                  </a:lnTo>
                  <a:lnTo>
                    <a:pt x="319" y="403"/>
                  </a:lnTo>
                  <a:lnTo>
                    <a:pt x="269" y="451"/>
                  </a:lnTo>
                  <a:lnTo>
                    <a:pt x="261" y="457"/>
                  </a:lnTo>
                  <a:lnTo>
                    <a:pt x="244" y="465"/>
                  </a:lnTo>
                  <a:lnTo>
                    <a:pt x="235" y="472"/>
                  </a:lnTo>
                  <a:lnTo>
                    <a:pt x="227" y="481"/>
                  </a:lnTo>
                  <a:lnTo>
                    <a:pt x="219" y="489"/>
                  </a:lnTo>
                  <a:lnTo>
                    <a:pt x="213" y="494"/>
                  </a:lnTo>
                  <a:lnTo>
                    <a:pt x="204" y="496"/>
                  </a:lnTo>
                  <a:lnTo>
                    <a:pt x="195" y="497"/>
                  </a:lnTo>
                  <a:lnTo>
                    <a:pt x="187" y="495"/>
                  </a:lnTo>
                  <a:lnTo>
                    <a:pt x="178" y="491"/>
                  </a:lnTo>
                  <a:lnTo>
                    <a:pt x="172" y="487"/>
                  </a:lnTo>
                  <a:lnTo>
                    <a:pt x="168" y="482"/>
                  </a:lnTo>
                  <a:lnTo>
                    <a:pt x="167" y="476"/>
                  </a:lnTo>
                  <a:lnTo>
                    <a:pt x="165" y="470"/>
                  </a:lnTo>
                  <a:lnTo>
                    <a:pt x="167" y="463"/>
                  </a:lnTo>
                  <a:lnTo>
                    <a:pt x="172" y="455"/>
                  </a:lnTo>
                  <a:lnTo>
                    <a:pt x="175" y="447"/>
                  </a:lnTo>
                  <a:lnTo>
                    <a:pt x="173" y="437"/>
                  </a:lnTo>
                  <a:lnTo>
                    <a:pt x="169" y="426"/>
                  </a:lnTo>
                  <a:lnTo>
                    <a:pt x="167" y="417"/>
                  </a:lnTo>
                  <a:lnTo>
                    <a:pt x="170" y="410"/>
                  </a:lnTo>
                  <a:lnTo>
                    <a:pt x="175" y="406"/>
                  </a:lnTo>
                  <a:lnTo>
                    <a:pt x="178" y="402"/>
                  </a:lnTo>
                  <a:lnTo>
                    <a:pt x="172" y="398"/>
                  </a:lnTo>
                  <a:lnTo>
                    <a:pt x="156" y="396"/>
                  </a:lnTo>
                  <a:lnTo>
                    <a:pt x="120" y="397"/>
                  </a:lnTo>
                  <a:lnTo>
                    <a:pt x="105" y="395"/>
                  </a:lnTo>
                  <a:lnTo>
                    <a:pt x="85" y="395"/>
                  </a:lnTo>
                  <a:lnTo>
                    <a:pt x="97" y="380"/>
                  </a:lnTo>
                  <a:lnTo>
                    <a:pt x="104" y="360"/>
                  </a:lnTo>
                  <a:lnTo>
                    <a:pt x="105" y="355"/>
                  </a:lnTo>
                  <a:lnTo>
                    <a:pt x="107" y="340"/>
                  </a:lnTo>
                  <a:lnTo>
                    <a:pt x="128" y="307"/>
                  </a:lnTo>
                  <a:lnTo>
                    <a:pt x="133" y="298"/>
                  </a:lnTo>
                  <a:lnTo>
                    <a:pt x="135" y="287"/>
                  </a:lnTo>
                  <a:lnTo>
                    <a:pt x="130" y="168"/>
                  </a:lnTo>
                  <a:lnTo>
                    <a:pt x="131" y="157"/>
                  </a:lnTo>
                  <a:lnTo>
                    <a:pt x="128" y="150"/>
                  </a:lnTo>
                  <a:lnTo>
                    <a:pt x="122" y="148"/>
                  </a:lnTo>
                  <a:lnTo>
                    <a:pt x="117" y="148"/>
                  </a:lnTo>
                  <a:lnTo>
                    <a:pt x="107" y="149"/>
                  </a:lnTo>
                  <a:lnTo>
                    <a:pt x="102" y="148"/>
                  </a:lnTo>
                  <a:lnTo>
                    <a:pt x="78" y="141"/>
                  </a:lnTo>
                  <a:lnTo>
                    <a:pt x="74" y="139"/>
                  </a:lnTo>
                  <a:lnTo>
                    <a:pt x="57" y="123"/>
                  </a:lnTo>
                  <a:lnTo>
                    <a:pt x="39" y="101"/>
                  </a:lnTo>
                  <a:lnTo>
                    <a:pt x="35" y="97"/>
                  </a:lnTo>
                  <a:lnTo>
                    <a:pt x="26" y="92"/>
                  </a:lnTo>
                  <a:lnTo>
                    <a:pt x="21" y="86"/>
                  </a:lnTo>
                  <a:lnTo>
                    <a:pt x="17" y="84"/>
                  </a:lnTo>
                  <a:lnTo>
                    <a:pt x="12" y="83"/>
                  </a:lnTo>
                  <a:lnTo>
                    <a:pt x="6" y="79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" y="50"/>
                  </a:lnTo>
                  <a:lnTo>
                    <a:pt x="3" y="45"/>
                  </a:lnTo>
                  <a:lnTo>
                    <a:pt x="8" y="40"/>
                  </a:lnTo>
                  <a:lnTo>
                    <a:pt x="22" y="39"/>
                  </a:lnTo>
                  <a:lnTo>
                    <a:pt x="36" y="43"/>
                  </a:lnTo>
                  <a:lnTo>
                    <a:pt x="76" y="47"/>
                  </a:lnTo>
                  <a:lnTo>
                    <a:pt x="96" y="53"/>
                  </a:lnTo>
                  <a:lnTo>
                    <a:pt x="103" y="56"/>
                  </a:lnTo>
                  <a:lnTo>
                    <a:pt x="109" y="59"/>
                  </a:lnTo>
                  <a:lnTo>
                    <a:pt x="115" y="63"/>
                  </a:lnTo>
                  <a:lnTo>
                    <a:pt x="116" y="63"/>
                  </a:lnTo>
                  <a:lnTo>
                    <a:pt x="118" y="61"/>
                  </a:lnTo>
                  <a:lnTo>
                    <a:pt x="121" y="59"/>
                  </a:lnTo>
                  <a:lnTo>
                    <a:pt x="124" y="57"/>
                  </a:lnTo>
                  <a:lnTo>
                    <a:pt x="125" y="53"/>
                  </a:lnTo>
                  <a:lnTo>
                    <a:pt x="124" y="50"/>
                  </a:lnTo>
                  <a:lnTo>
                    <a:pt x="121" y="49"/>
                  </a:lnTo>
                  <a:lnTo>
                    <a:pt x="118" y="49"/>
                  </a:lnTo>
                  <a:lnTo>
                    <a:pt x="116" y="50"/>
                  </a:lnTo>
                  <a:lnTo>
                    <a:pt x="115" y="49"/>
                  </a:lnTo>
                  <a:lnTo>
                    <a:pt x="113" y="48"/>
                  </a:lnTo>
                  <a:lnTo>
                    <a:pt x="105" y="39"/>
                  </a:lnTo>
                  <a:lnTo>
                    <a:pt x="104" y="34"/>
                  </a:lnTo>
                  <a:lnTo>
                    <a:pt x="105" y="31"/>
                  </a:lnTo>
                  <a:lnTo>
                    <a:pt x="117" y="27"/>
                  </a:lnTo>
                  <a:lnTo>
                    <a:pt x="123" y="23"/>
                  </a:lnTo>
                  <a:lnTo>
                    <a:pt x="141" y="19"/>
                  </a:lnTo>
                  <a:lnTo>
                    <a:pt x="150" y="16"/>
                  </a:lnTo>
                  <a:lnTo>
                    <a:pt x="160" y="6"/>
                  </a:lnTo>
                  <a:lnTo>
                    <a:pt x="163" y="0"/>
                  </a:lnTo>
                  <a:lnTo>
                    <a:pt x="200" y="26"/>
                  </a:lnTo>
                  <a:lnTo>
                    <a:pt x="335" y="30"/>
                  </a:lnTo>
                  <a:lnTo>
                    <a:pt x="339" y="8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5841F9E5-C9C1-15D6-7268-D2FAEDD36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683" y="1346207"/>
              <a:ext cx="1507671" cy="988444"/>
            </a:xfrm>
            <a:custGeom>
              <a:avLst/>
              <a:gdLst>
                <a:gd name="T0" fmla="*/ 222 w 1025"/>
                <a:gd name="T1" fmla="*/ 20 h 672"/>
                <a:gd name="T2" fmla="*/ 254 w 1025"/>
                <a:gd name="T3" fmla="*/ 65 h 672"/>
                <a:gd name="T4" fmla="*/ 295 w 1025"/>
                <a:gd name="T5" fmla="*/ 71 h 672"/>
                <a:gd name="T6" fmla="*/ 408 w 1025"/>
                <a:gd name="T7" fmla="*/ 56 h 672"/>
                <a:gd name="T8" fmla="*/ 507 w 1025"/>
                <a:gd name="T9" fmla="*/ 67 h 672"/>
                <a:gd name="T10" fmla="*/ 600 w 1025"/>
                <a:gd name="T11" fmla="*/ 52 h 672"/>
                <a:gd name="T12" fmla="*/ 669 w 1025"/>
                <a:gd name="T13" fmla="*/ 62 h 672"/>
                <a:gd name="T14" fmla="*/ 668 w 1025"/>
                <a:gd name="T15" fmla="*/ 95 h 672"/>
                <a:gd name="T16" fmla="*/ 685 w 1025"/>
                <a:gd name="T17" fmla="*/ 90 h 672"/>
                <a:gd name="T18" fmla="*/ 720 w 1025"/>
                <a:gd name="T19" fmla="*/ 106 h 672"/>
                <a:gd name="T20" fmla="*/ 778 w 1025"/>
                <a:gd name="T21" fmla="*/ 124 h 672"/>
                <a:gd name="T22" fmla="*/ 852 w 1025"/>
                <a:gd name="T23" fmla="*/ 87 h 672"/>
                <a:gd name="T24" fmla="*/ 933 w 1025"/>
                <a:gd name="T25" fmla="*/ 135 h 672"/>
                <a:gd name="T26" fmla="*/ 935 w 1025"/>
                <a:gd name="T27" fmla="*/ 138 h 672"/>
                <a:gd name="T28" fmla="*/ 953 w 1025"/>
                <a:gd name="T29" fmla="*/ 145 h 672"/>
                <a:gd name="T30" fmla="*/ 976 w 1025"/>
                <a:gd name="T31" fmla="*/ 153 h 672"/>
                <a:gd name="T32" fmla="*/ 994 w 1025"/>
                <a:gd name="T33" fmla="*/ 159 h 672"/>
                <a:gd name="T34" fmla="*/ 1012 w 1025"/>
                <a:gd name="T35" fmla="*/ 177 h 672"/>
                <a:gd name="T36" fmla="*/ 1017 w 1025"/>
                <a:gd name="T37" fmla="*/ 190 h 672"/>
                <a:gd name="T38" fmla="*/ 961 w 1025"/>
                <a:gd name="T39" fmla="*/ 238 h 672"/>
                <a:gd name="T40" fmla="*/ 928 w 1025"/>
                <a:gd name="T41" fmla="*/ 275 h 672"/>
                <a:gd name="T42" fmla="*/ 915 w 1025"/>
                <a:gd name="T43" fmla="*/ 291 h 672"/>
                <a:gd name="T44" fmla="*/ 884 w 1025"/>
                <a:gd name="T45" fmla="*/ 302 h 672"/>
                <a:gd name="T46" fmla="*/ 871 w 1025"/>
                <a:gd name="T47" fmla="*/ 316 h 672"/>
                <a:gd name="T48" fmla="*/ 845 w 1025"/>
                <a:gd name="T49" fmla="*/ 338 h 672"/>
                <a:gd name="T50" fmla="*/ 823 w 1025"/>
                <a:gd name="T51" fmla="*/ 328 h 672"/>
                <a:gd name="T52" fmla="*/ 791 w 1025"/>
                <a:gd name="T53" fmla="*/ 341 h 672"/>
                <a:gd name="T54" fmla="*/ 783 w 1025"/>
                <a:gd name="T55" fmla="*/ 428 h 672"/>
                <a:gd name="T56" fmla="*/ 745 w 1025"/>
                <a:gd name="T57" fmla="*/ 492 h 672"/>
                <a:gd name="T58" fmla="*/ 742 w 1025"/>
                <a:gd name="T59" fmla="*/ 540 h 672"/>
                <a:gd name="T60" fmla="*/ 738 w 1025"/>
                <a:gd name="T61" fmla="*/ 570 h 672"/>
                <a:gd name="T62" fmla="*/ 705 w 1025"/>
                <a:gd name="T63" fmla="*/ 615 h 672"/>
                <a:gd name="T64" fmla="*/ 692 w 1025"/>
                <a:gd name="T65" fmla="*/ 657 h 672"/>
                <a:gd name="T66" fmla="*/ 648 w 1025"/>
                <a:gd name="T67" fmla="*/ 672 h 672"/>
                <a:gd name="T68" fmla="*/ 560 w 1025"/>
                <a:gd name="T69" fmla="*/ 618 h 672"/>
                <a:gd name="T70" fmla="*/ 518 w 1025"/>
                <a:gd name="T71" fmla="*/ 631 h 672"/>
                <a:gd name="T72" fmla="*/ 499 w 1025"/>
                <a:gd name="T73" fmla="*/ 620 h 672"/>
                <a:gd name="T74" fmla="*/ 474 w 1025"/>
                <a:gd name="T75" fmla="*/ 635 h 672"/>
                <a:gd name="T76" fmla="*/ 440 w 1025"/>
                <a:gd name="T77" fmla="*/ 654 h 672"/>
                <a:gd name="T78" fmla="*/ 427 w 1025"/>
                <a:gd name="T79" fmla="*/ 628 h 672"/>
                <a:gd name="T80" fmla="*/ 357 w 1025"/>
                <a:gd name="T81" fmla="*/ 560 h 672"/>
                <a:gd name="T82" fmla="*/ 341 w 1025"/>
                <a:gd name="T83" fmla="*/ 518 h 672"/>
                <a:gd name="T84" fmla="*/ 304 w 1025"/>
                <a:gd name="T85" fmla="*/ 454 h 672"/>
                <a:gd name="T86" fmla="*/ 402 w 1025"/>
                <a:gd name="T87" fmla="*/ 406 h 672"/>
                <a:gd name="T88" fmla="*/ 296 w 1025"/>
                <a:gd name="T89" fmla="*/ 265 h 672"/>
                <a:gd name="T90" fmla="*/ 0 w 1025"/>
                <a:gd name="T91" fmla="*/ 184 h 672"/>
                <a:gd name="T92" fmla="*/ 39 w 1025"/>
                <a:gd name="T93" fmla="*/ 102 h 672"/>
                <a:gd name="T94" fmla="*/ 33 w 1025"/>
                <a:gd name="T95" fmla="*/ 85 h 672"/>
                <a:gd name="T96" fmla="*/ 7 w 1025"/>
                <a:gd name="T97" fmla="*/ 59 h 672"/>
                <a:gd name="T98" fmla="*/ 41 w 1025"/>
                <a:gd name="T99" fmla="*/ 38 h 672"/>
                <a:gd name="T100" fmla="*/ 76 w 1025"/>
                <a:gd name="T101" fmla="*/ 16 h 672"/>
                <a:gd name="T102" fmla="*/ 129 w 1025"/>
                <a:gd name="T103" fmla="*/ 3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5" h="672">
                  <a:moveTo>
                    <a:pt x="129" y="3"/>
                  </a:moveTo>
                  <a:lnTo>
                    <a:pt x="146" y="2"/>
                  </a:lnTo>
                  <a:lnTo>
                    <a:pt x="217" y="17"/>
                  </a:lnTo>
                  <a:lnTo>
                    <a:pt x="222" y="20"/>
                  </a:lnTo>
                  <a:lnTo>
                    <a:pt x="226" y="22"/>
                  </a:lnTo>
                  <a:lnTo>
                    <a:pt x="236" y="35"/>
                  </a:lnTo>
                  <a:lnTo>
                    <a:pt x="248" y="61"/>
                  </a:lnTo>
                  <a:lnTo>
                    <a:pt x="254" y="65"/>
                  </a:lnTo>
                  <a:lnTo>
                    <a:pt x="264" y="70"/>
                  </a:lnTo>
                  <a:lnTo>
                    <a:pt x="276" y="73"/>
                  </a:lnTo>
                  <a:lnTo>
                    <a:pt x="286" y="73"/>
                  </a:lnTo>
                  <a:lnTo>
                    <a:pt x="295" y="71"/>
                  </a:lnTo>
                  <a:lnTo>
                    <a:pt x="309" y="69"/>
                  </a:lnTo>
                  <a:lnTo>
                    <a:pt x="335" y="60"/>
                  </a:lnTo>
                  <a:lnTo>
                    <a:pt x="392" y="55"/>
                  </a:lnTo>
                  <a:lnTo>
                    <a:pt x="408" y="56"/>
                  </a:lnTo>
                  <a:lnTo>
                    <a:pt x="477" y="70"/>
                  </a:lnTo>
                  <a:lnTo>
                    <a:pt x="491" y="71"/>
                  </a:lnTo>
                  <a:lnTo>
                    <a:pt x="499" y="69"/>
                  </a:lnTo>
                  <a:lnTo>
                    <a:pt x="507" y="67"/>
                  </a:lnTo>
                  <a:lnTo>
                    <a:pt x="542" y="62"/>
                  </a:lnTo>
                  <a:lnTo>
                    <a:pt x="556" y="58"/>
                  </a:lnTo>
                  <a:lnTo>
                    <a:pt x="565" y="59"/>
                  </a:lnTo>
                  <a:lnTo>
                    <a:pt x="600" y="52"/>
                  </a:lnTo>
                  <a:lnTo>
                    <a:pt x="636" y="50"/>
                  </a:lnTo>
                  <a:lnTo>
                    <a:pt x="654" y="52"/>
                  </a:lnTo>
                  <a:lnTo>
                    <a:pt x="665" y="57"/>
                  </a:lnTo>
                  <a:lnTo>
                    <a:pt x="669" y="62"/>
                  </a:lnTo>
                  <a:lnTo>
                    <a:pt x="672" y="69"/>
                  </a:lnTo>
                  <a:lnTo>
                    <a:pt x="673" y="76"/>
                  </a:lnTo>
                  <a:lnTo>
                    <a:pt x="672" y="83"/>
                  </a:lnTo>
                  <a:lnTo>
                    <a:pt x="668" y="95"/>
                  </a:lnTo>
                  <a:lnTo>
                    <a:pt x="667" y="99"/>
                  </a:lnTo>
                  <a:lnTo>
                    <a:pt x="668" y="103"/>
                  </a:lnTo>
                  <a:lnTo>
                    <a:pt x="673" y="101"/>
                  </a:lnTo>
                  <a:lnTo>
                    <a:pt x="685" y="90"/>
                  </a:lnTo>
                  <a:lnTo>
                    <a:pt x="692" y="87"/>
                  </a:lnTo>
                  <a:lnTo>
                    <a:pt x="699" y="88"/>
                  </a:lnTo>
                  <a:lnTo>
                    <a:pt x="706" y="94"/>
                  </a:lnTo>
                  <a:lnTo>
                    <a:pt x="720" y="106"/>
                  </a:lnTo>
                  <a:lnTo>
                    <a:pt x="731" y="113"/>
                  </a:lnTo>
                  <a:lnTo>
                    <a:pt x="743" y="120"/>
                  </a:lnTo>
                  <a:lnTo>
                    <a:pt x="761" y="125"/>
                  </a:lnTo>
                  <a:lnTo>
                    <a:pt x="778" y="124"/>
                  </a:lnTo>
                  <a:lnTo>
                    <a:pt x="796" y="121"/>
                  </a:lnTo>
                  <a:lnTo>
                    <a:pt x="825" y="107"/>
                  </a:lnTo>
                  <a:lnTo>
                    <a:pt x="837" y="99"/>
                  </a:lnTo>
                  <a:lnTo>
                    <a:pt x="852" y="87"/>
                  </a:lnTo>
                  <a:lnTo>
                    <a:pt x="861" y="82"/>
                  </a:lnTo>
                  <a:lnTo>
                    <a:pt x="873" y="83"/>
                  </a:lnTo>
                  <a:lnTo>
                    <a:pt x="950" y="107"/>
                  </a:lnTo>
                  <a:lnTo>
                    <a:pt x="933" y="135"/>
                  </a:lnTo>
                  <a:lnTo>
                    <a:pt x="933" y="135"/>
                  </a:lnTo>
                  <a:lnTo>
                    <a:pt x="933" y="136"/>
                  </a:lnTo>
                  <a:lnTo>
                    <a:pt x="933" y="137"/>
                  </a:lnTo>
                  <a:lnTo>
                    <a:pt x="935" y="138"/>
                  </a:lnTo>
                  <a:lnTo>
                    <a:pt x="937" y="139"/>
                  </a:lnTo>
                  <a:lnTo>
                    <a:pt x="945" y="141"/>
                  </a:lnTo>
                  <a:lnTo>
                    <a:pt x="952" y="145"/>
                  </a:lnTo>
                  <a:lnTo>
                    <a:pt x="953" y="145"/>
                  </a:lnTo>
                  <a:lnTo>
                    <a:pt x="954" y="145"/>
                  </a:lnTo>
                  <a:lnTo>
                    <a:pt x="958" y="145"/>
                  </a:lnTo>
                  <a:lnTo>
                    <a:pt x="959" y="145"/>
                  </a:lnTo>
                  <a:lnTo>
                    <a:pt x="976" y="153"/>
                  </a:lnTo>
                  <a:lnTo>
                    <a:pt x="986" y="156"/>
                  </a:lnTo>
                  <a:lnTo>
                    <a:pt x="989" y="158"/>
                  </a:lnTo>
                  <a:lnTo>
                    <a:pt x="991" y="158"/>
                  </a:lnTo>
                  <a:lnTo>
                    <a:pt x="994" y="159"/>
                  </a:lnTo>
                  <a:lnTo>
                    <a:pt x="1004" y="165"/>
                  </a:lnTo>
                  <a:lnTo>
                    <a:pt x="1007" y="168"/>
                  </a:lnTo>
                  <a:lnTo>
                    <a:pt x="1010" y="172"/>
                  </a:lnTo>
                  <a:lnTo>
                    <a:pt x="1012" y="177"/>
                  </a:lnTo>
                  <a:lnTo>
                    <a:pt x="1013" y="185"/>
                  </a:lnTo>
                  <a:lnTo>
                    <a:pt x="1013" y="187"/>
                  </a:lnTo>
                  <a:lnTo>
                    <a:pt x="1014" y="188"/>
                  </a:lnTo>
                  <a:lnTo>
                    <a:pt x="1017" y="190"/>
                  </a:lnTo>
                  <a:lnTo>
                    <a:pt x="1025" y="193"/>
                  </a:lnTo>
                  <a:lnTo>
                    <a:pt x="1017" y="208"/>
                  </a:lnTo>
                  <a:lnTo>
                    <a:pt x="1008" y="214"/>
                  </a:lnTo>
                  <a:lnTo>
                    <a:pt x="961" y="238"/>
                  </a:lnTo>
                  <a:lnTo>
                    <a:pt x="937" y="246"/>
                  </a:lnTo>
                  <a:lnTo>
                    <a:pt x="933" y="251"/>
                  </a:lnTo>
                  <a:lnTo>
                    <a:pt x="929" y="257"/>
                  </a:lnTo>
                  <a:lnTo>
                    <a:pt x="928" y="275"/>
                  </a:lnTo>
                  <a:lnTo>
                    <a:pt x="926" y="282"/>
                  </a:lnTo>
                  <a:lnTo>
                    <a:pt x="923" y="285"/>
                  </a:lnTo>
                  <a:lnTo>
                    <a:pt x="919" y="286"/>
                  </a:lnTo>
                  <a:lnTo>
                    <a:pt x="915" y="291"/>
                  </a:lnTo>
                  <a:lnTo>
                    <a:pt x="908" y="303"/>
                  </a:lnTo>
                  <a:lnTo>
                    <a:pt x="904" y="306"/>
                  </a:lnTo>
                  <a:lnTo>
                    <a:pt x="898" y="306"/>
                  </a:lnTo>
                  <a:lnTo>
                    <a:pt x="884" y="302"/>
                  </a:lnTo>
                  <a:lnTo>
                    <a:pt x="877" y="302"/>
                  </a:lnTo>
                  <a:lnTo>
                    <a:pt x="875" y="304"/>
                  </a:lnTo>
                  <a:lnTo>
                    <a:pt x="873" y="308"/>
                  </a:lnTo>
                  <a:lnTo>
                    <a:pt x="871" y="316"/>
                  </a:lnTo>
                  <a:lnTo>
                    <a:pt x="863" y="329"/>
                  </a:lnTo>
                  <a:lnTo>
                    <a:pt x="858" y="334"/>
                  </a:lnTo>
                  <a:lnTo>
                    <a:pt x="849" y="337"/>
                  </a:lnTo>
                  <a:lnTo>
                    <a:pt x="845" y="338"/>
                  </a:lnTo>
                  <a:lnTo>
                    <a:pt x="841" y="336"/>
                  </a:lnTo>
                  <a:lnTo>
                    <a:pt x="833" y="330"/>
                  </a:lnTo>
                  <a:lnTo>
                    <a:pt x="829" y="328"/>
                  </a:lnTo>
                  <a:lnTo>
                    <a:pt x="823" y="328"/>
                  </a:lnTo>
                  <a:lnTo>
                    <a:pt x="807" y="333"/>
                  </a:lnTo>
                  <a:lnTo>
                    <a:pt x="802" y="334"/>
                  </a:lnTo>
                  <a:lnTo>
                    <a:pt x="794" y="335"/>
                  </a:lnTo>
                  <a:lnTo>
                    <a:pt x="791" y="341"/>
                  </a:lnTo>
                  <a:lnTo>
                    <a:pt x="789" y="345"/>
                  </a:lnTo>
                  <a:lnTo>
                    <a:pt x="790" y="353"/>
                  </a:lnTo>
                  <a:lnTo>
                    <a:pt x="787" y="413"/>
                  </a:lnTo>
                  <a:lnTo>
                    <a:pt x="783" y="428"/>
                  </a:lnTo>
                  <a:lnTo>
                    <a:pt x="774" y="445"/>
                  </a:lnTo>
                  <a:lnTo>
                    <a:pt x="756" y="470"/>
                  </a:lnTo>
                  <a:lnTo>
                    <a:pt x="748" y="483"/>
                  </a:lnTo>
                  <a:lnTo>
                    <a:pt x="745" y="492"/>
                  </a:lnTo>
                  <a:lnTo>
                    <a:pt x="755" y="511"/>
                  </a:lnTo>
                  <a:lnTo>
                    <a:pt x="754" y="517"/>
                  </a:lnTo>
                  <a:lnTo>
                    <a:pt x="751" y="526"/>
                  </a:lnTo>
                  <a:lnTo>
                    <a:pt x="742" y="540"/>
                  </a:lnTo>
                  <a:lnTo>
                    <a:pt x="740" y="548"/>
                  </a:lnTo>
                  <a:lnTo>
                    <a:pt x="738" y="554"/>
                  </a:lnTo>
                  <a:lnTo>
                    <a:pt x="739" y="562"/>
                  </a:lnTo>
                  <a:lnTo>
                    <a:pt x="738" y="570"/>
                  </a:lnTo>
                  <a:lnTo>
                    <a:pt x="731" y="583"/>
                  </a:lnTo>
                  <a:lnTo>
                    <a:pt x="724" y="594"/>
                  </a:lnTo>
                  <a:lnTo>
                    <a:pt x="712" y="606"/>
                  </a:lnTo>
                  <a:lnTo>
                    <a:pt x="705" y="615"/>
                  </a:lnTo>
                  <a:lnTo>
                    <a:pt x="701" y="625"/>
                  </a:lnTo>
                  <a:lnTo>
                    <a:pt x="699" y="642"/>
                  </a:lnTo>
                  <a:lnTo>
                    <a:pt x="696" y="652"/>
                  </a:lnTo>
                  <a:lnTo>
                    <a:pt x="692" y="657"/>
                  </a:lnTo>
                  <a:lnTo>
                    <a:pt x="687" y="660"/>
                  </a:lnTo>
                  <a:lnTo>
                    <a:pt x="669" y="664"/>
                  </a:lnTo>
                  <a:lnTo>
                    <a:pt x="662" y="666"/>
                  </a:lnTo>
                  <a:lnTo>
                    <a:pt x="648" y="672"/>
                  </a:lnTo>
                  <a:lnTo>
                    <a:pt x="603" y="627"/>
                  </a:lnTo>
                  <a:lnTo>
                    <a:pt x="585" y="619"/>
                  </a:lnTo>
                  <a:lnTo>
                    <a:pt x="576" y="620"/>
                  </a:lnTo>
                  <a:lnTo>
                    <a:pt x="560" y="618"/>
                  </a:lnTo>
                  <a:lnTo>
                    <a:pt x="550" y="617"/>
                  </a:lnTo>
                  <a:lnTo>
                    <a:pt x="544" y="618"/>
                  </a:lnTo>
                  <a:lnTo>
                    <a:pt x="526" y="628"/>
                  </a:lnTo>
                  <a:lnTo>
                    <a:pt x="518" y="631"/>
                  </a:lnTo>
                  <a:lnTo>
                    <a:pt x="514" y="629"/>
                  </a:lnTo>
                  <a:lnTo>
                    <a:pt x="511" y="625"/>
                  </a:lnTo>
                  <a:lnTo>
                    <a:pt x="506" y="620"/>
                  </a:lnTo>
                  <a:lnTo>
                    <a:pt x="499" y="620"/>
                  </a:lnTo>
                  <a:lnTo>
                    <a:pt x="492" y="625"/>
                  </a:lnTo>
                  <a:lnTo>
                    <a:pt x="484" y="630"/>
                  </a:lnTo>
                  <a:lnTo>
                    <a:pt x="480" y="633"/>
                  </a:lnTo>
                  <a:lnTo>
                    <a:pt x="474" y="635"/>
                  </a:lnTo>
                  <a:lnTo>
                    <a:pt x="470" y="636"/>
                  </a:lnTo>
                  <a:lnTo>
                    <a:pt x="464" y="640"/>
                  </a:lnTo>
                  <a:lnTo>
                    <a:pt x="446" y="652"/>
                  </a:lnTo>
                  <a:lnTo>
                    <a:pt x="440" y="654"/>
                  </a:lnTo>
                  <a:lnTo>
                    <a:pt x="435" y="652"/>
                  </a:lnTo>
                  <a:lnTo>
                    <a:pt x="431" y="645"/>
                  </a:lnTo>
                  <a:lnTo>
                    <a:pt x="428" y="639"/>
                  </a:lnTo>
                  <a:lnTo>
                    <a:pt x="427" y="628"/>
                  </a:lnTo>
                  <a:lnTo>
                    <a:pt x="421" y="614"/>
                  </a:lnTo>
                  <a:lnTo>
                    <a:pt x="409" y="597"/>
                  </a:lnTo>
                  <a:lnTo>
                    <a:pt x="367" y="567"/>
                  </a:lnTo>
                  <a:lnTo>
                    <a:pt x="357" y="560"/>
                  </a:lnTo>
                  <a:lnTo>
                    <a:pt x="355" y="552"/>
                  </a:lnTo>
                  <a:lnTo>
                    <a:pt x="351" y="536"/>
                  </a:lnTo>
                  <a:lnTo>
                    <a:pt x="349" y="530"/>
                  </a:lnTo>
                  <a:lnTo>
                    <a:pt x="341" y="518"/>
                  </a:lnTo>
                  <a:lnTo>
                    <a:pt x="331" y="499"/>
                  </a:lnTo>
                  <a:lnTo>
                    <a:pt x="306" y="466"/>
                  </a:lnTo>
                  <a:lnTo>
                    <a:pt x="304" y="462"/>
                  </a:lnTo>
                  <a:lnTo>
                    <a:pt x="304" y="454"/>
                  </a:lnTo>
                  <a:lnTo>
                    <a:pt x="302" y="450"/>
                  </a:lnTo>
                  <a:lnTo>
                    <a:pt x="297" y="446"/>
                  </a:lnTo>
                  <a:lnTo>
                    <a:pt x="316" y="413"/>
                  </a:lnTo>
                  <a:lnTo>
                    <a:pt x="402" y="406"/>
                  </a:lnTo>
                  <a:lnTo>
                    <a:pt x="414" y="358"/>
                  </a:lnTo>
                  <a:lnTo>
                    <a:pt x="380" y="320"/>
                  </a:lnTo>
                  <a:lnTo>
                    <a:pt x="316" y="286"/>
                  </a:lnTo>
                  <a:lnTo>
                    <a:pt x="296" y="265"/>
                  </a:lnTo>
                  <a:lnTo>
                    <a:pt x="176" y="269"/>
                  </a:lnTo>
                  <a:lnTo>
                    <a:pt x="172" y="214"/>
                  </a:lnTo>
                  <a:lnTo>
                    <a:pt x="37" y="210"/>
                  </a:lnTo>
                  <a:lnTo>
                    <a:pt x="0" y="184"/>
                  </a:lnTo>
                  <a:lnTo>
                    <a:pt x="13" y="150"/>
                  </a:lnTo>
                  <a:lnTo>
                    <a:pt x="22" y="135"/>
                  </a:lnTo>
                  <a:lnTo>
                    <a:pt x="30" y="114"/>
                  </a:lnTo>
                  <a:lnTo>
                    <a:pt x="39" y="102"/>
                  </a:lnTo>
                  <a:lnTo>
                    <a:pt x="40" y="98"/>
                  </a:lnTo>
                  <a:lnTo>
                    <a:pt x="40" y="95"/>
                  </a:lnTo>
                  <a:lnTo>
                    <a:pt x="38" y="90"/>
                  </a:lnTo>
                  <a:lnTo>
                    <a:pt x="33" y="85"/>
                  </a:lnTo>
                  <a:lnTo>
                    <a:pt x="27" y="80"/>
                  </a:lnTo>
                  <a:lnTo>
                    <a:pt x="10" y="68"/>
                  </a:lnTo>
                  <a:lnTo>
                    <a:pt x="9" y="64"/>
                  </a:lnTo>
                  <a:lnTo>
                    <a:pt x="7" y="59"/>
                  </a:lnTo>
                  <a:lnTo>
                    <a:pt x="12" y="55"/>
                  </a:lnTo>
                  <a:lnTo>
                    <a:pt x="18" y="50"/>
                  </a:lnTo>
                  <a:lnTo>
                    <a:pt x="31" y="44"/>
                  </a:lnTo>
                  <a:lnTo>
                    <a:pt x="41" y="38"/>
                  </a:lnTo>
                  <a:lnTo>
                    <a:pt x="55" y="26"/>
                  </a:lnTo>
                  <a:lnTo>
                    <a:pt x="61" y="23"/>
                  </a:lnTo>
                  <a:lnTo>
                    <a:pt x="69" y="19"/>
                  </a:lnTo>
                  <a:lnTo>
                    <a:pt x="76" y="16"/>
                  </a:lnTo>
                  <a:lnTo>
                    <a:pt x="95" y="3"/>
                  </a:lnTo>
                  <a:lnTo>
                    <a:pt x="103" y="2"/>
                  </a:lnTo>
                  <a:lnTo>
                    <a:pt x="113" y="0"/>
                  </a:lnTo>
                  <a:lnTo>
                    <a:pt x="129" y="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08440BA0-E1D3-DAF9-FC10-B42C575EE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989" y="2656778"/>
              <a:ext cx="2553479" cy="1544443"/>
            </a:xfrm>
            <a:custGeom>
              <a:avLst/>
              <a:gdLst>
                <a:gd name="T0" fmla="*/ 896 w 1736"/>
                <a:gd name="T1" fmla="*/ 71 h 1050"/>
                <a:gd name="T2" fmla="*/ 940 w 1736"/>
                <a:gd name="T3" fmla="*/ 60 h 1050"/>
                <a:gd name="T4" fmla="*/ 1003 w 1736"/>
                <a:gd name="T5" fmla="*/ 46 h 1050"/>
                <a:gd name="T6" fmla="*/ 1040 w 1736"/>
                <a:gd name="T7" fmla="*/ 29 h 1050"/>
                <a:gd name="T8" fmla="*/ 1107 w 1736"/>
                <a:gd name="T9" fmla="*/ 41 h 1050"/>
                <a:gd name="T10" fmla="*/ 1113 w 1736"/>
                <a:gd name="T11" fmla="*/ 119 h 1050"/>
                <a:gd name="T12" fmla="*/ 1136 w 1736"/>
                <a:gd name="T13" fmla="*/ 146 h 1050"/>
                <a:gd name="T14" fmla="*/ 1153 w 1736"/>
                <a:gd name="T15" fmla="*/ 158 h 1050"/>
                <a:gd name="T16" fmla="*/ 1165 w 1736"/>
                <a:gd name="T17" fmla="*/ 166 h 1050"/>
                <a:gd name="T18" fmla="*/ 1195 w 1736"/>
                <a:gd name="T19" fmla="*/ 166 h 1050"/>
                <a:gd name="T20" fmla="*/ 1217 w 1736"/>
                <a:gd name="T21" fmla="*/ 176 h 1050"/>
                <a:gd name="T22" fmla="*/ 1245 w 1736"/>
                <a:gd name="T23" fmla="*/ 191 h 1050"/>
                <a:gd name="T24" fmla="*/ 1268 w 1736"/>
                <a:gd name="T25" fmla="*/ 199 h 1050"/>
                <a:gd name="T26" fmla="*/ 1281 w 1736"/>
                <a:gd name="T27" fmla="*/ 189 h 1050"/>
                <a:gd name="T28" fmla="*/ 1295 w 1736"/>
                <a:gd name="T29" fmla="*/ 185 h 1050"/>
                <a:gd name="T30" fmla="*/ 1313 w 1736"/>
                <a:gd name="T31" fmla="*/ 183 h 1050"/>
                <a:gd name="T32" fmla="*/ 1344 w 1736"/>
                <a:gd name="T33" fmla="*/ 189 h 1050"/>
                <a:gd name="T34" fmla="*/ 1364 w 1736"/>
                <a:gd name="T35" fmla="*/ 178 h 1050"/>
                <a:gd name="T36" fmla="*/ 1373 w 1736"/>
                <a:gd name="T37" fmla="*/ 179 h 1050"/>
                <a:gd name="T38" fmla="*/ 1406 w 1736"/>
                <a:gd name="T39" fmla="*/ 181 h 1050"/>
                <a:gd name="T40" fmla="*/ 1416 w 1736"/>
                <a:gd name="T41" fmla="*/ 190 h 1050"/>
                <a:gd name="T42" fmla="*/ 1428 w 1736"/>
                <a:gd name="T43" fmla="*/ 193 h 1050"/>
                <a:gd name="T44" fmla="*/ 1463 w 1736"/>
                <a:gd name="T45" fmla="*/ 212 h 1050"/>
                <a:gd name="T46" fmla="*/ 1512 w 1736"/>
                <a:gd name="T47" fmla="*/ 225 h 1050"/>
                <a:gd name="T48" fmla="*/ 1525 w 1736"/>
                <a:gd name="T49" fmla="*/ 215 h 1050"/>
                <a:gd name="T50" fmla="*/ 1534 w 1736"/>
                <a:gd name="T51" fmla="*/ 219 h 1050"/>
                <a:gd name="T52" fmla="*/ 1566 w 1736"/>
                <a:gd name="T53" fmla="*/ 247 h 1050"/>
                <a:gd name="T54" fmla="*/ 1585 w 1736"/>
                <a:gd name="T55" fmla="*/ 253 h 1050"/>
                <a:gd name="T56" fmla="*/ 1621 w 1736"/>
                <a:gd name="T57" fmla="*/ 262 h 1050"/>
                <a:gd name="T58" fmla="*/ 1642 w 1736"/>
                <a:gd name="T59" fmla="*/ 296 h 1050"/>
                <a:gd name="T60" fmla="*/ 1657 w 1736"/>
                <a:gd name="T61" fmla="*/ 296 h 1050"/>
                <a:gd name="T62" fmla="*/ 1696 w 1736"/>
                <a:gd name="T63" fmla="*/ 314 h 1050"/>
                <a:gd name="T64" fmla="*/ 1725 w 1736"/>
                <a:gd name="T65" fmla="*/ 332 h 1050"/>
                <a:gd name="T66" fmla="*/ 1661 w 1736"/>
                <a:gd name="T67" fmla="*/ 438 h 1050"/>
                <a:gd name="T68" fmla="*/ 1461 w 1736"/>
                <a:gd name="T69" fmla="*/ 671 h 1050"/>
                <a:gd name="T70" fmla="*/ 1234 w 1736"/>
                <a:gd name="T71" fmla="*/ 871 h 1050"/>
                <a:gd name="T72" fmla="*/ 1007 w 1736"/>
                <a:gd name="T73" fmla="*/ 1041 h 1050"/>
                <a:gd name="T74" fmla="*/ 918 w 1736"/>
                <a:gd name="T75" fmla="*/ 1031 h 1050"/>
                <a:gd name="T76" fmla="*/ 813 w 1736"/>
                <a:gd name="T77" fmla="*/ 1016 h 1050"/>
                <a:gd name="T78" fmla="*/ 758 w 1736"/>
                <a:gd name="T79" fmla="*/ 946 h 1050"/>
                <a:gd name="T80" fmla="*/ 694 w 1736"/>
                <a:gd name="T81" fmla="*/ 869 h 1050"/>
                <a:gd name="T82" fmla="*/ 301 w 1736"/>
                <a:gd name="T83" fmla="*/ 670 h 1050"/>
                <a:gd name="T84" fmla="*/ 242 w 1736"/>
                <a:gd name="T85" fmla="*/ 619 h 1050"/>
                <a:gd name="T86" fmla="*/ 207 w 1736"/>
                <a:gd name="T87" fmla="*/ 548 h 1050"/>
                <a:gd name="T88" fmla="*/ 174 w 1736"/>
                <a:gd name="T89" fmla="*/ 440 h 1050"/>
                <a:gd name="T90" fmla="*/ 96 w 1736"/>
                <a:gd name="T91" fmla="*/ 417 h 1050"/>
                <a:gd name="T92" fmla="*/ 29 w 1736"/>
                <a:gd name="T93" fmla="*/ 298 h 1050"/>
                <a:gd name="T94" fmla="*/ 38 w 1736"/>
                <a:gd name="T95" fmla="*/ 150 h 1050"/>
                <a:gd name="T96" fmla="*/ 172 w 1736"/>
                <a:gd name="T97" fmla="*/ 147 h 1050"/>
                <a:gd name="T98" fmla="*/ 198 w 1736"/>
                <a:gd name="T99" fmla="*/ 136 h 1050"/>
                <a:gd name="T100" fmla="*/ 271 w 1736"/>
                <a:gd name="T101" fmla="*/ 116 h 1050"/>
                <a:gd name="T102" fmla="*/ 330 w 1736"/>
                <a:gd name="T103" fmla="*/ 93 h 1050"/>
                <a:gd name="T104" fmla="*/ 378 w 1736"/>
                <a:gd name="T105" fmla="*/ 89 h 1050"/>
                <a:gd name="T106" fmla="*/ 517 w 1736"/>
                <a:gd name="T107" fmla="*/ 49 h 1050"/>
                <a:gd name="T108" fmla="*/ 639 w 1736"/>
                <a:gd name="T109" fmla="*/ 8 h 1050"/>
                <a:gd name="T110" fmla="*/ 743 w 1736"/>
                <a:gd name="T111" fmla="*/ 49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6" h="1050">
                  <a:moveTo>
                    <a:pt x="875" y="99"/>
                  </a:moveTo>
                  <a:lnTo>
                    <a:pt x="886" y="98"/>
                  </a:lnTo>
                  <a:lnTo>
                    <a:pt x="891" y="92"/>
                  </a:lnTo>
                  <a:lnTo>
                    <a:pt x="892" y="86"/>
                  </a:lnTo>
                  <a:lnTo>
                    <a:pt x="894" y="78"/>
                  </a:lnTo>
                  <a:lnTo>
                    <a:pt x="896" y="71"/>
                  </a:lnTo>
                  <a:lnTo>
                    <a:pt x="899" y="65"/>
                  </a:lnTo>
                  <a:lnTo>
                    <a:pt x="912" y="53"/>
                  </a:lnTo>
                  <a:lnTo>
                    <a:pt x="917" y="52"/>
                  </a:lnTo>
                  <a:lnTo>
                    <a:pt x="922" y="53"/>
                  </a:lnTo>
                  <a:lnTo>
                    <a:pt x="930" y="58"/>
                  </a:lnTo>
                  <a:lnTo>
                    <a:pt x="940" y="60"/>
                  </a:lnTo>
                  <a:lnTo>
                    <a:pt x="946" y="59"/>
                  </a:lnTo>
                  <a:lnTo>
                    <a:pt x="955" y="53"/>
                  </a:lnTo>
                  <a:lnTo>
                    <a:pt x="960" y="52"/>
                  </a:lnTo>
                  <a:lnTo>
                    <a:pt x="976" y="52"/>
                  </a:lnTo>
                  <a:lnTo>
                    <a:pt x="989" y="50"/>
                  </a:lnTo>
                  <a:lnTo>
                    <a:pt x="1003" y="46"/>
                  </a:lnTo>
                  <a:lnTo>
                    <a:pt x="1010" y="45"/>
                  </a:lnTo>
                  <a:lnTo>
                    <a:pt x="1015" y="43"/>
                  </a:lnTo>
                  <a:lnTo>
                    <a:pt x="1020" y="40"/>
                  </a:lnTo>
                  <a:lnTo>
                    <a:pt x="1024" y="33"/>
                  </a:lnTo>
                  <a:lnTo>
                    <a:pt x="1027" y="32"/>
                  </a:lnTo>
                  <a:lnTo>
                    <a:pt x="1040" y="29"/>
                  </a:lnTo>
                  <a:lnTo>
                    <a:pt x="1057" y="24"/>
                  </a:lnTo>
                  <a:lnTo>
                    <a:pt x="1066" y="23"/>
                  </a:lnTo>
                  <a:lnTo>
                    <a:pt x="1078" y="24"/>
                  </a:lnTo>
                  <a:lnTo>
                    <a:pt x="1090" y="27"/>
                  </a:lnTo>
                  <a:lnTo>
                    <a:pt x="1099" y="32"/>
                  </a:lnTo>
                  <a:lnTo>
                    <a:pt x="1107" y="41"/>
                  </a:lnTo>
                  <a:lnTo>
                    <a:pt x="1111" y="50"/>
                  </a:lnTo>
                  <a:lnTo>
                    <a:pt x="1110" y="60"/>
                  </a:lnTo>
                  <a:lnTo>
                    <a:pt x="1107" y="68"/>
                  </a:lnTo>
                  <a:lnTo>
                    <a:pt x="1107" y="94"/>
                  </a:lnTo>
                  <a:lnTo>
                    <a:pt x="1110" y="108"/>
                  </a:lnTo>
                  <a:lnTo>
                    <a:pt x="1113" y="119"/>
                  </a:lnTo>
                  <a:lnTo>
                    <a:pt x="1118" y="126"/>
                  </a:lnTo>
                  <a:lnTo>
                    <a:pt x="1122" y="131"/>
                  </a:lnTo>
                  <a:lnTo>
                    <a:pt x="1125" y="136"/>
                  </a:lnTo>
                  <a:lnTo>
                    <a:pt x="1131" y="140"/>
                  </a:lnTo>
                  <a:lnTo>
                    <a:pt x="1135" y="143"/>
                  </a:lnTo>
                  <a:lnTo>
                    <a:pt x="1136" y="146"/>
                  </a:lnTo>
                  <a:lnTo>
                    <a:pt x="1137" y="151"/>
                  </a:lnTo>
                  <a:lnTo>
                    <a:pt x="1137" y="154"/>
                  </a:lnTo>
                  <a:lnTo>
                    <a:pt x="1141" y="159"/>
                  </a:lnTo>
                  <a:lnTo>
                    <a:pt x="1144" y="162"/>
                  </a:lnTo>
                  <a:lnTo>
                    <a:pt x="1150" y="160"/>
                  </a:lnTo>
                  <a:lnTo>
                    <a:pt x="1153" y="158"/>
                  </a:lnTo>
                  <a:lnTo>
                    <a:pt x="1155" y="158"/>
                  </a:lnTo>
                  <a:lnTo>
                    <a:pt x="1155" y="160"/>
                  </a:lnTo>
                  <a:lnTo>
                    <a:pt x="1155" y="163"/>
                  </a:lnTo>
                  <a:lnTo>
                    <a:pt x="1155" y="165"/>
                  </a:lnTo>
                  <a:lnTo>
                    <a:pt x="1157" y="167"/>
                  </a:lnTo>
                  <a:lnTo>
                    <a:pt x="1165" y="166"/>
                  </a:lnTo>
                  <a:lnTo>
                    <a:pt x="1171" y="167"/>
                  </a:lnTo>
                  <a:lnTo>
                    <a:pt x="1179" y="166"/>
                  </a:lnTo>
                  <a:lnTo>
                    <a:pt x="1183" y="164"/>
                  </a:lnTo>
                  <a:lnTo>
                    <a:pt x="1188" y="163"/>
                  </a:lnTo>
                  <a:lnTo>
                    <a:pt x="1192" y="163"/>
                  </a:lnTo>
                  <a:lnTo>
                    <a:pt x="1195" y="166"/>
                  </a:lnTo>
                  <a:lnTo>
                    <a:pt x="1201" y="168"/>
                  </a:lnTo>
                  <a:lnTo>
                    <a:pt x="1205" y="169"/>
                  </a:lnTo>
                  <a:lnTo>
                    <a:pt x="1209" y="168"/>
                  </a:lnTo>
                  <a:lnTo>
                    <a:pt x="1213" y="169"/>
                  </a:lnTo>
                  <a:lnTo>
                    <a:pt x="1214" y="171"/>
                  </a:lnTo>
                  <a:lnTo>
                    <a:pt x="1217" y="176"/>
                  </a:lnTo>
                  <a:lnTo>
                    <a:pt x="1217" y="178"/>
                  </a:lnTo>
                  <a:lnTo>
                    <a:pt x="1216" y="180"/>
                  </a:lnTo>
                  <a:lnTo>
                    <a:pt x="1215" y="182"/>
                  </a:lnTo>
                  <a:lnTo>
                    <a:pt x="1219" y="184"/>
                  </a:lnTo>
                  <a:lnTo>
                    <a:pt x="1229" y="186"/>
                  </a:lnTo>
                  <a:lnTo>
                    <a:pt x="1245" y="191"/>
                  </a:lnTo>
                  <a:lnTo>
                    <a:pt x="1256" y="192"/>
                  </a:lnTo>
                  <a:lnTo>
                    <a:pt x="1261" y="194"/>
                  </a:lnTo>
                  <a:lnTo>
                    <a:pt x="1263" y="196"/>
                  </a:lnTo>
                  <a:lnTo>
                    <a:pt x="1263" y="201"/>
                  </a:lnTo>
                  <a:lnTo>
                    <a:pt x="1265" y="202"/>
                  </a:lnTo>
                  <a:lnTo>
                    <a:pt x="1268" y="199"/>
                  </a:lnTo>
                  <a:lnTo>
                    <a:pt x="1269" y="197"/>
                  </a:lnTo>
                  <a:lnTo>
                    <a:pt x="1271" y="194"/>
                  </a:lnTo>
                  <a:lnTo>
                    <a:pt x="1275" y="192"/>
                  </a:lnTo>
                  <a:lnTo>
                    <a:pt x="1278" y="190"/>
                  </a:lnTo>
                  <a:lnTo>
                    <a:pt x="1279" y="190"/>
                  </a:lnTo>
                  <a:lnTo>
                    <a:pt x="1281" y="189"/>
                  </a:lnTo>
                  <a:lnTo>
                    <a:pt x="1284" y="190"/>
                  </a:lnTo>
                  <a:lnTo>
                    <a:pt x="1286" y="188"/>
                  </a:lnTo>
                  <a:lnTo>
                    <a:pt x="1288" y="184"/>
                  </a:lnTo>
                  <a:lnTo>
                    <a:pt x="1291" y="182"/>
                  </a:lnTo>
                  <a:lnTo>
                    <a:pt x="1293" y="182"/>
                  </a:lnTo>
                  <a:lnTo>
                    <a:pt x="1295" y="185"/>
                  </a:lnTo>
                  <a:lnTo>
                    <a:pt x="1296" y="188"/>
                  </a:lnTo>
                  <a:lnTo>
                    <a:pt x="1299" y="189"/>
                  </a:lnTo>
                  <a:lnTo>
                    <a:pt x="1302" y="186"/>
                  </a:lnTo>
                  <a:lnTo>
                    <a:pt x="1306" y="184"/>
                  </a:lnTo>
                  <a:lnTo>
                    <a:pt x="1310" y="183"/>
                  </a:lnTo>
                  <a:lnTo>
                    <a:pt x="1313" y="183"/>
                  </a:lnTo>
                  <a:lnTo>
                    <a:pt x="1319" y="186"/>
                  </a:lnTo>
                  <a:lnTo>
                    <a:pt x="1331" y="185"/>
                  </a:lnTo>
                  <a:lnTo>
                    <a:pt x="1334" y="184"/>
                  </a:lnTo>
                  <a:lnTo>
                    <a:pt x="1337" y="188"/>
                  </a:lnTo>
                  <a:lnTo>
                    <a:pt x="1339" y="189"/>
                  </a:lnTo>
                  <a:lnTo>
                    <a:pt x="1344" y="189"/>
                  </a:lnTo>
                  <a:lnTo>
                    <a:pt x="1347" y="189"/>
                  </a:lnTo>
                  <a:lnTo>
                    <a:pt x="1351" y="190"/>
                  </a:lnTo>
                  <a:lnTo>
                    <a:pt x="1353" y="189"/>
                  </a:lnTo>
                  <a:lnTo>
                    <a:pt x="1356" y="186"/>
                  </a:lnTo>
                  <a:lnTo>
                    <a:pt x="1358" y="184"/>
                  </a:lnTo>
                  <a:lnTo>
                    <a:pt x="1364" y="178"/>
                  </a:lnTo>
                  <a:lnTo>
                    <a:pt x="1366" y="176"/>
                  </a:lnTo>
                  <a:lnTo>
                    <a:pt x="1369" y="176"/>
                  </a:lnTo>
                  <a:lnTo>
                    <a:pt x="1370" y="177"/>
                  </a:lnTo>
                  <a:lnTo>
                    <a:pt x="1371" y="179"/>
                  </a:lnTo>
                  <a:lnTo>
                    <a:pt x="1372" y="180"/>
                  </a:lnTo>
                  <a:lnTo>
                    <a:pt x="1373" y="179"/>
                  </a:lnTo>
                  <a:lnTo>
                    <a:pt x="1374" y="177"/>
                  </a:lnTo>
                  <a:lnTo>
                    <a:pt x="1377" y="176"/>
                  </a:lnTo>
                  <a:lnTo>
                    <a:pt x="1384" y="176"/>
                  </a:lnTo>
                  <a:lnTo>
                    <a:pt x="1396" y="182"/>
                  </a:lnTo>
                  <a:lnTo>
                    <a:pt x="1403" y="182"/>
                  </a:lnTo>
                  <a:lnTo>
                    <a:pt x="1406" y="181"/>
                  </a:lnTo>
                  <a:lnTo>
                    <a:pt x="1409" y="179"/>
                  </a:lnTo>
                  <a:lnTo>
                    <a:pt x="1411" y="177"/>
                  </a:lnTo>
                  <a:lnTo>
                    <a:pt x="1413" y="178"/>
                  </a:lnTo>
                  <a:lnTo>
                    <a:pt x="1415" y="182"/>
                  </a:lnTo>
                  <a:lnTo>
                    <a:pt x="1416" y="185"/>
                  </a:lnTo>
                  <a:lnTo>
                    <a:pt x="1416" y="190"/>
                  </a:lnTo>
                  <a:lnTo>
                    <a:pt x="1416" y="193"/>
                  </a:lnTo>
                  <a:lnTo>
                    <a:pt x="1417" y="195"/>
                  </a:lnTo>
                  <a:lnTo>
                    <a:pt x="1421" y="194"/>
                  </a:lnTo>
                  <a:lnTo>
                    <a:pt x="1422" y="192"/>
                  </a:lnTo>
                  <a:lnTo>
                    <a:pt x="1425" y="192"/>
                  </a:lnTo>
                  <a:lnTo>
                    <a:pt x="1428" y="193"/>
                  </a:lnTo>
                  <a:lnTo>
                    <a:pt x="1436" y="197"/>
                  </a:lnTo>
                  <a:lnTo>
                    <a:pt x="1444" y="198"/>
                  </a:lnTo>
                  <a:lnTo>
                    <a:pt x="1452" y="201"/>
                  </a:lnTo>
                  <a:lnTo>
                    <a:pt x="1457" y="206"/>
                  </a:lnTo>
                  <a:lnTo>
                    <a:pt x="1461" y="210"/>
                  </a:lnTo>
                  <a:lnTo>
                    <a:pt x="1463" y="212"/>
                  </a:lnTo>
                  <a:lnTo>
                    <a:pt x="1471" y="212"/>
                  </a:lnTo>
                  <a:lnTo>
                    <a:pt x="1475" y="215"/>
                  </a:lnTo>
                  <a:lnTo>
                    <a:pt x="1480" y="219"/>
                  </a:lnTo>
                  <a:lnTo>
                    <a:pt x="1489" y="223"/>
                  </a:lnTo>
                  <a:lnTo>
                    <a:pt x="1500" y="225"/>
                  </a:lnTo>
                  <a:lnTo>
                    <a:pt x="1512" y="225"/>
                  </a:lnTo>
                  <a:lnTo>
                    <a:pt x="1518" y="227"/>
                  </a:lnTo>
                  <a:lnTo>
                    <a:pt x="1522" y="225"/>
                  </a:lnTo>
                  <a:lnTo>
                    <a:pt x="1525" y="224"/>
                  </a:lnTo>
                  <a:lnTo>
                    <a:pt x="1526" y="221"/>
                  </a:lnTo>
                  <a:lnTo>
                    <a:pt x="1525" y="218"/>
                  </a:lnTo>
                  <a:lnTo>
                    <a:pt x="1525" y="215"/>
                  </a:lnTo>
                  <a:lnTo>
                    <a:pt x="1527" y="214"/>
                  </a:lnTo>
                  <a:lnTo>
                    <a:pt x="1531" y="214"/>
                  </a:lnTo>
                  <a:lnTo>
                    <a:pt x="1534" y="212"/>
                  </a:lnTo>
                  <a:lnTo>
                    <a:pt x="1536" y="212"/>
                  </a:lnTo>
                  <a:lnTo>
                    <a:pt x="1536" y="216"/>
                  </a:lnTo>
                  <a:lnTo>
                    <a:pt x="1534" y="219"/>
                  </a:lnTo>
                  <a:lnTo>
                    <a:pt x="1535" y="222"/>
                  </a:lnTo>
                  <a:lnTo>
                    <a:pt x="1539" y="225"/>
                  </a:lnTo>
                  <a:lnTo>
                    <a:pt x="1555" y="230"/>
                  </a:lnTo>
                  <a:lnTo>
                    <a:pt x="1559" y="232"/>
                  </a:lnTo>
                  <a:lnTo>
                    <a:pt x="1565" y="243"/>
                  </a:lnTo>
                  <a:lnTo>
                    <a:pt x="1566" y="247"/>
                  </a:lnTo>
                  <a:lnTo>
                    <a:pt x="1566" y="249"/>
                  </a:lnTo>
                  <a:lnTo>
                    <a:pt x="1567" y="250"/>
                  </a:lnTo>
                  <a:lnTo>
                    <a:pt x="1571" y="249"/>
                  </a:lnTo>
                  <a:lnTo>
                    <a:pt x="1575" y="248"/>
                  </a:lnTo>
                  <a:lnTo>
                    <a:pt x="1580" y="249"/>
                  </a:lnTo>
                  <a:lnTo>
                    <a:pt x="1585" y="253"/>
                  </a:lnTo>
                  <a:lnTo>
                    <a:pt x="1587" y="255"/>
                  </a:lnTo>
                  <a:lnTo>
                    <a:pt x="1591" y="258"/>
                  </a:lnTo>
                  <a:lnTo>
                    <a:pt x="1593" y="259"/>
                  </a:lnTo>
                  <a:lnTo>
                    <a:pt x="1603" y="260"/>
                  </a:lnTo>
                  <a:lnTo>
                    <a:pt x="1612" y="262"/>
                  </a:lnTo>
                  <a:lnTo>
                    <a:pt x="1621" y="262"/>
                  </a:lnTo>
                  <a:lnTo>
                    <a:pt x="1624" y="264"/>
                  </a:lnTo>
                  <a:lnTo>
                    <a:pt x="1626" y="270"/>
                  </a:lnTo>
                  <a:lnTo>
                    <a:pt x="1627" y="272"/>
                  </a:lnTo>
                  <a:lnTo>
                    <a:pt x="1633" y="282"/>
                  </a:lnTo>
                  <a:lnTo>
                    <a:pt x="1639" y="290"/>
                  </a:lnTo>
                  <a:lnTo>
                    <a:pt x="1642" y="296"/>
                  </a:lnTo>
                  <a:lnTo>
                    <a:pt x="1644" y="298"/>
                  </a:lnTo>
                  <a:lnTo>
                    <a:pt x="1648" y="296"/>
                  </a:lnTo>
                  <a:lnTo>
                    <a:pt x="1651" y="294"/>
                  </a:lnTo>
                  <a:lnTo>
                    <a:pt x="1653" y="292"/>
                  </a:lnTo>
                  <a:lnTo>
                    <a:pt x="1656" y="293"/>
                  </a:lnTo>
                  <a:lnTo>
                    <a:pt x="1657" y="296"/>
                  </a:lnTo>
                  <a:lnTo>
                    <a:pt x="1658" y="298"/>
                  </a:lnTo>
                  <a:lnTo>
                    <a:pt x="1662" y="300"/>
                  </a:lnTo>
                  <a:lnTo>
                    <a:pt x="1668" y="302"/>
                  </a:lnTo>
                  <a:lnTo>
                    <a:pt x="1688" y="310"/>
                  </a:lnTo>
                  <a:lnTo>
                    <a:pt x="1691" y="313"/>
                  </a:lnTo>
                  <a:lnTo>
                    <a:pt x="1696" y="314"/>
                  </a:lnTo>
                  <a:lnTo>
                    <a:pt x="1700" y="316"/>
                  </a:lnTo>
                  <a:lnTo>
                    <a:pt x="1704" y="320"/>
                  </a:lnTo>
                  <a:lnTo>
                    <a:pt x="1711" y="322"/>
                  </a:lnTo>
                  <a:lnTo>
                    <a:pt x="1716" y="323"/>
                  </a:lnTo>
                  <a:lnTo>
                    <a:pt x="1722" y="325"/>
                  </a:lnTo>
                  <a:lnTo>
                    <a:pt x="1725" y="332"/>
                  </a:lnTo>
                  <a:lnTo>
                    <a:pt x="1728" y="346"/>
                  </a:lnTo>
                  <a:lnTo>
                    <a:pt x="1736" y="359"/>
                  </a:lnTo>
                  <a:lnTo>
                    <a:pt x="1736" y="359"/>
                  </a:lnTo>
                  <a:lnTo>
                    <a:pt x="1725" y="372"/>
                  </a:lnTo>
                  <a:lnTo>
                    <a:pt x="1688" y="406"/>
                  </a:lnTo>
                  <a:lnTo>
                    <a:pt x="1661" y="438"/>
                  </a:lnTo>
                  <a:lnTo>
                    <a:pt x="1629" y="477"/>
                  </a:lnTo>
                  <a:lnTo>
                    <a:pt x="1595" y="516"/>
                  </a:lnTo>
                  <a:lnTo>
                    <a:pt x="1561" y="555"/>
                  </a:lnTo>
                  <a:lnTo>
                    <a:pt x="1528" y="594"/>
                  </a:lnTo>
                  <a:lnTo>
                    <a:pt x="1494" y="632"/>
                  </a:lnTo>
                  <a:lnTo>
                    <a:pt x="1461" y="671"/>
                  </a:lnTo>
                  <a:lnTo>
                    <a:pt x="1427" y="710"/>
                  </a:lnTo>
                  <a:lnTo>
                    <a:pt x="1395" y="749"/>
                  </a:lnTo>
                  <a:lnTo>
                    <a:pt x="1354" y="780"/>
                  </a:lnTo>
                  <a:lnTo>
                    <a:pt x="1314" y="811"/>
                  </a:lnTo>
                  <a:lnTo>
                    <a:pt x="1274" y="841"/>
                  </a:lnTo>
                  <a:lnTo>
                    <a:pt x="1234" y="871"/>
                  </a:lnTo>
                  <a:lnTo>
                    <a:pt x="1194" y="903"/>
                  </a:lnTo>
                  <a:lnTo>
                    <a:pt x="1154" y="933"/>
                  </a:lnTo>
                  <a:lnTo>
                    <a:pt x="1114" y="963"/>
                  </a:lnTo>
                  <a:lnTo>
                    <a:pt x="1075" y="994"/>
                  </a:lnTo>
                  <a:lnTo>
                    <a:pt x="1037" y="1023"/>
                  </a:lnTo>
                  <a:lnTo>
                    <a:pt x="1007" y="1041"/>
                  </a:lnTo>
                  <a:lnTo>
                    <a:pt x="1007" y="1041"/>
                  </a:lnTo>
                  <a:lnTo>
                    <a:pt x="997" y="1039"/>
                  </a:lnTo>
                  <a:lnTo>
                    <a:pt x="984" y="1045"/>
                  </a:lnTo>
                  <a:lnTo>
                    <a:pt x="969" y="1050"/>
                  </a:lnTo>
                  <a:lnTo>
                    <a:pt x="941" y="1036"/>
                  </a:lnTo>
                  <a:lnTo>
                    <a:pt x="918" y="1031"/>
                  </a:lnTo>
                  <a:lnTo>
                    <a:pt x="909" y="1026"/>
                  </a:lnTo>
                  <a:lnTo>
                    <a:pt x="898" y="1018"/>
                  </a:lnTo>
                  <a:lnTo>
                    <a:pt x="891" y="1018"/>
                  </a:lnTo>
                  <a:lnTo>
                    <a:pt x="870" y="1024"/>
                  </a:lnTo>
                  <a:lnTo>
                    <a:pt x="840" y="1025"/>
                  </a:lnTo>
                  <a:lnTo>
                    <a:pt x="813" y="1016"/>
                  </a:lnTo>
                  <a:lnTo>
                    <a:pt x="790" y="1002"/>
                  </a:lnTo>
                  <a:lnTo>
                    <a:pt x="774" y="983"/>
                  </a:lnTo>
                  <a:lnTo>
                    <a:pt x="766" y="960"/>
                  </a:lnTo>
                  <a:lnTo>
                    <a:pt x="765" y="957"/>
                  </a:lnTo>
                  <a:lnTo>
                    <a:pt x="763" y="951"/>
                  </a:lnTo>
                  <a:lnTo>
                    <a:pt x="758" y="946"/>
                  </a:lnTo>
                  <a:lnTo>
                    <a:pt x="753" y="943"/>
                  </a:lnTo>
                  <a:lnTo>
                    <a:pt x="747" y="933"/>
                  </a:lnTo>
                  <a:lnTo>
                    <a:pt x="724" y="905"/>
                  </a:lnTo>
                  <a:lnTo>
                    <a:pt x="711" y="883"/>
                  </a:lnTo>
                  <a:lnTo>
                    <a:pt x="703" y="873"/>
                  </a:lnTo>
                  <a:lnTo>
                    <a:pt x="694" y="869"/>
                  </a:lnTo>
                  <a:lnTo>
                    <a:pt x="682" y="866"/>
                  </a:lnTo>
                  <a:lnTo>
                    <a:pt x="528" y="766"/>
                  </a:lnTo>
                  <a:lnTo>
                    <a:pt x="344" y="688"/>
                  </a:lnTo>
                  <a:lnTo>
                    <a:pt x="321" y="682"/>
                  </a:lnTo>
                  <a:lnTo>
                    <a:pt x="310" y="678"/>
                  </a:lnTo>
                  <a:lnTo>
                    <a:pt x="301" y="670"/>
                  </a:lnTo>
                  <a:lnTo>
                    <a:pt x="297" y="660"/>
                  </a:lnTo>
                  <a:lnTo>
                    <a:pt x="294" y="648"/>
                  </a:lnTo>
                  <a:lnTo>
                    <a:pt x="291" y="638"/>
                  </a:lnTo>
                  <a:lnTo>
                    <a:pt x="282" y="630"/>
                  </a:lnTo>
                  <a:lnTo>
                    <a:pt x="269" y="625"/>
                  </a:lnTo>
                  <a:lnTo>
                    <a:pt x="242" y="619"/>
                  </a:lnTo>
                  <a:lnTo>
                    <a:pt x="230" y="612"/>
                  </a:lnTo>
                  <a:lnTo>
                    <a:pt x="224" y="605"/>
                  </a:lnTo>
                  <a:lnTo>
                    <a:pt x="222" y="595"/>
                  </a:lnTo>
                  <a:lnTo>
                    <a:pt x="220" y="574"/>
                  </a:lnTo>
                  <a:lnTo>
                    <a:pt x="217" y="566"/>
                  </a:lnTo>
                  <a:lnTo>
                    <a:pt x="207" y="548"/>
                  </a:lnTo>
                  <a:lnTo>
                    <a:pt x="205" y="540"/>
                  </a:lnTo>
                  <a:lnTo>
                    <a:pt x="205" y="525"/>
                  </a:lnTo>
                  <a:lnTo>
                    <a:pt x="203" y="519"/>
                  </a:lnTo>
                  <a:lnTo>
                    <a:pt x="190" y="500"/>
                  </a:lnTo>
                  <a:lnTo>
                    <a:pt x="181" y="455"/>
                  </a:lnTo>
                  <a:lnTo>
                    <a:pt x="174" y="440"/>
                  </a:lnTo>
                  <a:lnTo>
                    <a:pt x="164" y="434"/>
                  </a:lnTo>
                  <a:lnTo>
                    <a:pt x="151" y="432"/>
                  </a:lnTo>
                  <a:lnTo>
                    <a:pt x="120" y="439"/>
                  </a:lnTo>
                  <a:lnTo>
                    <a:pt x="110" y="440"/>
                  </a:lnTo>
                  <a:lnTo>
                    <a:pt x="102" y="432"/>
                  </a:lnTo>
                  <a:lnTo>
                    <a:pt x="96" y="417"/>
                  </a:lnTo>
                  <a:lnTo>
                    <a:pt x="90" y="395"/>
                  </a:lnTo>
                  <a:lnTo>
                    <a:pt x="70" y="341"/>
                  </a:lnTo>
                  <a:lnTo>
                    <a:pt x="64" y="332"/>
                  </a:lnTo>
                  <a:lnTo>
                    <a:pt x="55" y="322"/>
                  </a:lnTo>
                  <a:lnTo>
                    <a:pt x="46" y="312"/>
                  </a:lnTo>
                  <a:lnTo>
                    <a:pt x="29" y="298"/>
                  </a:lnTo>
                  <a:lnTo>
                    <a:pt x="0" y="293"/>
                  </a:lnTo>
                  <a:lnTo>
                    <a:pt x="16" y="277"/>
                  </a:lnTo>
                  <a:lnTo>
                    <a:pt x="35" y="243"/>
                  </a:lnTo>
                  <a:lnTo>
                    <a:pt x="38" y="233"/>
                  </a:lnTo>
                  <a:lnTo>
                    <a:pt x="39" y="222"/>
                  </a:lnTo>
                  <a:lnTo>
                    <a:pt x="38" y="150"/>
                  </a:lnTo>
                  <a:lnTo>
                    <a:pt x="72" y="152"/>
                  </a:lnTo>
                  <a:lnTo>
                    <a:pt x="91" y="151"/>
                  </a:lnTo>
                  <a:lnTo>
                    <a:pt x="139" y="143"/>
                  </a:lnTo>
                  <a:lnTo>
                    <a:pt x="155" y="143"/>
                  </a:lnTo>
                  <a:lnTo>
                    <a:pt x="165" y="144"/>
                  </a:lnTo>
                  <a:lnTo>
                    <a:pt x="172" y="147"/>
                  </a:lnTo>
                  <a:lnTo>
                    <a:pt x="178" y="151"/>
                  </a:lnTo>
                  <a:lnTo>
                    <a:pt x="185" y="152"/>
                  </a:lnTo>
                  <a:lnTo>
                    <a:pt x="189" y="149"/>
                  </a:lnTo>
                  <a:lnTo>
                    <a:pt x="193" y="139"/>
                  </a:lnTo>
                  <a:lnTo>
                    <a:pt x="195" y="137"/>
                  </a:lnTo>
                  <a:lnTo>
                    <a:pt x="198" y="136"/>
                  </a:lnTo>
                  <a:lnTo>
                    <a:pt x="205" y="138"/>
                  </a:lnTo>
                  <a:lnTo>
                    <a:pt x="211" y="142"/>
                  </a:lnTo>
                  <a:lnTo>
                    <a:pt x="219" y="143"/>
                  </a:lnTo>
                  <a:lnTo>
                    <a:pt x="229" y="142"/>
                  </a:lnTo>
                  <a:lnTo>
                    <a:pt x="245" y="133"/>
                  </a:lnTo>
                  <a:lnTo>
                    <a:pt x="271" y="116"/>
                  </a:lnTo>
                  <a:lnTo>
                    <a:pt x="279" y="112"/>
                  </a:lnTo>
                  <a:lnTo>
                    <a:pt x="292" y="107"/>
                  </a:lnTo>
                  <a:lnTo>
                    <a:pt x="300" y="105"/>
                  </a:lnTo>
                  <a:lnTo>
                    <a:pt x="313" y="98"/>
                  </a:lnTo>
                  <a:lnTo>
                    <a:pt x="320" y="94"/>
                  </a:lnTo>
                  <a:lnTo>
                    <a:pt x="330" y="93"/>
                  </a:lnTo>
                  <a:lnTo>
                    <a:pt x="338" y="91"/>
                  </a:lnTo>
                  <a:lnTo>
                    <a:pt x="346" y="90"/>
                  </a:lnTo>
                  <a:lnTo>
                    <a:pt x="356" y="92"/>
                  </a:lnTo>
                  <a:lnTo>
                    <a:pt x="363" y="93"/>
                  </a:lnTo>
                  <a:lnTo>
                    <a:pt x="370" y="92"/>
                  </a:lnTo>
                  <a:lnTo>
                    <a:pt x="378" y="89"/>
                  </a:lnTo>
                  <a:lnTo>
                    <a:pt x="387" y="87"/>
                  </a:lnTo>
                  <a:lnTo>
                    <a:pt x="420" y="84"/>
                  </a:lnTo>
                  <a:lnTo>
                    <a:pt x="479" y="56"/>
                  </a:lnTo>
                  <a:lnTo>
                    <a:pt x="488" y="51"/>
                  </a:lnTo>
                  <a:lnTo>
                    <a:pt x="494" y="49"/>
                  </a:lnTo>
                  <a:lnTo>
                    <a:pt x="517" y="49"/>
                  </a:lnTo>
                  <a:lnTo>
                    <a:pt x="535" y="46"/>
                  </a:lnTo>
                  <a:lnTo>
                    <a:pt x="599" y="26"/>
                  </a:lnTo>
                  <a:lnTo>
                    <a:pt x="615" y="17"/>
                  </a:lnTo>
                  <a:lnTo>
                    <a:pt x="622" y="13"/>
                  </a:lnTo>
                  <a:lnTo>
                    <a:pt x="630" y="10"/>
                  </a:lnTo>
                  <a:lnTo>
                    <a:pt x="639" y="8"/>
                  </a:lnTo>
                  <a:lnTo>
                    <a:pt x="751" y="0"/>
                  </a:lnTo>
                  <a:lnTo>
                    <a:pt x="737" y="15"/>
                  </a:lnTo>
                  <a:lnTo>
                    <a:pt x="736" y="20"/>
                  </a:lnTo>
                  <a:lnTo>
                    <a:pt x="737" y="24"/>
                  </a:lnTo>
                  <a:lnTo>
                    <a:pt x="739" y="29"/>
                  </a:lnTo>
                  <a:lnTo>
                    <a:pt x="743" y="49"/>
                  </a:lnTo>
                  <a:lnTo>
                    <a:pt x="748" y="55"/>
                  </a:lnTo>
                  <a:lnTo>
                    <a:pt x="755" y="60"/>
                  </a:lnTo>
                  <a:lnTo>
                    <a:pt x="810" y="72"/>
                  </a:lnTo>
                  <a:lnTo>
                    <a:pt x="875" y="9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8EF311C6-5CFC-8AC7-6640-78D3719E5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221" y="1708048"/>
              <a:ext cx="2356379" cy="1476782"/>
            </a:xfrm>
            <a:custGeom>
              <a:avLst/>
              <a:gdLst>
                <a:gd name="T0" fmla="*/ 397 w 1602"/>
                <a:gd name="T1" fmla="*/ 35 h 1004"/>
                <a:gd name="T2" fmla="*/ 475 w 1602"/>
                <a:gd name="T3" fmla="*/ 26 h 1004"/>
                <a:gd name="T4" fmla="*/ 589 w 1602"/>
                <a:gd name="T5" fmla="*/ 172 h 1004"/>
                <a:gd name="T6" fmla="*/ 662 w 1602"/>
                <a:gd name="T7" fmla="*/ 243 h 1004"/>
                <a:gd name="T8" fmla="*/ 799 w 1602"/>
                <a:gd name="T9" fmla="*/ 294 h 1004"/>
                <a:gd name="T10" fmla="*/ 901 w 1602"/>
                <a:gd name="T11" fmla="*/ 265 h 1004"/>
                <a:gd name="T12" fmla="*/ 1046 w 1602"/>
                <a:gd name="T13" fmla="*/ 310 h 1004"/>
                <a:gd name="T14" fmla="*/ 1131 w 1602"/>
                <a:gd name="T15" fmla="*/ 337 h 1004"/>
                <a:gd name="T16" fmla="*/ 1161 w 1602"/>
                <a:gd name="T17" fmla="*/ 245 h 1004"/>
                <a:gd name="T18" fmla="*/ 1233 w 1602"/>
                <a:gd name="T19" fmla="*/ 257 h 1004"/>
                <a:gd name="T20" fmla="*/ 1278 w 1602"/>
                <a:gd name="T21" fmla="*/ 276 h 1004"/>
                <a:gd name="T22" fmla="*/ 1345 w 1602"/>
                <a:gd name="T23" fmla="*/ 288 h 1004"/>
                <a:gd name="T24" fmla="*/ 1373 w 1602"/>
                <a:gd name="T25" fmla="*/ 305 h 1004"/>
                <a:gd name="T26" fmla="*/ 1423 w 1602"/>
                <a:gd name="T27" fmla="*/ 337 h 1004"/>
                <a:gd name="T28" fmla="*/ 1493 w 1602"/>
                <a:gd name="T29" fmla="*/ 361 h 1004"/>
                <a:gd name="T30" fmla="*/ 1557 w 1602"/>
                <a:gd name="T31" fmla="*/ 384 h 1004"/>
                <a:gd name="T32" fmla="*/ 1576 w 1602"/>
                <a:gd name="T33" fmla="*/ 399 h 1004"/>
                <a:gd name="T34" fmla="*/ 1560 w 1602"/>
                <a:gd name="T35" fmla="*/ 448 h 1004"/>
                <a:gd name="T36" fmla="*/ 1598 w 1602"/>
                <a:gd name="T37" fmla="*/ 607 h 1004"/>
                <a:gd name="T38" fmla="*/ 1511 w 1602"/>
                <a:gd name="T39" fmla="*/ 609 h 1004"/>
                <a:gd name="T40" fmla="*/ 1390 w 1602"/>
                <a:gd name="T41" fmla="*/ 935 h 1004"/>
                <a:gd name="T42" fmla="*/ 1346 w 1602"/>
                <a:gd name="T43" fmla="*/ 968 h 1004"/>
                <a:gd name="T44" fmla="*/ 1292 w 1602"/>
                <a:gd name="T45" fmla="*/ 945 h 1004"/>
                <a:gd name="T46" fmla="*/ 1272 w 1602"/>
                <a:gd name="T47" fmla="*/ 941 h 1004"/>
                <a:gd name="T48" fmla="*/ 1233 w 1602"/>
                <a:gd name="T49" fmla="*/ 905 h 1004"/>
                <a:gd name="T50" fmla="*/ 1197 w 1602"/>
                <a:gd name="T51" fmla="*/ 895 h 1004"/>
                <a:gd name="T52" fmla="*/ 1164 w 1602"/>
                <a:gd name="T53" fmla="*/ 864 h 1004"/>
                <a:gd name="T54" fmla="*/ 1156 w 1602"/>
                <a:gd name="T55" fmla="*/ 866 h 1004"/>
                <a:gd name="T56" fmla="*/ 1105 w 1602"/>
                <a:gd name="T57" fmla="*/ 860 h 1004"/>
                <a:gd name="T58" fmla="*/ 1058 w 1602"/>
                <a:gd name="T59" fmla="*/ 838 h 1004"/>
                <a:gd name="T60" fmla="*/ 1045 w 1602"/>
                <a:gd name="T61" fmla="*/ 827 h 1004"/>
                <a:gd name="T62" fmla="*/ 1007 w 1602"/>
                <a:gd name="T63" fmla="*/ 821 h 1004"/>
                <a:gd name="T64" fmla="*/ 994 w 1602"/>
                <a:gd name="T65" fmla="*/ 823 h 1004"/>
                <a:gd name="T66" fmla="*/ 967 w 1602"/>
                <a:gd name="T67" fmla="*/ 833 h 1004"/>
                <a:gd name="T68" fmla="*/ 929 w 1602"/>
                <a:gd name="T69" fmla="*/ 834 h 1004"/>
                <a:gd name="T70" fmla="*/ 911 w 1602"/>
                <a:gd name="T71" fmla="*/ 834 h 1004"/>
                <a:gd name="T72" fmla="*/ 893 w 1602"/>
                <a:gd name="T73" fmla="*/ 846 h 1004"/>
                <a:gd name="T74" fmla="*/ 846 w 1602"/>
                <a:gd name="T75" fmla="*/ 825 h 1004"/>
                <a:gd name="T76" fmla="*/ 825 w 1602"/>
                <a:gd name="T77" fmla="*/ 811 h 1004"/>
                <a:gd name="T78" fmla="*/ 785 w 1602"/>
                <a:gd name="T79" fmla="*/ 810 h 1004"/>
                <a:gd name="T80" fmla="*/ 767 w 1602"/>
                <a:gd name="T81" fmla="*/ 799 h 1004"/>
                <a:gd name="T82" fmla="*/ 743 w 1602"/>
                <a:gd name="T83" fmla="*/ 764 h 1004"/>
                <a:gd name="T84" fmla="*/ 720 w 1602"/>
                <a:gd name="T85" fmla="*/ 672 h 1004"/>
                <a:gd name="T86" fmla="*/ 645 w 1602"/>
                <a:gd name="T87" fmla="*/ 688 h 1004"/>
                <a:gd name="T88" fmla="*/ 570 w 1602"/>
                <a:gd name="T89" fmla="*/ 705 h 1004"/>
                <a:gd name="T90" fmla="*/ 522 w 1602"/>
                <a:gd name="T91" fmla="*/ 731 h 1004"/>
                <a:gd name="T92" fmla="*/ 369 w 1602"/>
                <a:gd name="T93" fmla="*/ 674 h 1004"/>
                <a:gd name="T94" fmla="*/ 375 w 1602"/>
                <a:gd name="T95" fmla="*/ 614 h 1004"/>
                <a:gd name="T96" fmla="*/ 340 w 1602"/>
                <a:gd name="T97" fmla="*/ 574 h 1004"/>
                <a:gd name="T98" fmla="*/ 290 w 1602"/>
                <a:gd name="T99" fmla="*/ 506 h 1004"/>
                <a:gd name="T100" fmla="*/ 315 w 1602"/>
                <a:gd name="T101" fmla="*/ 448 h 1004"/>
                <a:gd name="T102" fmla="*/ 107 w 1602"/>
                <a:gd name="T103" fmla="*/ 591 h 1004"/>
                <a:gd name="T104" fmla="*/ 28 w 1602"/>
                <a:gd name="T105" fmla="*/ 592 h 1004"/>
                <a:gd name="T106" fmla="*/ 63 w 1602"/>
                <a:gd name="T107" fmla="*/ 479 h 1004"/>
                <a:gd name="T108" fmla="*/ 69 w 1602"/>
                <a:gd name="T109" fmla="*/ 402 h 1004"/>
                <a:gd name="T110" fmla="*/ 2 w 1602"/>
                <a:gd name="T111" fmla="*/ 338 h 1004"/>
                <a:gd name="T112" fmla="*/ 38 w 1602"/>
                <a:gd name="T113" fmla="*/ 288 h 1004"/>
                <a:gd name="T114" fmla="*/ 129 w 1602"/>
                <a:gd name="T115" fmla="*/ 310 h 1004"/>
                <a:gd name="T116" fmla="*/ 184 w 1602"/>
                <a:gd name="T117" fmla="*/ 251 h 1004"/>
                <a:gd name="T118" fmla="*/ 227 w 1602"/>
                <a:gd name="T119" fmla="*/ 215 h 1004"/>
                <a:gd name="T120" fmla="*/ 246 w 1602"/>
                <a:gd name="T121" fmla="*/ 166 h 1004"/>
                <a:gd name="T122" fmla="*/ 224 w 1602"/>
                <a:gd name="T123" fmla="*/ 110 h 1004"/>
                <a:gd name="T124" fmla="*/ 225 w 1602"/>
                <a:gd name="T125" fmla="*/ 0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2" h="1004">
                  <a:moveTo>
                    <a:pt x="291" y="31"/>
                  </a:moveTo>
                  <a:lnTo>
                    <a:pt x="299" y="30"/>
                  </a:lnTo>
                  <a:lnTo>
                    <a:pt x="306" y="26"/>
                  </a:lnTo>
                  <a:lnTo>
                    <a:pt x="317" y="24"/>
                  </a:lnTo>
                  <a:lnTo>
                    <a:pt x="329" y="26"/>
                  </a:lnTo>
                  <a:lnTo>
                    <a:pt x="366" y="37"/>
                  </a:lnTo>
                  <a:lnTo>
                    <a:pt x="383" y="37"/>
                  </a:lnTo>
                  <a:lnTo>
                    <a:pt x="397" y="35"/>
                  </a:lnTo>
                  <a:lnTo>
                    <a:pt x="407" y="30"/>
                  </a:lnTo>
                  <a:lnTo>
                    <a:pt x="415" y="24"/>
                  </a:lnTo>
                  <a:lnTo>
                    <a:pt x="424" y="20"/>
                  </a:lnTo>
                  <a:lnTo>
                    <a:pt x="434" y="16"/>
                  </a:lnTo>
                  <a:lnTo>
                    <a:pt x="453" y="12"/>
                  </a:lnTo>
                  <a:lnTo>
                    <a:pt x="461" y="16"/>
                  </a:lnTo>
                  <a:lnTo>
                    <a:pt x="471" y="21"/>
                  </a:lnTo>
                  <a:lnTo>
                    <a:pt x="475" y="26"/>
                  </a:lnTo>
                  <a:lnTo>
                    <a:pt x="482" y="38"/>
                  </a:lnTo>
                  <a:lnTo>
                    <a:pt x="551" y="120"/>
                  </a:lnTo>
                  <a:lnTo>
                    <a:pt x="572" y="138"/>
                  </a:lnTo>
                  <a:lnTo>
                    <a:pt x="574" y="141"/>
                  </a:lnTo>
                  <a:lnTo>
                    <a:pt x="575" y="143"/>
                  </a:lnTo>
                  <a:lnTo>
                    <a:pt x="575" y="149"/>
                  </a:lnTo>
                  <a:lnTo>
                    <a:pt x="576" y="153"/>
                  </a:lnTo>
                  <a:lnTo>
                    <a:pt x="589" y="172"/>
                  </a:lnTo>
                  <a:lnTo>
                    <a:pt x="594" y="178"/>
                  </a:lnTo>
                  <a:lnTo>
                    <a:pt x="601" y="189"/>
                  </a:lnTo>
                  <a:lnTo>
                    <a:pt x="603" y="192"/>
                  </a:lnTo>
                  <a:lnTo>
                    <a:pt x="607" y="198"/>
                  </a:lnTo>
                  <a:lnTo>
                    <a:pt x="615" y="204"/>
                  </a:lnTo>
                  <a:lnTo>
                    <a:pt x="652" y="230"/>
                  </a:lnTo>
                  <a:lnTo>
                    <a:pt x="658" y="238"/>
                  </a:lnTo>
                  <a:lnTo>
                    <a:pt x="662" y="243"/>
                  </a:lnTo>
                  <a:lnTo>
                    <a:pt x="669" y="253"/>
                  </a:lnTo>
                  <a:lnTo>
                    <a:pt x="683" y="244"/>
                  </a:lnTo>
                  <a:lnTo>
                    <a:pt x="700" y="240"/>
                  </a:lnTo>
                  <a:lnTo>
                    <a:pt x="714" y="259"/>
                  </a:lnTo>
                  <a:lnTo>
                    <a:pt x="749" y="285"/>
                  </a:lnTo>
                  <a:lnTo>
                    <a:pt x="761" y="292"/>
                  </a:lnTo>
                  <a:lnTo>
                    <a:pt x="788" y="291"/>
                  </a:lnTo>
                  <a:lnTo>
                    <a:pt x="799" y="294"/>
                  </a:lnTo>
                  <a:lnTo>
                    <a:pt x="804" y="304"/>
                  </a:lnTo>
                  <a:lnTo>
                    <a:pt x="810" y="310"/>
                  </a:lnTo>
                  <a:lnTo>
                    <a:pt x="826" y="303"/>
                  </a:lnTo>
                  <a:lnTo>
                    <a:pt x="853" y="283"/>
                  </a:lnTo>
                  <a:lnTo>
                    <a:pt x="860" y="281"/>
                  </a:lnTo>
                  <a:lnTo>
                    <a:pt x="882" y="273"/>
                  </a:lnTo>
                  <a:lnTo>
                    <a:pt x="895" y="267"/>
                  </a:lnTo>
                  <a:lnTo>
                    <a:pt x="901" y="265"/>
                  </a:lnTo>
                  <a:lnTo>
                    <a:pt x="953" y="260"/>
                  </a:lnTo>
                  <a:lnTo>
                    <a:pt x="1016" y="265"/>
                  </a:lnTo>
                  <a:lnTo>
                    <a:pt x="1019" y="268"/>
                  </a:lnTo>
                  <a:lnTo>
                    <a:pt x="1023" y="276"/>
                  </a:lnTo>
                  <a:lnTo>
                    <a:pt x="1027" y="283"/>
                  </a:lnTo>
                  <a:lnTo>
                    <a:pt x="1029" y="299"/>
                  </a:lnTo>
                  <a:lnTo>
                    <a:pt x="1033" y="304"/>
                  </a:lnTo>
                  <a:lnTo>
                    <a:pt x="1046" y="310"/>
                  </a:lnTo>
                  <a:lnTo>
                    <a:pt x="1073" y="330"/>
                  </a:lnTo>
                  <a:lnTo>
                    <a:pt x="1088" y="338"/>
                  </a:lnTo>
                  <a:lnTo>
                    <a:pt x="1104" y="343"/>
                  </a:lnTo>
                  <a:lnTo>
                    <a:pt x="1120" y="344"/>
                  </a:lnTo>
                  <a:lnTo>
                    <a:pt x="1127" y="345"/>
                  </a:lnTo>
                  <a:lnTo>
                    <a:pt x="1131" y="343"/>
                  </a:lnTo>
                  <a:lnTo>
                    <a:pt x="1132" y="340"/>
                  </a:lnTo>
                  <a:lnTo>
                    <a:pt x="1131" y="337"/>
                  </a:lnTo>
                  <a:lnTo>
                    <a:pt x="1127" y="332"/>
                  </a:lnTo>
                  <a:lnTo>
                    <a:pt x="1124" y="324"/>
                  </a:lnTo>
                  <a:lnTo>
                    <a:pt x="1118" y="269"/>
                  </a:lnTo>
                  <a:lnTo>
                    <a:pt x="1118" y="258"/>
                  </a:lnTo>
                  <a:lnTo>
                    <a:pt x="1120" y="252"/>
                  </a:lnTo>
                  <a:lnTo>
                    <a:pt x="1129" y="247"/>
                  </a:lnTo>
                  <a:lnTo>
                    <a:pt x="1139" y="245"/>
                  </a:lnTo>
                  <a:lnTo>
                    <a:pt x="1161" y="245"/>
                  </a:lnTo>
                  <a:lnTo>
                    <a:pt x="1173" y="249"/>
                  </a:lnTo>
                  <a:lnTo>
                    <a:pt x="1183" y="254"/>
                  </a:lnTo>
                  <a:lnTo>
                    <a:pt x="1190" y="259"/>
                  </a:lnTo>
                  <a:lnTo>
                    <a:pt x="1198" y="260"/>
                  </a:lnTo>
                  <a:lnTo>
                    <a:pt x="1203" y="260"/>
                  </a:lnTo>
                  <a:lnTo>
                    <a:pt x="1210" y="258"/>
                  </a:lnTo>
                  <a:lnTo>
                    <a:pt x="1216" y="257"/>
                  </a:lnTo>
                  <a:lnTo>
                    <a:pt x="1233" y="257"/>
                  </a:lnTo>
                  <a:lnTo>
                    <a:pt x="1240" y="255"/>
                  </a:lnTo>
                  <a:lnTo>
                    <a:pt x="1247" y="253"/>
                  </a:lnTo>
                  <a:lnTo>
                    <a:pt x="1253" y="252"/>
                  </a:lnTo>
                  <a:lnTo>
                    <a:pt x="1259" y="253"/>
                  </a:lnTo>
                  <a:lnTo>
                    <a:pt x="1265" y="256"/>
                  </a:lnTo>
                  <a:lnTo>
                    <a:pt x="1268" y="260"/>
                  </a:lnTo>
                  <a:lnTo>
                    <a:pt x="1274" y="270"/>
                  </a:lnTo>
                  <a:lnTo>
                    <a:pt x="1278" y="276"/>
                  </a:lnTo>
                  <a:lnTo>
                    <a:pt x="1287" y="279"/>
                  </a:lnTo>
                  <a:lnTo>
                    <a:pt x="1294" y="279"/>
                  </a:lnTo>
                  <a:lnTo>
                    <a:pt x="1304" y="277"/>
                  </a:lnTo>
                  <a:lnTo>
                    <a:pt x="1311" y="273"/>
                  </a:lnTo>
                  <a:lnTo>
                    <a:pt x="1316" y="273"/>
                  </a:lnTo>
                  <a:lnTo>
                    <a:pt x="1322" y="276"/>
                  </a:lnTo>
                  <a:lnTo>
                    <a:pt x="1330" y="281"/>
                  </a:lnTo>
                  <a:lnTo>
                    <a:pt x="1345" y="288"/>
                  </a:lnTo>
                  <a:lnTo>
                    <a:pt x="1353" y="292"/>
                  </a:lnTo>
                  <a:lnTo>
                    <a:pt x="1357" y="295"/>
                  </a:lnTo>
                  <a:lnTo>
                    <a:pt x="1358" y="299"/>
                  </a:lnTo>
                  <a:lnTo>
                    <a:pt x="1360" y="303"/>
                  </a:lnTo>
                  <a:lnTo>
                    <a:pt x="1364" y="304"/>
                  </a:lnTo>
                  <a:lnTo>
                    <a:pt x="1370" y="299"/>
                  </a:lnTo>
                  <a:lnTo>
                    <a:pt x="1372" y="302"/>
                  </a:lnTo>
                  <a:lnTo>
                    <a:pt x="1373" y="305"/>
                  </a:lnTo>
                  <a:lnTo>
                    <a:pt x="1374" y="312"/>
                  </a:lnTo>
                  <a:lnTo>
                    <a:pt x="1377" y="317"/>
                  </a:lnTo>
                  <a:lnTo>
                    <a:pt x="1380" y="321"/>
                  </a:lnTo>
                  <a:lnTo>
                    <a:pt x="1383" y="325"/>
                  </a:lnTo>
                  <a:lnTo>
                    <a:pt x="1392" y="332"/>
                  </a:lnTo>
                  <a:lnTo>
                    <a:pt x="1412" y="338"/>
                  </a:lnTo>
                  <a:lnTo>
                    <a:pt x="1419" y="338"/>
                  </a:lnTo>
                  <a:lnTo>
                    <a:pt x="1423" y="337"/>
                  </a:lnTo>
                  <a:lnTo>
                    <a:pt x="1454" y="338"/>
                  </a:lnTo>
                  <a:lnTo>
                    <a:pt x="1461" y="341"/>
                  </a:lnTo>
                  <a:lnTo>
                    <a:pt x="1469" y="345"/>
                  </a:lnTo>
                  <a:lnTo>
                    <a:pt x="1474" y="347"/>
                  </a:lnTo>
                  <a:lnTo>
                    <a:pt x="1485" y="347"/>
                  </a:lnTo>
                  <a:lnTo>
                    <a:pt x="1488" y="349"/>
                  </a:lnTo>
                  <a:lnTo>
                    <a:pt x="1490" y="355"/>
                  </a:lnTo>
                  <a:lnTo>
                    <a:pt x="1493" y="361"/>
                  </a:lnTo>
                  <a:lnTo>
                    <a:pt x="1495" y="368"/>
                  </a:lnTo>
                  <a:lnTo>
                    <a:pt x="1498" y="371"/>
                  </a:lnTo>
                  <a:lnTo>
                    <a:pt x="1503" y="373"/>
                  </a:lnTo>
                  <a:lnTo>
                    <a:pt x="1510" y="374"/>
                  </a:lnTo>
                  <a:lnTo>
                    <a:pt x="1521" y="379"/>
                  </a:lnTo>
                  <a:lnTo>
                    <a:pt x="1544" y="385"/>
                  </a:lnTo>
                  <a:lnTo>
                    <a:pt x="1551" y="385"/>
                  </a:lnTo>
                  <a:lnTo>
                    <a:pt x="1557" y="384"/>
                  </a:lnTo>
                  <a:lnTo>
                    <a:pt x="1561" y="383"/>
                  </a:lnTo>
                  <a:lnTo>
                    <a:pt x="1563" y="384"/>
                  </a:lnTo>
                  <a:lnTo>
                    <a:pt x="1564" y="386"/>
                  </a:lnTo>
                  <a:lnTo>
                    <a:pt x="1563" y="394"/>
                  </a:lnTo>
                  <a:lnTo>
                    <a:pt x="1564" y="398"/>
                  </a:lnTo>
                  <a:lnTo>
                    <a:pt x="1566" y="399"/>
                  </a:lnTo>
                  <a:lnTo>
                    <a:pt x="1575" y="399"/>
                  </a:lnTo>
                  <a:lnTo>
                    <a:pt x="1576" y="399"/>
                  </a:lnTo>
                  <a:lnTo>
                    <a:pt x="1576" y="399"/>
                  </a:lnTo>
                  <a:lnTo>
                    <a:pt x="1568" y="402"/>
                  </a:lnTo>
                  <a:lnTo>
                    <a:pt x="1561" y="408"/>
                  </a:lnTo>
                  <a:lnTo>
                    <a:pt x="1558" y="415"/>
                  </a:lnTo>
                  <a:lnTo>
                    <a:pt x="1559" y="422"/>
                  </a:lnTo>
                  <a:lnTo>
                    <a:pt x="1561" y="435"/>
                  </a:lnTo>
                  <a:lnTo>
                    <a:pt x="1562" y="441"/>
                  </a:lnTo>
                  <a:lnTo>
                    <a:pt x="1560" y="448"/>
                  </a:lnTo>
                  <a:lnTo>
                    <a:pt x="1557" y="460"/>
                  </a:lnTo>
                  <a:lnTo>
                    <a:pt x="1555" y="468"/>
                  </a:lnTo>
                  <a:lnTo>
                    <a:pt x="1586" y="569"/>
                  </a:lnTo>
                  <a:lnTo>
                    <a:pt x="1586" y="576"/>
                  </a:lnTo>
                  <a:lnTo>
                    <a:pt x="1585" y="588"/>
                  </a:lnTo>
                  <a:lnTo>
                    <a:pt x="1586" y="593"/>
                  </a:lnTo>
                  <a:lnTo>
                    <a:pt x="1591" y="601"/>
                  </a:lnTo>
                  <a:lnTo>
                    <a:pt x="1598" y="607"/>
                  </a:lnTo>
                  <a:lnTo>
                    <a:pt x="1602" y="614"/>
                  </a:lnTo>
                  <a:lnTo>
                    <a:pt x="1602" y="618"/>
                  </a:lnTo>
                  <a:lnTo>
                    <a:pt x="1597" y="618"/>
                  </a:lnTo>
                  <a:lnTo>
                    <a:pt x="1565" y="618"/>
                  </a:lnTo>
                  <a:lnTo>
                    <a:pt x="1536" y="621"/>
                  </a:lnTo>
                  <a:lnTo>
                    <a:pt x="1521" y="621"/>
                  </a:lnTo>
                  <a:lnTo>
                    <a:pt x="1514" y="616"/>
                  </a:lnTo>
                  <a:lnTo>
                    <a:pt x="1511" y="609"/>
                  </a:lnTo>
                  <a:lnTo>
                    <a:pt x="1501" y="599"/>
                  </a:lnTo>
                  <a:lnTo>
                    <a:pt x="1483" y="581"/>
                  </a:lnTo>
                  <a:lnTo>
                    <a:pt x="1479" y="587"/>
                  </a:lnTo>
                  <a:lnTo>
                    <a:pt x="1470" y="620"/>
                  </a:lnTo>
                  <a:lnTo>
                    <a:pt x="1449" y="699"/>
                  </a:lnTo>
                  <a:lnTo>
                    <a:pt x="1430" y="778"/>
                  </a:lnTo>
                  <a:lnTo>
                    <a:pt x="1409" y="857"/>
                  </a:lnTo>
                  <a:lnTo>
                    <a:pt x="1390" y="935"/>
                  </a:lnTo>
                  <a:lnTo>
                    <a:pt x="1380" y="974"/>
                  </a:lnTo>
                  <a:lnTo>
                    <a:pt x="1371" y="998"/>
                  </a:lnTo>
                  <a:lnTo>
                    <a:pt x="1366" y="1004"/>
                  </a:lnTo>
                  <a:lnTo>
                    <a:pt x="1366" y="1004"/>
                  </a:lnTo>
                  <a:lnTo>
                    <a:pt x="1358" y="991"/>
                  </a:lnTo>
                  <a:lnTo>
                    <a:pt x="1355" y="977"/>
                  </a:lnTo>
                  <a:lnTo>
                    <a:pt x="1352" y="970"/>
                  </a:lnTo>
                  <a:lnTo>
                    <a:pt x="1346" y="968"/>
                  </a:lnTo>
                  <a:lnTo>
                    <a:pt x="1341" y="967"/>
                  </a:lnTo>
                  <a:lnTo>
                    <a:pt x="1334" y="965"/>
                  </a:lnTo>
                  <a:lnTo>
                    <a:pt x="1330" y="961"/>
                  </a:lnTo>
                  <a:lnTo>
                    <a:pt x="1326" y="959"/>
                  </a:lnTo>
                  <a:lnTo>
                    <a:pt x="1321" y="958"/>
                  </a:lnTo>
                  <a:lnTo>
                    <a:pt x="1318" y="955"/>
                  </a:lnTo>
                  <a:lnTo>
                    <a:pt x="1298" y="947"/>
                  </a:lnTo>
                  <a:lnTo>
                    <a:pt x="1292" y="945"/>
                  </a:lnTo>
                  <a:lnTo>
                    <a:pt x="1288" y="943"/>
                  </a:lnTo>
                  <a:lnTo>
                    <a:pt x="1287" y="941"/>
                  </a:lnTo>
                  <a:lnTo>
                    <a:pt x="1286" y="938"/>
                  </a:lnTo>
                  <a:lnTo>
                    <a:pt x="1283" y="937"/>
                  </a:lnTo>
                  <a:lnTo>
                    <a:pt x="1281" y="939"/>
                  </a:lnTo>
                  <a:lnTo>
                    <a:pt x="1278" y="941"/>
                  </a:lnTo>
                  <a:lnTo>
                    <a:pt x="1274" y="943"/>
                  </a:lnTo>
                  <a:lnTo>
                    <a:pt x="1272" y="941"/>
                  </a:lnTo>
                  <a:lnTo>
                    <a:pt x="1269" y="935"/>
                  </a:lnTo>
                  <a:lnTo>
                    <a:pt x="1263" y="927"/>
                  </a:lnTo>
                  <a:lnTo>
                    <a:pt x="1257" y="917"/>
                  </a:lnTo>
                  <a:lnTo>
                    <a:pt x="1256" y="915"/>
                  </a:lnTo>
                  <a:lnTo>
                    <a:pt x="1254" y="909"/>
                  </a:lnTo>
                  <a:lnTo>
                    <a:pt x="1251" y="907"/>
                  </a:lnTo>
                  <a:lnTo>
                    <a:pt x="1242" y="907"/>
                  </a:lnTo>
                  <a:lnTo>
                    <a:pt x="1233" y="905"/>
                  </a:lnTo>
                  <a:lnTo>
                    <a:pt x="1223" y="904"/>
                  </a:lnTo>
                  <a:lnTo>
                    <a:pt x="1221" y="903"/>
                  </a:lnTo>
                  <a:lnTo>
                    <a:pt x="1217" y="900"/>
                  </a:lnTo>
                  <a:lnTo>
                    <a:pt x="1215" y="898"/>
                  </a:lnTo>
                  <a:lnTo>
                    <a:pt x="1210" y="894"/>
                  </a:lnTo>
                  <a:lnTo>
                    <a:pt x="1205" y="893"/>
                  </a:lnTo>
                  <a:lnTo>
                    <a:pt x="1201" y="894"/>
                  </a:lnTo>
                  <a:lnTo>
                    <a:pt x="1197" y="895"/>
                  </a:lnTo>
                  <a:lnTo>
                    <a:pt x="1196" y="894"/>
                  </a:lnTo>
                  <a:lnTo>
                    <a:pt x="1196" y="892"/>
                  </a:lnTo>
                  <a:lnTo>
                    <a:pt x="1195" y="888"/>
                  </a:lnTo>
                  <a:lnTo>
                    <a:pt x="1189" y="877"/>
                  </a:lnTo>
                  <a:lnTo>
                    <a:pt x="1185" y="875"/>
                  </a:lnTo>
                  <a:lnTo>
                    <a:pt x="1169" y="870"/>
                  </a:lnTo>
                  <a:lnTo>
                    <a:pt x="1165" y="867"/>
                  </a:lnTo>
                  <a:lnTo>
                    <a:pt x="1164" y="864"/>
                  </a:lnTo>
                  <a:lnTo>
                    <a:pt x="1166" y="861"/>
                  </a:lnTo>
                  <a:lnTo>
                    <a:pt x="1166" y="857"/>
                  </a:lnTo>
                  <a:lnTo>
                    <a:pt x="1164" y="857"/>
                  </a:lnTo>
                  <a:lnTo>
                    <a:pt x="1161" y="859"/>
                  </a:lnTo>
                  <a:lnTo>
                    <a:pt x="1157" y="859"/>
                  </a:lnTo>
                  <a:lnTo>
                    <a:pt x="1155" y="860"/>
                  </a:lnTo>
                  <a:lnTo>
                    <a:pt x="1155" y="863"/>
                  </a:lnTo>
                  <a:lnTo>
                    <a:pt x="1156" y="866"/>
                  </a:lnTo>
                  <a:lnTo>
                    <a:pt x="1155" y="869"/>
                  </a:lnTo>
                  <a:lnTo>
                    <a:pt x="1152" y="870"/>
                  </a:lnTo>
                  <a:lnTo>
                    <a:pt x="1148" y="872"/>
                  </a:lnTo>
                  <a:lnTo>
                    <a:pt x="1142" y="870"/>
                  </a:lnTo>
                  <a:lnTo>
                    <a:pt x="1130" y="870"/>
                  </a:lnTo>
                  <a:lnTo>
                    <a:pt x="1119" y="868"/>
                  </a:lnTo>
                  <a:lnTo>
                    <a:pt x="1110" y="864"/>
                  </a:lnTo>
                  <a:lnTo>
                    <a:pt x="1105" y="860"/>
                  </a:lnTo>
                  <a:lnTo>
                    <a:pt x="1101" y="857"/>
                  </a:lnTo>
                  <a:lnTo>
                    <a:pt x="1093" y="857"/>
                  </a:lnTo>
                  <a:lnTo>
                    <a:pt x="1091" y="855"/>
                  </a:lnTo>
                  <a:lnTo>
                    <a:pt x="1087" y="851"/>
                  </a:lnTo>
                  <a:lnTo>
                    <a:pt x="1082" y="846"/>
                  </a:lnTo>
                  <a:lnTo>
                    <a:pt x="1074" y="843"/>
                  </a:lnTo>
                  <a:lnTo>
                    <a:pt x="1066" y="842"/>
                  </a:lnTo>
                  <a:lnTo>
                    <a:pt x="1058" y="838"/>
                  </a:lnTo>
                  <a:lnTo>
                    <a:pt x="1055" y="837"/>
                  </a:lnTo>
                  <a:lnTo>
                    <a:pt x="1052" y="837"/>
                  </a:lnTo>
                  <a:lnTo>
                    <a:pt x="1051" y="839"/>
                  </a:lnTo>
                  <a:lnTo>
                    <a:pt x="1047" y="840"/>
                  </a:lnTo>
                  <a:lnTo>
                    <a:pt x="1046" y="838"/>
                  </a:lnTo>
                  <a:lnTo>
                    <a:pt x="1046" y="835"/>
                  </a:lnTo>
                  <a:lnTo>
                    <a:pt x="1046" y="830"/>
                  </a:lnTo>
                  <a:lnTo>
                    <a:pt x="1045" y="827"/>
                  </a:lnTo>
                  <a:lnTo>
                    <a:pt x="1043" y="823"/>
                  </a:lnTo>
                  <a:lnTo>
                    <a:pt x="1041" y="822"/>
                  </a:lnTo>
                  <a:lnTo>
                    <a:pt x="1039" y="824"/>
                  </a:lnTo>
                  <a:lnTo>
                    <a:pt x="1036" y="826"/>
                  </a:lnTo>
                  <a:lnTo>
                    <a:pt x="1033" y="827"/>
                  </a:lnTo>
                  <a:lnTo>
                    <a:pt x="1026" y="827"/>
                  </a:lnTo>
                  <a:lnTo>
                    <a:pt x="1014" y="821"/>
                  </a:lnTo>
                  <a:lnTo>
                    <a:pt x="1007" y="821"/>
                  </a:lnTo>
                  <a:lnTo>
                    <a:pt x="1004" y="822"/>
                  </a:lnTo>
                  <a:lnTo>
                    <a:pt x="1003" y="824"/>
                  </a:lnTo>
                  <a:lnTo>
                    <a:pt x="1002" y="825"/>
                  </a:lnTo>
                  <a:lnTo>
                    <a:pt x="1001" y="824"/>
                  </a:lnTo>
                  <a:lnTo>
                    <a:pt x="1000" y="822"/>
                  </a:lnTo>
                  <a:lnTo>
                    <a:pt x="999" y="821"/>
                  </a:lnTo>
                  <a:lnTo>
                    <a:pt x="996" y="821"/>
                  </a:lnTo>
                  <a:lnTo>
                    <a:pt x="994" y="823"/>
                  </a:lnTo>
                  <a:lnTo>
                    <a:pt x="988" y="829"/>
                  </a:lnTo>
                  <a:lnTo>
                    <a:pt x="986" y="831"/>
                  </a:lnTo>
                  <a:lnTo>
                    <a:pt x="983" y="834"/>
                  </a:lnTo>
                  <a:lnTo>
                    <a:pt x="981" y="835"/>
                  </a:lnTo>
                  <a:lnTo>
                    <a:pt x="977" y="834"/>
                  </a:lnTo>
                  <a:lnTo>
                    <a:pt x="974" y="834"/>
                  </a:lnTo>
                  <a:lnTo>
                    <a:pt x="969" y="834"/>
                  </a:lnTo>
                  <a:lnTo>
                    <a:pt x="967" y="833"/>
                  </a:lnTo>
                  <a:lnTo>
                    <a:pt x="964" y="829"/>
                  </a:lnTo>
                  <a:lnTo>
                    <a:pt x="961" y="830"/>
                  </a:lnTo>
                  <a:lnTo>
                    <a:pt x="949" y="831"/>
                  </a:lnTo>
                  <a:lnTo>
                    <a:pt x="943" y="828"/>
                  </a:lnTo>
                  <a:lnTo>
                    <a:pt x="940" y="828"/>
                  </a:lnTo>
                  <a:lnTo>
                    <a:pt x="936" y="829"/>
                  </a:lnTo>
                  <a:lnTo>
                    <a:pt x="932" y="831"/>
                  </a:lnTo>
                  <a:lnTo>
                    <a:pt x="929" y="834"/>
                  </a:lnTo>
                  <a:lnTo>
                    <a:pt x="926" y="833"/>
                  </a:lnTo>
                  <a:lnTo>
                    <a:pt x="925" y="830"/>
                  </a:lnTo>
                  <a:lnTo>
                    <a:pt x="923" y="827"/>
                  </a:lnTo>
                  <a:lnTo>
                    <a:pt x="921" y="827"/>
                  </a:lnTo>
                  <a:lnTo>
                    <a:pt x="918" y="829"/>
                  </a:lnTo>
                  <a:lnTo>
                    <a:pt x="916" y="833"/>
                  </a:lnTo>
                  <a:lnTo>
                    <a:pt x="914" y="835"/>
                  </a:lnTo>
                  <a:lnTo>
                    <a:pt x="911" y="834"/>
                  </a:lnTo>
                  <a:lnTo>
                    <a:pt x="909" y="835"/>
                  </a:lnTo>
                  <a:lnTo>
                    <a:pt x="908" y="835"/>
                  </a:lnTo>
                  <a:lnTo>
                    <a:pt x="905" y="837"/>
                  </a:lnTo>
                  <a:lnTo>
                    <a:pt x="901" y="839"/>
                  </a:lnTo>
                  <a:lnTo>
                    <a:pt x="899" y="842"/>
                  </a:lnTo>
                  <a:lnTo>
                    <a:pt x="898" y="844"/>
                  </a:lnTo>
                  <a:lnTo>
                    <a:pt x="895" y="847"/>
                  </a:lnTo>
                  <a:lnTo>
                    <a:pt x="893" y="846"/>
                  </a:lnTo>
                  <a:lnTo>
                    <a:pt x="893" y="841"/>
                  </a:lnTo>
                  <a:lnTo>
                    <a:pt x="891" y="839"/>
                  </a:lnTo>
                  <a:lnTo>
                    <a:pt x="886" y="837"/>
                  </a:lnTo>
                  <a:lnTo>
                    <a:pt x="875" y="836"/>
                  </a:lnTo>
                  <a:lnTo>
                    <a:pt x="859" y="831"/>
                  </a:lnTo>
                  <a:lnTo>
                    <a:pt x="849" y="829"/>
                  </a:lnTo>
                  <a:lnTo>
                    <a:pt x="845" y="827"/>
                  </a:lnTo>
                  <a:lnTo>
                    <a:pt x="846" y="825"/>
                  </a:lnTo>
                  <a:lnTo>
                    <a:pt x="847" y="823"/>
                  </a:lnTo>
                  <a:lnTo>
                    <a:pt x="847" y="821"/>
                  </a:lnTo>
                  <a:lnTo>
                    <a:pt x="844" y="816"/>
                  </a:lnTo>
                  <a:lnTo>
                    <a:pt x="843" y="814"/>
                  </a:lnTo>
                  <a:lnTo>
                    <a:pt x="839" y="813"/>
                  </a:lnTo>
                  <a:lnTo>
                    <a:pt x="835" y="814"/>
                  </a:lnTo>
                  <a:lnTo>
                    <a:pt x="831" y="813"/>
                  </a:lnTo>
                  <a:lnTo>
                    <a:pt x="825" y="811"/>
                  </a:lnTo>
                  <a:lnTo>
                    <a:pt x="822" y="808"/>
                  </a:lnTo>
                  <a:lnTo>
                    <a:pt x="818" y="808"/>
                  </a:lnTo>
                  <a:lnTo>
                    <a:pt x="813" y="809"/>
                  </a:lnTo>
                  <a:lnTo>
                    <a:pt x="809" y="811"/>
                  </a:lnTo>
                  <a:lnTo>
                    <a:pt x="801" y="812"/>
                  </a:lnTo>
                  <a:lnTo>
                    <a:pt x="795" y="811"/>
                  </a:lnTo>
                  <a:lnTo>
                    <a:pt x="787" y="812"/>
                  </a:lnTo>
                  <a:lnTo>
                    <a:pt x="785" y="810"/>
                  </a:lnTo>
                  <a:lnTo>
                    <a:pt x="785" y="808"/>
                  </a:lnTo>
                  <a:lnTo>
                    <a:pt x="785" y="805"/>
                  </a:lnTo>
                  <a:lnTo>
                    <a:pt x="785" y="803"/>
                  </a:lnTo>
                  <a:lnTo>
                    <a:pt x="783" y="803"/>
                  </a:lnTo>
                  <a:lnTo>
                    <a:pt x="780" y="805"/>
                  </a:lnTo>
                  <a:lnTo>
                    <a:pt x="774" y="807"/>
                  </a:lnTo>
                  <a:lnTo>
                    <a:pt x="771" y="804"/>
                  </a:lnTo>
                  <a:lnTo>
                    <a:pt x="767" y="799"/>
                  </a:lnTo>
                  <a:lnTo>
                    <a:pt x="767" y="796"/>
                  </a:lnTo>
                  <a:lnTo>
                    <a:pt x="766" y="791"/>
                  </a:lnTo>
                  <a:lnTo>
                    <a:pt x="765" y="788"/>
                  </a:lnTo>
                  <a:lnTo>
                    <a:pt x="761" y="785"/>
                  </a:lnTo>
                  <a:lnTo>
                    <a:pt x="755" y="781"/>
                  </a:lnTo>
                  <a:lnTo>
                    <a:pt x="752" y="776"/>
                  </a:lnTo>
                  <a:lnTo>
                    <a:pt x="748" y="771"/>
                  </a:lnTo>
                  <a:lnTo>
                    <a:pt x="743" y="764"/>
                  </a:lnTo>
                  <a:lnTo>
                    <a:pt x="740" y="753"/>
                  </a:lnTo>
                  <a:lnTo>
                    <a:pt x="737" y="739"/>
                  </a:lnTo>
                  <a:lnTo>
                    <a:pt x="737" y="713"/>
                  </a:lnTo>
                  <a:lnTo>
                    <a:pt x="740" y="705"/>
                  </a:lnTo>
                  <a:lnTo>
                    <a:pt x="741" y="695"/>
                  </a:lnTo>
                  <a:lnTo>
                    <a:pt x="737" y="686"/>
                  </a:lnTo>
                  <a:lnTo>
                    <a:pt x="729" y="677"/>
                  </a:lnTo>
                  <a:lnTo>
                    <a:pt x="720" y="672"/>
                  </a:lnTo>
                  <a:lnTo>
                    <a:pt x="708" y="669"/>
                  </a:lnTo>
                  <a:lnTo>
                    <a:pt x="696" y="668"/>
                  </a:lnTo>
                  <a:lnTo>
                    <a:pt x="687" y="669"/>
                  </a:lnTo>
                  <a:lnTo>
                    <a:pt x="670" y="674"/>
                  </a:lnTo>
                  <a:lnTo>
                    <a:pt x="657" y="677"/>
                  </a:lnTo>
                  <a:lnTo>
                    <a:pt x="654" y="678"/>
                  </a:lnTo>
                  <a:lnTo>
                    <a:pt x="650" y="685"/>
                  </a:lnTo>
                  <a:lnTo>
                    <a:pt x="645" y="688"/>
                  </a:lnTo>
                  <a:lnTo>
                    <a:pt x="640" y="690"/>
                  </a:lnTo>
                  <a:lnTo>
                    <a:pt x="633" y="691"/>
                  </a:lnTo>
                  <a:lnTo>
                    <a:pt x="619" y="695"/>
                  </a:lnTo>
                  <a:lnTo>
                    <a:pt x="606" y="697"/>
                  </a:lnTo>
                  <a:lnTo>
                    <a:pt x="590" y="697"/>
                  </a:lnTo>
                  <a:lnTo>
                    <a:pt x="585" y="698"/>
                  </a:lnTo>
                  <a:lnTo>
                    <a:pt x="576" y="704"/>
                  </a:lnTo>
                  <a:lnTo>
                    <a:pt x="570" y="705"/>
                  </a:lnTo>
                  <a:lnTo>
                    <a:pt x="560" y="703"/>
                  </a:lnTo>
                  <a:lnTo>
                    <a:pt x="552" y="698"/>
                  </a:lnTo>
                  <a:lnTo>
                    <a:pt x="547" y="697"/>
                  </a:lnTo>
                  <a:lnTo>
                    <a:pt x="542" y="698"/>
                  </a:lnTo>
                  <a:lnTo>
                    <a:pt x="529" y="710"/>
                  </a:lnTo>
                  <a:lnTo>
                    <a:pt x="526" y="716"/>
                  </a:lnTo>
                  <a:lnTo>
                    <a:pt x="524" y="723"/>
                  </a:lnTo>
                  <a:lnTo>
                    <a:pt x="522" y="731"/>
                  </a:lnTo>
                  <a:lnTo>
                    <a:pt x="521" y="737"/>
                  </a:lnTo>
                  <a:lnTo>
                    <a:pt x="516" y="743"/>
                  </a:lnTo>
                  <a:lnTo>
                    <a:pt x="505" y="744"/>
                  </a:lnTo>
                  <a:lnTo>
                    <a:pt x="440" y="717"/>
                  </a:lnTo>
                  <a:lnTo>
                    <a:pt x="385" y="705"/>
                  </a:lnTo>
                  <a:lnTo>
                    <a:pt x="378" y="700"/>
                  </a:lnTo>
                  <a:lnTo>
                    <a:pt x="373" y="694"/>
                  </a:lnTo>
                  <a:lnTo>
                    <a:pt x="369" y="674"/>
                  </a:lnTo>
                  <a:lnTo>
                    <a:pt x="367" y="669"/>
                  </a:lnTo>
                  <a:lnTo>
                    <a:pt x="366" y="665"/>
                  </a:lnTo>
                  <a:lnTo>
                    <a:pt x="367" y="660"/>
                  </a:lnTo>
                  <a:lnTo>
                    <a:pt x="381" y="645"/>
                  </a:lnTo>
                  <a:lnTo>
                    <a:pt x="386" y="630"/>
                  </a:lnTo>
                  <a:lnTo>
                    <a:pt x="381" y="622"/>
                  </a:lnTo>
                  <a:lnTo>
                    <a:pt x="377" y="619"/>
                  </a:lnTo>
                  <a:lnTo>
                    <a:pt x="375" y="614"/>
                  </a:lnTo>
                  <a:lnTo>
                    <a:pt x="376" y="609"/>
                  </a:lnTo>
                  <a:lnTo>
                    <a:pt x="388" y="599"/>
                  </a:lnTo>
                  <a:lnTo>
                    <a:pt x="392" y="593"/>
                  </a:lnTo>
                  <a:lnTo>
                    <a:pt x="392" y="588"/>
                  </a:lnTo>
                  <a:lnTo>
                    <a:pt x="388" y="584"/>
                  </a:lnTo>
                  <a:lnTo>
                    <a:pt x="379" y="582"/>
                  </a:lnTo>
                  <a:lnTo>
                    <a:pt x="351" y="578"/>
                  </a:lnTo>
                  <a:lnTo>
                    <a:pt x="340" y="574"/>
                  </a:lnTo>
                  <a:lnTo>
                    <a:pt x="308" y="553"/>
                  </a:lnTo>
                  <a:lnTo>
                    <a:pt x="303" y="550"/>
                  </a:lnTo>
                  <a:lnTo>
                    <a:pt x="298" y="548"/>
                  </a:lnTo>
                  <a:lnTo>
                    <a:pt x="290" y="544"/>
                  </a:lnTo>
                  <a:lnTo>
                    <a:pt x="287" y="539"/>
                  </a:lnTo>
                  <a:lnTo>
                    <a:pt x="285" y="528"/>
                  </a:lnTo>
                  <a:lnTo>
                    <a:pt x="286" y="517"/>
                  </a:lnTo>
                  <a:lnTo>
                    <a:pt x="290" y="506"/>
                  </a:lnTo>
                  <a:lnTo>
                    <a:pt x="298" y="496"/>
                  </a:lnTo>
                  <a:lnTo>
                    <a:pt x="330" y="465"/>
                  </a:lnTo>
                  <a:lnTo>
                    <a:pt x="337" y="458"/>
                  </a:lnTo>
                  <a:lnTo>
                    <a:pt x="339" y="450"/>
                  </a:lnTo>
                  <a:lnTo>
                    <a:pt x="338" y="446"/>
                  </a:lnTo>
                  <a:lnTo>
                    <a:pt x="332" y="442"/>
                  </a:lnTo>
                  <a:lnTo>
                    <a:pt x="323" y="442"/>
                  </a:lnTo>
                  <a:lnTo>
                    <a:pt x="315" y="448"/>
                  </a:lnTo>
                  <a:lnTo>
                    <a:pt x="305" y="452"/>
                  </a:lnTo>
                  <a:lnTo>
                    <a:pt x="275" y="480"/>
                  </a:lnTo>
                  <a:lnTo>
                    <a:pt x="259" y="513"/>
                  </a:lnTo>
                  <a:lnTo>
                    <a:pt x="250" y="524"/>
                  </a:lnTo>
                  <a:lnTo>
                    <a:pt x="245" y="527"/>
                  </a:lnTo>
                  <a:lnTo>
                    <a:pt x="221" y="536"/>
                  </a:lnTo>
                  <a:lnTo>
                    <a:pt x="115" y="587"/>
                  </a:lnTo>
                  <a:lnTo>
                    <a:pt x="107" y="591"/>
                  </a:lnTo>
                  <a:lnTo>
                    <a:pt x="95" y="595"/>
                  </a:lnTo>
                  <a:lnTo>
                    <a:pt x="93" y="596"/>
                  </a:lnTo>
                  <a:lnTo>
                    <a:pt x="81" y="602"/>
                  </a:lnTo>
                  <a:lnTo>
                    <a:pt x="68" y="604"/>
                  </a:lnTo>
                  <a:lnTo>
                    <a:pt x="52" y="605"/>
                  </a:lnTo>
                  <a:lnTo>
                    <a:pt x="37" y="603"/>
                  </a:lnTo>
                  <a:lnTo>
                    <a:pt x="28" y="597"/>
                  </a:lnTo>
                  <a:lnTo>
                    <a:pt x="28" y="592"/>
                  </a:lnTo>
                  <a:lnTo>
                    <a:pt x="35" y="586"/>
                  </a:lnTo>
                  <a:lnTo>
                    <a:pt x="41" y="579"/>
                  </a:lnTo>
                  <a:lnTo>
                    <a:pt x="46" y="569"/>
                  </a:lnTo>
                  <a:lnTo>
                    <a:pt x="61" y="531"/>
                  </a:lnTo>
                  <a:lnTo>
                    <a:pt x="64" y="522"/>
                  </a:lnTo>
                  <a:lnTo>
                    <a:pt x="58" y="501"/>
                  </a:lnTo>
                  <a:lnTo>
                    <a:pt x="58" y="491"/>
                  </a:lnTo>
                  <a:lnTo>
                    <a:pt x="63" y="479"/>
                  </a:lnTo>
                  <a:lnTo>
                    <a:pt x="68" y="467"/>
                  </a:lnTo>
                  <a:lnTo>
                    <a:pt x="72" y="459"/>
                  </a:lnTo>
                  <a:lnTo>
                    <a:pt x="82" y="447"/>
                  </a:lnTo>
                  <a:lnTo>
                    <a:pt x="84" y="440"/>
                  </a:lnTo>
                  <a:lnTo>
                    <a:pt x="83" y="432"/>
                  </a:lnTo>
                  <a:lnTo>
                    <a:pt x="79" y="414"/>
                  </a:lnTo>
                  <a:lnTo>
                    <a:pt x="74" y="408"/>
                  </a:lnTo>
                  <a:lnTo>
                    <a:pt x="69" y="402"/>
                  </a:lnTo>
                  <a:lnTo>
                    <a:pt x="60" y="397"/>
                  </a:lnTo>
                  <a:lnTo>
                    <a:pt x="56" y="393"/>
                  </a:lnTo>
                  <a:lnTo>
                    <a:pt x="50" y="379"/>
                  </a:lnTo>
                  <a:lnTo>
                    <a:pt x="30" y="355"/>
                  </a:lnTo>
                  <a:lnTo>
                    <a:pt x="24" y="348"/>
                  </a:lnTo>
                  <a:lnTo>
                    <a:pt x="17" y="345"/>
                  </a:lnTo>
                  <a:lnTo>
                    <a:pt x="9" y="343"/>
                  </a:lnTo>
                  <a:lnTo>
                    <a:pt x="2" y="338"/>
                  </a:lnTo>
                  <a:lnTo>
                    <a:pt x="0" y="333"/>
                  </a:lnTo>
                  <a:lnTo>
                    <a:pt x="1" y="328"/>
                  </a:lnTo>
                  <a:lnTo>
                    <a:pt x="4" y="322"/>
                  </a:lnTo>
                  <a:lnTo>
                    <a:pt x="11" y="318"/>
                  </a:lnTo>
                  <a:lnTo>
                    <a:pt x="31" y="305"/>
                  </a:lnTo>
                  <a:lnTo>
                    <a:pt x="37" y="301"/>
                  </a:lnTo>
                  <a:lnTo>
                    <a:pt x="39" y="295"/>
                  </a:lnTo>
                  <a:lnTo>
                    <a:pt x="38" y="288"/>
                  </a:lnTo>
                  <a:lnTo>
                    <a:pt x="39" y="281"/>
                  </a:lnTo>
                  <a:lnTo>
                    <a:pt x="41" y="277"/>
                  </a:lnTo>
                  <a:lnTo>
                    <a:pt x="46" y="276"/>
                  </a:lnTo>
                  <a:lnTo>
                    <a:pt x="56" y="279"/>
                  </a:lnTo>
                  <a:lnTo>
                    <a:pt x="84" y="296"/>
                  </a:lnTo>
                  <a:lnTo>
                    <a:pt x="99" y="303"/>
                  </a:lnTo>
                  <a:lnTo>
                    <a:pt x="116" y="308"/>
                  </a:lnTo>
                  <a:lnTo>
                    <a:pt x="129" y="310"/>
                  </a:lnTo>
                  <a:lnTo>
                    <a:pt x="137" y="309"/>
                  </a:lnTo>
                  <a:lnTo>
                    <a:pt x="145" y="306"/>
                  </a:lnTo>
                  <a:lnTo>
                    <a:pt x="151" y="302"/>
                  </a:lnTo>
                  <a:lnTo>
                    <a:pt x="168" y="275"/>
                  </a:lnTo>
                  <a:lnTo>
                    <a:pt x="174" y="258"/>
                  </a:lnTo>
                  <a:lnTo>
                    <a:pt x="177" y="254"/>
                  </a:lnTo>
                  <a:lnTo>
                    <a:pt x="181" y="251"/>
                  </a:lnTo>
                  <a:lnTo>
                    <a:pt x="184" y="251"/>
                  </a:lnTo>
                  <a:lnTo>
                    <a:pt x="193" y="254"/>
                  </a:lnTo>
                  <a:lnTo>
                    <a:pt x="196" y="253"/>
                  </a:lnTo>
                  <a:lnTo>
                    <a:pt x="197" y="249"/>
                  </a:lnTo>
                  <a:lnTo>
                    <a:pt x="197" y="238"/>
                  </a:lnTo>
                  <a:lnTo>
                    <a:pt x="197" y="232"/>
                  </a:lnTo>
                  <a:lnTo>
                    <a:pt x="199" y="228"/>
                  </a:lnTo>
                  <a:lnTo>
                    <a:pt x="220" y="219"/>
                  </a:lnTo>
                  <a:lnTo>
                    <a:pt x="227" y="215"/>
                  </a:lnTo>
                  <a:lnTo>
                    <a:pt x="233" y="210"/>
                  </a:lnTo>
                  <a:lnTo>
                    <a:pt x="235" y="204"/>
                  </a:lnTo>
                  <a:lnTo>
                    <a:pt x="235" y="193"/>
                  </a:lnTo>
                  <a:lnTo>
                    <a:pt x="236" y="189"/>
                  </a:lnTo>
                  <a:lnTo>
                    <a:pt x="239" y="185"/>
                  </a:lnTo>
                  <a:lnTo>
                    <a:pt x="243" y="181"/>
                  </a:lnTo>
                  <a:lnTo>
                    <a:pt x="246" y="176"/>
                  </a:lnTo>
                  <a:lnTo>
                    <a:pt x="246" y="166"/>
                  </a:lnTo>
                  <a:lnTo>
                    <a:pt x="239" y="153"/>
                  </a:lnTo>
                  <a:lnTo>
                    <a:pt x="240" y="150"/>
                  </a:lnTo>
                  <a:lnTo>
                    <a:pt x="241" y="147"/>
                  </a:lnTo>
                  <a:lnTo>
                    <a:pt x="242" y="143"/>
                  </a:lnTo>
                  <a:lnTo>
                    <a:pt x="243" y="138"/>
                  </a:lnTo>
                  <a:lnTo>
                    <a:pt x="241" y="134"/>
                  </a:lnTo>
                  <a:lnTo>
                    <a:pt x="234" y="122"/>
                  </a:lnTo>
                  <a:lnTo>
                    <a:pt x="224" y="110"/>
                  </a:lnTo>
                  <a:lnTo>
                    <a:pt x="221" y="104"/>
                  </a:lnTo>
                  <a:lnTo>
                    <a:pt x="216" y="96"/>
                  </a:lnTo>
                  <a:lnTo>
                    <a:pt x="216" y="89"/>
                  </a:lnTo>
                  <a:lnTo>
                    <a:pt x="219" y="79"/>
                  </a:lnTo>
                  <a:lnTo>
                    <a:pt x="221" y="62"/>
                  </a:lnTo>
                  <a:lnTo>
                    <a:pt x="222" y="55"/>
                  </a:lnTo>
                  <a:lnTo>
                    <a:pt x="215" y="8"/>
                  </a:lnTo>
                  <a:lnTo>
                    <a:pt x="225" y="0"/>
                  </a:lnTo>
                  <a:lnTo>
                    <a:pt x="235" y="3"/>
                  </a:lnTo>
                  <a:lnTo>
                    <a:pt x="246" y="7"/>
                  </a:lnTo>
                  <a:lnTo>
                    <a:pt x="264" y="16"/>
                  </a:lnTo>
                  <a:lnTo>
                    <a:pt x="284" y="29"/>
                  </a:lnTo>
                  <a:lnTo>
                    <a:pt x="291" y="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BF07A3B5-0FC0-2BC5-7E3D-7A745B107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227" y="1630091"/>
              <a:ext cx="1385586" cy="1250264"/>
            </a:xfrm>
            <a:custGeom>
              <a:avLst/>
              <a:gdLst>
                <a:gd name="T0" fmla="*/ 616 w 942"/>
                <a:gd name="T1" fmla="*/ 61 h 850"/>
                <a:gd name="T2" fmla="*/ 637 w 942"/>
                <a:gd name="T3" fmla="*/ 47 h 850"/>
                <a:gd name="T4" fmla="*/ 666 w 942"/>
                <a:gd name="T5" fmla="*/ 56 h 850"/>
                <a:gd name="T6" fmla="*/ 665 w 942"/>
                <a:gd name="T7" fmla="*/ 75 h 850"/>
                <a:gd name="T8" fmla="*/ 666 w 942"/>
                <a:gd name="T9" fmla="*/ 101 h 850"/>
                <a:gd name="T10" fmla="*/ 727 w 942"/>
                <a:gd name="T11" fmla="*/ 113 h 850"/>
                <a:gd name="T12" fmla="*/ 772 w 942"/>
                <a:gd name="T13" fmla="*/ 108 h 850"/>
                <a:gd name="T14" fmla="*/ 774 w 942"/>
                <a:gd name="T15" fmla="*/ 163 h 850"/>
                <a:gd name="T16" fmla="*/ 790 w 942"/>
                <a:gd name="T17" fmla="*/ 203 h 850"/>
                <a:gd name="T18" fmla="*/ 786 w 942"/>
                <a:gd name="T19" fmla="*/ 242 h 850"/>
                <a:gd name="T20" fmla="*/ 749 w 942"/>
                <a:gd name="T21" fmla="*/ 281 h 850"/>
                <a:gd name="T22" fmla="*/ 734 w 942"/>
                <a:gd name="T23" fmla="*/ 304 h 850"/>
                <a:gd name="T24" fmla="*/ 695 w 942"/>
                <a:gd name="T25" fmla="*/ 359 h 850"/>
                <a:gd name="T26" fmla="*/ 606 w 942"/>
                <a:gd name="T27" fmla="*/ 332 h 850"/>
                <a:gd name="T28" fmla="*/ 587 w 942"/>
                <a:gd name="T29" fmla="*/ 354 h 850"/>
                <a:gd name="T30" fmla="*/ 552 w 942"/>
                <a:gd name="T31" fmla="*/ 391 h 850"/>
                <a:gd name="T32" fmla="*/ 606 w 942"/>
                <a:gd name="T33" fmla="*/ 446 h 850"/>
                <a:gd name="T34" fmla="*/ 634 w 942"/>
                <a:gd name="T35" fmla="*/ 493 h 850"/>
                <a:gd name="T36" fmla="*/ 608 w 942"/>
                <a:gd name="T37" fmla="*/ 554 h 850"/>
                <a:gd name="T38" fmla="*/ 578 w 942"/>
                <a:gd name="T39" fmla="*/ 645 h 850"/>
                <a:gd name="T40" fmla="*/ 643 w 942"/>
                <a:gd name="T41" fmla="*/ 649 h 850"/>
                <a:gd name="T42" fmla="*/ 800 w 942"/>
                <a:gd name="T43" fmla="*/ 577 h 850"/>
                <a:gd name="T44" fmla="*/ 882 w 942"/>
                <a:gd name="T45" fmla="*/ 495 h 850"/>
                <a:gd name="T46" fmla="*/ 840 w 942"/>
                <a:gd name="T47" fmla="*/ 559 h 850"/>
                <a:gd name="T48" fmla="*/ 853 w 942"/>
                <a:gd name="T49" fmla="*/ 603 h 850"/>
                <a:gd name="T50" fmla="*/ 942 w 942"/>
                <a:gd name="T51" fmla="*/ 641 h 850"/>
                <a:gd name="T52" fmla="*/ 931 w 942"/>
                <a:gd name="T53" fmla="*/ 675 h 850"/>
                <a:gd name="T54" fmla="*/ 795 w 942"/>
                <a:gd name="T55" fmla="*/ 715 h 850"/>
                <a:gd name="T56" fmla="*/ 659 w 942"/>
                <a:gd name="T57" fmla="*/ 754 h 850"/>
                <a:gd name="T58" fmla="*/ 536 w 942"/>
                <a:gd name="T59" fmla="*/ 790 h 850"/>
                <a:gd name="T60" fmla="*/ 480 w 942"/>
                <a:gd name="T61" fmla="*/ 803 h 850"/>
                <a:gd name="T62" fmla="*/ 399 w 942"/>
                <a:gd name="T63" fmla="*/ 841 h 850"/>
                <a:gd name="T64" fmla="*/ 369 w 942"/>
                <a:gd name="T65" fmla="*/ 847 h 850"/>
                <a:gd name="T66" fmla="*/ 319 w 942"/>
                <a:gd name="T67" fmla="*/ 841 h 850"/>
                <a:gd name="T68" fmla="*/ 212 w 942"/>
                <a:gd name="T69" fmla="*/ 821 h 850"/>
                <a:gd name="T70" fmla="*/ 157 w 942"/>
                <a:gd name="T71" fmla="*/ 799 h 850"/>
                <a:gd name="T72" fmla="*/ 129 w 942"/>
                <a:gd name="T73" fmla="*/ 789 h 850"/>
                <a:gd name="T74" fmla="*/ 65 w 942"/>
                <a:gd name="T75" fmla="*/ 801 h 850"/>
                <a:gd name="T76" fmla="*/ 74 w 942"/>
                <a:gd name="T77" fmla="*/ 731 h 850"/>
                <a:gd name="T78" fmla="*/ 8 w 942"/>
                <a:gd name="T79" fmla="*/ 658 h 850"/>
                <a:gd name="T80" fmla="*/ 13 w 942"/>
                <a:gd name="T81" fmla="*/ 634 h 850"/>
                <a:gd name="T82" fmla="*/ 34 w 942"/>
                <a:gd name="T83" fmla="*/ 579 h 850"/>
                <a:gd name="T84" fmla="*/ 31 w 942"/>
                <a:gd name="T85" fmla="*/ 479 h 850"/>
                <a:gd name="T86" fmla="*/ 82 w 942"/>
                <a:gd name="T87" fmla="*/ 449 h 850"/>
                <a:gd name="T88" fmla="*/ 121 w 942"/>
                <a:gd name="T89" fmla="*/ 377 h 850"/>
                <a:gd name="T90" fmla="*/ 137 w 942"/>
                <a:gd name="T91" fmla="*/ 324 h 850"/>
                <a:gd name="T92" fmla="*/ 166 w 942"/>
                <a:gd name="T93" fmla="*/ 235 h 850"/>
                <a:gd name="T94" fmla="*/ 185 w 942"/>
                <a:gd name="T95" fmla="*/ 141 h 850"/>
                <a:gd name="T96" fmla="*/ 228 w 942"/>
                <a:gd name="T97" fmla="*/ 145 h 850"/>
                <a:gd name="T98" fmla="*/ 258 w 942"/>
                <a:gd name="T99" fmla="*/ 111 h 850"/>
                <a:gd name="T100" fmla="*/ 298 w 942"/>
                <a:gd name="T101" fmla="*/ 98 h 850"/>
                <a:gd name="T102" fmla="*/ 316 w 942"/>
                <a:gd name="T103" fmla="*/ 58 h 850"/>
                <a:gd name="T104" fmla="*/ 438 w 942"/>
                <a:gd name="T105" fmla="*/ 7 h 850"/>
                <a:gd name="T106" fmla="*/ 442 w 942"/>
                <a:gd name="T107" fmla="*/ 18 h 850"/>
                <a:gd name="T108" fmla="*/ 445 w 942"/>
                <a:gd name="T109" fmla="*/ 52 h 850"/>
                <a:gd name="T110" fmla="*/ 564 w 942"/>
                <a:gd name="T111" fmla="*/ 84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2" h="850">
                  <a:moveTo>
                    <a:pt x="571" y="88"/>
                  </a:moveTo>
                  <a:lnTo>
                    <a:pt x="576" y="87"/>
                  </a:lnTo>
                  <a:lnTo>
                    <a:pt x="583" y="83"/>
                  </a:lnTo>
                  <a:lnTo>
                    <a:pt x="597" y="67"/>
                  </a:lnTo>
                  <a:lnTo>
                    <a:pt x="605" y="63"/>
                  </a:lnTo>
                  <a:lnTo>
                    <a:pt x="616" y="61"/>
                  </a:lnTo>
                  <a:lnTo>
                    <a:pt x="622" y="59"/>
                  </a:lnTo>
                  <a:lnTo>
                    <a:pt x="627" y="56"/>
                  </a:lnTo>
                  <a:lnTo>
                    <a:pt x="629" y="52"/>
                  </a:lnTo>
                  <a:lnTo>
                    <a:pt x="631" y="49"/>
                  </a:lnTo>
                  <a:lnTo>
                    <a:pt x="634" y="48"/>
                  </a:lnTo>
                  <a:lnTo>
                    <a:pt x="637" y="47"/>
                  </a:lnTo>
                  <a:lnTo>
                    <a:pt x="646" y="40"/>
                  </a:lnTo>
                  <a:lnTo>
                    <a:pt x="655" y="37"/>
                  </a:lnTo>
                  <a:lnTo>
                    <a:pt x="658" y="39"/>
                  </a:lnTo>
                  <a:lnTo>
                    <a:pt x="661" y="44"/>
                  </a:lnTo>
                  <a:lnTo>
                    <a:pt x="663" y="51"/>
                  </a:lnTo>
                  <a:lnTo>
                    <a:pt x="666" y="56"/>
                  </a:lnTo>
                  <a:lnTo>
                    <a:pt x="668" y="59"/>
                  </a:lnTo>
                  <a:lnTo>
                    <a:pt x="669" y="62"/>
                  </a:lnTo>
                  <a:lnTo>
                    <a:pt x="668" y="65"/>
                  </a:lnTo>
                  <a:lnTo>
                    <a:pt x="666" y="69"/>
                  </a:lnTo>
                  <a:lnTo>
                    <a:pt x="665" y="72"/>
                  </a:lnTo>
                  <a:lnTo>
                    <a:pt x="665" y="75"/>
                  </a:lnTo>
                  <a:lnTo>
                    <a:pt x="668" y="82"/>
                  </a:lnTo>
                  <a:lnTo>
                    <a:pt x="668" y="85"/>
                  </a:lnTo>
                  <a:lnTo>
                    <a:pt x="667" y="88"/>
                  </a:lnTo>
                  <a:lnTo>
                    <a:pt x="666" y="92"/>
                  </a:lnTo>
                  <a:lnTo>
                    <a:pt x="666" y="97"/>
                  </a:lnTo>
                  <a:lnTo>
                    <a:pt x="666" y="101"/>
                  </a:lnTo>
                  <a:lnTo>
                    <a:pt x="667" y="105"/>
                  </a:lnTo>
                  <a:lnTo>
                    <a:pt x="672" y="108"/>
                  </a:lnTo>
                  <a:lnTo>
                    <a:pt x="704" y="115"/>
                  </a:lnTo>
                  <a:lnTo>
                    <a:pt x="715" y="116"/>
                  </a:lnTo>
                  <a:lnTo>
                    <a:pt x="723" y="115"/>
                  </a:lnTo>
                  <a:lnTo>
                    <a:pt x="727" y="113"/>
                  </a:lnTo>
                  <a:lnTo>
                    <a:pt x="732" y="110"/>
                  </a:lnTo>
                  <a:lnTo>
                    <a:pt x="735" y="104"/>
                  </a:lnTo>
                  <a:lnTo>
                    <a:pt x="743" y="89"/>
                  </a:lnTo>
                  <a:lnTo>
                    <a:pt x="748" y="80"/>
                  </a:lnTo>
                  <a:lnTo>
                    <a:pt x="765" y="61"/>
                  </a:lnTo>
                  <a:lnTo>
                    <a:pt x="772" y="108"/>
                  </a:lnTo>
                  <a:lnTo>
                    <a:pt x="771" y="115"/>
                  </a:lnTo>
                  <a:lnTo>
                    <a:pt x="769" y="132"/>
                  </a:lnTo>
                  <a:lnTo>
                    <a:pt x="766" y="142"/>
                  </a:lnTo>
                  <a:lnTo>
                    <a:pt x="766" y="149"/>
                  </a:lnTo>
                  <a:lnTo>
                    <a:pt x="771" y="157"/>
                  </a:lnTo>
                  <a:lnTo>
                    <a:pt x="774" y="163"/>
                  </a:lnTo>
                  <a:lnTo>
                    <a:pt x="784" y="175"/>
                  </a:lnTo>
                  <a:lnTo>
                    <a:pt x="791" y="187"/>
                  </a:lnTo>
                  <a:lnTo>
                    <a:pt x="793" y="191"/>
                  </a:lnTo>
                  <a:lnTo>
                    <a:pt x="792" y="196"/>
                  </a:lnTo>
                  <a:lnTo>
                    <a:pt x="791" y="200"/>
                  </a:lnTo>
                  <a:lnTo>
                    <a:pt x="790" y="203"/>
                  </a:lnTo>
                  <a:lnTo>
                    <a:pt x="789" y="206"/>
                  </a:lnTo>
                  <a:lnTo>
                    <a:pt x="796" y="219"/>
                  </a:lnTo>
                  <a:lnTo>
                    <a:pt x="796" y="229"/>
                  </a:lnTo>
                  <a:lnTo>
                    <a:pt x="793" y="234"/>
                  </a:lnTo>
                  <a:lnTo>
                    <a:pt x="789" y="238"/>
                  </a:lnTo>
                  <a:lnTo>
                    <a:pt x="786" y="242"/>
                  </a:lnTo>
                  <a:lnTo>
                    <a:pt x="785" y="246"/>
                  </a:lnTo>
                  <a:lnTo>
                    <a:pt x="785" y="257"/>
                  </a:lnTo>
                  <a:lnTo>
                    <a:pt x="783" y="263"/>
                  </a:lnTo>
                  <a:lnTo>
                    <a:pt x="777" y="268"/>
                  </a:lnTo>
                  <a:lnTo>
                    <a:pt x="770" y="272"/>
                  </a:lnTo>
                  <a:lnTo>
                    <a:pt x="749" y="281"/>
                  </a:lnTo>
                  <a:lnTo>
                    <a:pt x="747" y="285"/>
                  </a:lnTo>
                  <a:lnTo>
                    <a:pt x="747" y="291"/>
                  </a:lnTo>
                  <a:lnTo>
                    <a:pt x="747" y="302"/>
                  </a:lnTo>
                  <a:lnTo>
                    <a:pt x="746" y="306"/>
                  </a:lnTo>
                  <a:lnTo>
                    <a:pt x="743" y="307"/>
                  </a:lnTo>
                  <a:lnTo>
                    <a:pt x="734" y="304"/>
                  </a:lnTo>
                  <a:lnTo>
                    <a:pt x="731" y="304"/>
                  </a:lnTo>
                  <a:lnTo>
                    <a:pt x="727" y="307"/>
                  </a:lnTo>
                  <a:lnTo>
                    <a:pt x="724" y="311"/>
                  </a:lnTo>
                  <a:lnTo>
                    <a:pt x="718" y="328"/>
                  </a:lnTo>
                  <a:lnTo>
                    <a:pt x="701" y="355"/>
                  </a:lnTo>
                  <a:lnTo>
                    <a:pt x="695" y="359"/>
                  </a:lnTo>
                  <a:lnTo>
                    <a:pt x="687" y="362"/>
                  </a:lnTo>
                  <a:lnTo>
                    <a:pt x="679" y="363"/>
                  </a:lnTo>
                  <a:lnTo>
                    <a:pt x="666" y="361"/>
                  </a:lnTo>
                  <a:lnTo>
                    <a:pt x="649" y="356"/>
                  </a:lnTo>
                  <a:lnTo>
                    <a:pt x="634" y="349"/>
                  </a:lnTo>
                  <a:lnTo>
                    <a:pt x="606" y="332"/>
                  </a:lnTo>
                  <a:lnTo>
                    <a:pt x="596" y="329"/>
                  </a:lnTo>
                  <a:lnTo>
                    <a:pt x="591" y="330"/>
                  </a:lnTo>
                  <a:lnTo>
                    <a:pt x="589" y="334"/>
                  </a:lnTo>
                  <a:lnTo>
                    <a:pt x="588" y="341"/>
                  </a:lnTo>
                  <a:lnTo>
                    <a:pt x="589" y="348"/>
                  </a:lnTo>
                  <a:lnTo>
                    <a:pt x="587" y="354"/>
                  </a:lnTo>
                  <a:lnTo>
                    <a:pt x="581" y="358"/>
                  </a:lnTo>
                  <a:lnTo>
                    <a:pt x="561" y="371"/>
                  </a:lnTo>
                  <a:lnTo>
                    <a:pt x="554" y="375"/>
                  </a:lnTo>
                  <a:lnTo>
                    <a:pt x="551" y="381"/>
                  </a:lnTo>
                  <a:lnTo>
                    <a:pt x="550" y="386"/>
                  </a:lnTo>
                  <a:lnTo>
                    <a:pt x="552" y="391"/>
                  </a:lnTo>
                  <a:lnTo>
                    <a:pt x="559" y="396"/>
                  </a:lnTo>
                  <a:lnTo>
                    <a:pt x="567" y="398"/>
                  </a:lnTo>
                  <a:lnTo>
                    <a:pt x="574" y="401"/>
                  </a:lnTo>
                  <a:lnTo>
                    <a:pt x="580" y="408"/>
                  </a:lnTo>
                  <a:lnTo>
                    <a:pt x="600" y="432"/>
                  </a:lnTo>
                  <a:lnTo>
                    <a:pt x="606" y="446"/>
                  </a:lnTo>
                  <a:lnTo>
                    <a:pt x="610" y="450"/>
                  </a:lnTo>
                  <a:lnTo>
                    <a:pt x="619" y="455"/>
                  </a:lnTo>
                  <a:lnTo>
                    <a:pt x="624" y="461"/>
                  </a:lnTo>
                  <a:lnTo>
                    <a:pt x="629" y="467"/>
                  </a:lnTo>
                  <a:lnTo>
                    <a:pt x="633" y="485"/>
                  </a:lnTo>
                  <a:lnTo>
                    <a:pt x="634" y="493"/>
                  </a:lnTo>
                  <a:lnTo>
                    <a:pt x="632" y="500"/>
                  </a:lnTo>
                  <a:lnTo>
                    <a:pt x="622" y="512"/>
                  </a:lnTo>
                  <a:lnTo>
                    <a:pt x="618" y="520"/>
                  </a:lnTo>
                  <a:lnTo>
                    <a:pt x="613" y="532"/>
                  </a:lnTo>
                  <a:lnTo>
                    <a:pt x="608" y="544"/>
                  </a:lnTo>
                  <a:lnTo>
                    <a:pt x="608" y="554"/>
                  </a:lnTo>
                  <a:lnTo>
                    <a:pt x="614" y="575"/>
                  </a:lnTo>
                  <a:lnTo>
                    <a:pt x="611" y="584"/>
                  </a:lnTo>
                  <a:lnTo>
                    <a:pt x="596" y="622"/>
                  </a:lnTo>
                  <a:lnTo>
                    <a:pt x="591" y="632"/>
                  </a:lnTo>
                  <a:lnTo>
                    <a:pt x="585" y="639"/>
                  </a:lnTo>
                  <a:lnTo>
                    <a:pt x="578" y="645"/>
                  </a:lnTo>
                  <a:lnTo>
                    <a:pt x="578" y="650"/>
                  </a:lnTo>
                  <a:lnTo>
                    <a:pt x="587" y="656"/>
                  </a:lnTo>
                  <a:lnTo>
                    <a:pt x="602" y="658"/>
                  </a:lnTo>
                  <a:lnTo>
                    <a:pt x="618" y="657"/>
                  </a:lnTo>
                  <a:lnTo>
                    <a:pt x="631" y="655"/>
                  </a:lnTo>
                  <a:lnTo>
                    <a:pt x="643" y="649"/>
                  </a:lnTo>
                  <a:lnTo>
                    <a:pt x="645" y="648"/>
                  </a:lnTo>
                  <a:lnTo>
                    <a:pt x="657" y="644"/>
                  </a:lnTo>
                  <a:lnTo>
                    <a:pt x="665" y="640"/>
                  </a:lnTo>
                  <a:lnTo>
                    <a:pt x="771" y="589"/>
                  </a:lnTo>
                  <a:lnTo>
                    <a:pt x="795" y="580"/>
                  </a:lnTo>
                  <a:lnTo>
                    <a:pt x="800" y="577"/>
                  </a:lnTo>
                  <a:lnTo>
                    <a:pt x="809" y="566"/>
                  </a:lnTo>
                  <a:lnTo>
                    <a:pt x="825" y="533"/>
                  </a:lnTo>
                  <a:lnTo>
                    <a:pt x="855" y="505"/>
                  </a:lnTo>
                  <a:lnTo>
                    <a:pt x="865" y="501"/>
                  </a:lnTo>
                  <a:lnTo>
                    <a:pt x="873" y="495"/>
                  </a:lnTo>
                  <a:lnTo>
                    <a:pt x="882" y="495"/>
                  </a:lnTo>
                  <a:lnTo>
                    <a:pt x="888" y="499"/>
                  </a:lnTo>
                  <a:lnTo>
                    <a:pt x="889" y="503"/>
                  </a:lnTo>
                  <a:lnTo>
                    <a:pt x="887" y="511"/>
                  </a:lnTo>
                  <a:lnTo>
                    <a:pt x="880" y="518"/>
                  </a:lnTo>
                  <a:lnTo>
                    <a:pt x="848" y="549"/>
                  </a:lnTo>
                  <a:lnTo>
                    <a:pt x="840" y="559"/>
                  </a:lnTo>
                  <a:lnTo>
                    <a:pt x="836" y="570"/>
                  </a:lnTo>
                  <a:lnTo>
                    <a:pt x="835" y="581"/>
                  </a:lnTo>
                  <a:lnTo>
                    <a:pt x="837" y="592"/>
                  </a:lnTo>
                  <a:lnTo>
                    <a:pt x="840" y="597"/>
                  </a:lnTo>
                  <a:lnTo>
                    <a:pt x="848" y="601"/>
                  </a:lnTo>
                  <a:lnTo>
                    <a:pt x="853" y="603"/>
                  </a:lnTo>
                  <a:lnTo>
                    <a:pt x="858" y="606"/>
                  </a:lnTo>
                  <a:lnTo>
                    <a:pt x="890" y="627"/>
                  </a:lnTo>
                  <a:lnTo>
                    <a:pt x="901" y="631"/>
                  </a:lnTo>
                  <a:lnTo>
                    <a:pt x="929" y="635"/>
                  </a:lnTo>
                  <a:lnTo>
                    <a:pt x="938" y="637"/>
                  </a:lnTo>
                  <a:lnTo>
                    <a:pt x="942" y="641"/>
                  </a:lnTo>
                  <a:lnTo>
                    <a:pt x="942" y="646"/>
                  </a:lnTo>
                  <a:lnTo>
                    <a:pt x="938" y="652"/>
                  </a:lnTo>
                  <a:lnTo>
                    <a:pt x="926" y="662"/>
                  </a:lnTo>
                  <a:lnTo>
                    <a:pt x="925" y="667"/>
                  </a:lnTo>
                  <a:lnTo>
                    <a:pt x="927" y="672"/>
                  </a:lnTo>
                  <a:lnTo>
                    <a:pt x="931" y="675"/>
                  </a:lnTo>
                  <a:lnTo>
                    <a:pt x="936" y="683"/>
                  </a:lnTo>
                  <a:lnTo>
                    <a:pt x="931" y="698"/>
                  </a:lnTo>
                  <a:lnTo>
                    <a:pt x="819" y="706"/>
                  </a:lnTo>
                  <a:lnTo>
                    <a:pt x="810" y="708"/>
                  </a:lnTo>
                  <a:lnTo>
                    <a:pt x="802" y="711"/>
                  </a:lnTo>
                  <a:lnTo>
                    <a:pt x="795" y="715"/>
                  </a:lnTo>
                  <a:lnTo>
                    <a:pt x="779" y="724"/>
                  </a:lnTo>
                  <a:lnTo>
                    <a:pt x="715" y="744"/>
                  </a:lnTo>
                  <a:lnTo>
                    <a:pt x="697" y="747"/>
                  </a:lnTo>
                  <a:lnTo>
                    <a:pt x="674" y="747"/>
                  </a:lnTo>
                  <a:lnTo>
                    <a:pt x="668" y="749"/>
                  </a:lnTo>
                  <a:lnTo>
                    <a:pt x="659" y="754"/>
                  </a:lnTo>
                  <a:lnTo>
                    <a:pt x="600" y="782"/>
                  </a:lnTo>
                  <a:lnTo>
                    <a:pt x="567" y="785"/>
                  </a:lnTo>
                  <a:lnTo>
                    <a:pt x="558" y="787"/>
                  </a:lnTo>
                  <a:lnTo>
                    <a:pt x="550" y="790"/>
                  </a:lnTo>
                  <a:lnTo>
                    <a:pt x="543" y="791"/>
                  </a:lnTo>
                  <a:lnTo>
                    <a:pt x="536" y="790"/>
                  </a:lnTo>
                  <a:lnTo>
                    <a:pt x="526" y="788"/>
                  </a:lnTo>
                  <a:lnTo>
                    <a:pt x="518" y="789"/>
                  </a:lnTo>
                  <a:lnTo>
                    <a:pt x="510" y="791"/>
                  </a:lnTo>
                  <a:lnTo>
                    <a:pt x="500" y="792"/>
                  </a:lnTo>
                  <a:lnTo>
                    <a:pt x="493" y="796"/>
                  </a:lnTo>
                  <a:lnTo>
                    <a:pt x="480" y="803"/>
                  </a:lnTo>
                  <a:lnTo>
                    <a:pt x="472" y="805"/>
                  </a:lnTo>
                  <a:lnTo>
                    <a:pt x="459" y="810"/>
                  </a:lnTo>
                  <a:lnTo>
                    <a:pt x="451" y="814"/>
                  </a:lnTo>
                  <a:lnTo>
                    <a:pt x="425" y="831"/>
                  </a:lnTo>
                  <a:lnTo>
                    <a:pt x="409" y="840"/>
                  </a:lnTo>
                  <a:lnTo>
                    <a:pt x="399" y="841"/>
                  </a:lnTo>
                  <a:lnTo>
                    <a:pt x="391" y="840"/>
                  </a:lnTo>
                  <a:lnTo>
                    <a:pt x="385" y="836"/>
                  </a:lnTo>
                  <a:lnTo>
                    <a:pt x="378" y="834"/>
                  </a:lnTo>
                  <a:lnTo>
                    <a:pt x="375" y="835"/>
                  </a:lnTo>
                  <a:lnTo>
                    <a:pt x="373" y="837"/>
                  </a:lnTo>
                  <a:lnTo>
                    <a:pt x="369" y="847"/>
                  </a:lnTo>
                  <a:lnTo>
                    <a:pt x="365" y="850"/>
                  </a:lnTo>
                  <a:lnTo>
                    <a:pt x="358" y="849"/>
                  </a:lnTo>
                  <a:lnTo>
                    <a:pt x="352" y="845"/>
                  </a:lnTo>
                  <a:lnTo>
                    <a:pt x="345" y="842"/>
                  </a:lnTo>
                  <a:lnTo>
                    <a:pt x="335" y="841"/>
                  </a:lnTo>
                  <a:lnTo>
                    <a:pt x="319" y="841"/>
                  </a:lnTo>
                  <a:lnTo>
                    <a:pt x="271" y="849"/>
                  </a:lnTo>
                  <a:lnTo>
                    <a:pt x="252" y="850"/>
                  </a:lnTo>
                  <a:lnTo>
                    <a:pt x="218" y="848"/>
                  </a:lnTo>
                  <a:lnTo>
                    <a:pt x="218" y="831"/>
                  </a:lnTo>
                  <a:lnTo>
                    <a:pt x="216" y="825"/>
                  </a:lnTo>
                  <a:lnTo>
                    <a:pt x="212" y="821"/>
                  </a:lnTo>
                  <a:lnTo>
                    <a:pt x="189" y="817"/>
                  </a:lnTo>
                  <a:lnTo>
                    <a:pt x="178" y="814"/>
                  </a:lnTo>
                  <a:lnTo>
                    <a:pt x="172" y="801"/>
                  </a:lnTo>
                  <a:lnTo>
                    <a:pt x="169" y="798"/>
                  </a:lnTo>
                  <a:lnTo>
                    <a:pt x="165" y="798"/>
                  </a:lnTo>
                  <a:lnTo>
                    <a:pt x="157" y="799"/>
                  </a:lnTo>
                  <a:lnTo>
                    <a:pt x="154" y="798"/>
                  </a:lnTo>
                  <a:lnTo>
                    <a:pt x="153" y="791"/>
                  </a:lnTo>
                  <a:lnTo>
                    <a:pt x="151" y="787"/>
                  </a:lnTo>
                  <a:lnTo>
                    <a:pt x="148" y="785"/>
                  </a:lnTo>
                  <a:lnTo>
                    <a:pt x="141" y="786"/>
                  </a:lnTo>
                  <a:lnTo>
                    <a:pt x="129" y="789"/>
                  </a:lnTo>
                  <a:lnTo>
                    <a:pt x="124" y="788"/>
                  </a:lnTo>
                  <a:lnTo>
                    <a:pt x="110" y="785"/>
                  </a:lnTo>
                  <a:lnTo>
                    <a:pt x="101" y="785"/>
                  </a:lnTo>
                  <a:lnTo>
                    <a:pt x="92" y="787"/>
                  </a:lnTo>
                  <a:lnTo>
                    <a:pt x="70" y="801"/>
                  </a:lnTo>
                  <a:lnTo>
                    <a:pt x="65" y="801"/>
                  </a:lnTo>
                  <a:lnTo>
                    <a:pt x="63" y="798"/>
                  </a:lnTo>
                  <a:lnTo>
                    <a:pt x="65" y="790"/>
                  </a:lnTo>
                  <a:lnTo>
                    <a:pt x="71" y="779"/>
                  </a:lnTo>
                  <a:lnTo>
                    <a:pt x="73" y="772"/>
                  </a:lnTo>
                  <a:lnTo>
                    <a:pt x="74" y="763"/>
                  </a:lnTo>
                  <a:lnTo>
                    <a:pt x="74" y="731"/>
                  </a:lnTo>
                  <a:lnTo>
                    <a:pt x="72" y="721"/>
                  </a:lnTo>
                  <a:lnTo>
                    <a:pt x="65" y="710"/>
                  </a:lnTo>
                  <a:lnTo>
                    <a:pt x="48" y="689"/>
                  </a:lnTo>
                  <a:lnTo>
                    <a:pt x="34" y="667"/>
                  </a:lnTo>
                  <a:lnTo>
                    <a:pt x="23" y="660"/>
                  </a:lnTo>
                  <a:lnTo>
                    <a:pt x="8" y="658"/>
                  </a:lnTo>
                  <a:lnTo>
                    <a:pt x="3" y="654"/>
                  </a:lnTo>
                  <a:lnTo>
                    <a:pt x="0" y="649"/>
                  </a:lnTo>
                  <a:lnTo>
                    <a:pt x="3" y="645"/>
                  </a:lnTo>
                  <a:lnTo>
                    <a:pt x="6" y="643"/>
                  </a:lnTo>
                  <a:lnTo>
                    <a:pt x="10" y="640"/>
                  </a:lnTo>
                  <a:lnTo>
                    <a:pt x="13" y="634"/>
                  </a:lnTo>
                  <a:lnTo>
                    <a:pt x="16" y="629"/>
                  </a:lnTo>
                  <a:lnTo>
                    <a:pt x="16" y="619"/>
                  </a:lnTo>
                  <a:lnTo>
                    <a:pt x="17" y="612"/>
                  </a:lnTo>
                  <a:lnTo>
                    <a:pt x="20" y="604"/>
                  </a:lnTo>
                  <a:lnTo>
                    <a:pt x="26" y="593"/>
                  </a:lnTo>
                  <a:lnTo>
                    <a:pt x="34" y="579"/>
                  </a:lnTo>
                  <a:lnTo>
                    <a:pt x="36" y="566"/>
                  </a:lnTo>
                  <a:lnTo>
                    <a:pt x="36" y="552"/>
                  </a:lnTo>
                  <a:lnTo>
                    <a:pt x="32" y="528"/>
                  </a:lnTo>
                  <a:lnTo>
                    <a:pt x="25" y="504"/>
                  </a:lnTo>
                  <a:lnTo>
                    <a:pt x="25" y="497"/>
                  </a:lnTo>
                  <a:lnTo>
                    <a:pt x="31" y="479"/>
                  </a:lnTo>
                  <a:lnTo>
                    <a:pt x="45" y="473"/>
                  </a:lnTo>
                  <a:lnTo>
                    <a:pt x="52" y="471"/>
                  </a:lnTo>
                  <a:lnTo>
                    <a:pt x="70" y="467"/>
                  </a:lnTo>
                  <a:lnTo>
                    <a:pt x="75" y="464"/>
                  </a:lnTo>
                  <a:lnTo>
                    <a:pt x="79" y="459"/>
                  </a:lnTo>
                  <a:lnTo>
                    <a:pt x="82" y="449"/>
                  </a:lnTo>
                  <a:lnTo>
                    <a:pt x="84" y="432"/>
                  </a:lnTo>
                  <a:lnTo>
                    <a:pt x="88" y="422"/>
                  </a:lnTo>
                  <a:lnTo>
                    <a:pt x="95" y="413"/>
                  </a:lnTo>
                  <a:lnTo>
                    <a:pt x="107" y="401"/>
                  </a:lnTo>
                  <a:lnTo>
                    <a:pt x="114" y="390"/>
                  </a:lnTo>
                  <a:lnTo>
                    <a:pt x="121" y="377"/>
                  </a:lnTo>
                  <a:lnTo>
                    <a:pt x="122" y="369"/>
                  </a:lnTo>
                  <a:lnTo>
                    <a:pt x="121" y="361"/>
                  </a:lnTo>
                  <a:lnTo>
                    <a:pt x="123" y="355"/>
                  </a:lnTo>
                  <a:lnTo>
                    <a:pt x="125" y="347"/>
                  </a:lnTo>
                  <a:lnTo>
                    <a:pt x="134" y="333"/>
                  </a:lnTo>
                  <a:lnTo>
                    <a:pt x="137" y="324"/>
                  </a:lnTo>
                  <a:lnTo>
                    <a:pt x="138" y="318"/>
                  </a:lnTo>
                  <a:lnTo>
                    <a:pt x="128" y="299"/>
                  </a:lnTo>
                  <a:lnTo>
                    <a:pt x="131" y="290"/>
                  </a:lnTo>
                  <a:lnTo>
                    <a:pt x="139" y="277"/>
                  </a:lnTo>
                  <a:lnTo>
                    <a:pt x="157" y="252"/>
                  </a:lnTo>
                  <a:lnTo>
                    <a:pt x="166" y="235"/>
                  </a:lnTo>
                  <a:lnTo>
                    <a:pt x="170" y="220"/>
                  </a:lnTo>
                  <a:lnTo>
                    <a:pt x="173" y="160"/>
                  </a:lnTo>
                  <a:lnTo>
                    <a:pt x="172" y="152"/>
                  </a:lnTo>
                  <a:lnTo>
                    <a:pt x="174" y="148"/>
                  </a:lnTo>
                  <a:lnTo>
                    <a:pt x="177" y="142"/>
                  </a:lnTo>
                  <a:lnTo>
                    <a:pt x="185" y="141"/>
                  </a:lnTo>
                  <a:lnTo>
                    <a:pt x="190" y="140"/>
                  </a:lnTo>
                  <a:lnTo>
                    <a:pt x="206" y="135"/>
                  </a:lnTo>
                  <a:lnTo>
                    <a:pt x="212" y="135"/>
                  </a:lnTo>
                  <a:lnTo>
                    <a:pt x="216" y="137"/>
                  </a:lnTo>
                  <a:lnTo>
                    <a:pt x="224" y="143"/>
                  </a:lnTo>
                  <a:lnTo>
                    <a:pt x="228" y="145"/>
                  </a:lnTo>
                  <a:lnTo>
                    <a:pt x="232" y="144"/>
                  </a:lnTo>
                  <a:lnTo>
                    <a:pt x="241" y="141"/>
                  </a:lnTo>
                  <a:lnTo>
                    <a:pt x="246" y="136"/>
                  </a:lnTo>
                  <a:lnTo>
                    <a:pt x="254" y="123"/>
                  </a:lnTo>
                  <a:lnTo>
                    <a:pt x="256" y="115"/>
                  </a:lnTo>
                  <a:lnTo>
                    <a:pt x="258" y="111"/>
                  </a:lnTo>
                  <a:lnTo>
                    <a:pt x="260" y="109"/>
                  </a:lnTo>
                  <a:lnTo>
                    <a:pt x="267" y="109"/>
                  </a:lnTo>
                  <a:lnTo>
                    <a:pt x="281" y="113"/>
                  </a:lnTo>
                  <a:lnTo>
                    <a:pt x="287" y="113"/>
                  </a:lnTo>
                  <a:lnTo>
                    <a:pt x="291" y="110"/>
                  </a:lnTo>
                  <a:lnTo>
                    <a:pt x="298" y="98"/>
                  </a:lnTo>
                  <a:lnTo>
                    <a:pt x="302" y="93"/>
                  </a:lnTo>
                  <a:lnTo>
                    <a:pt x="306" y="92"/>
                  </a:lnTo>
                  <a:lnTo>
                    <a:pt x="309" y="89"/>
                  </a:lnTo>
                  <a:lnTo>
                    <a:pt x="311" y="82"/>
                  </a:lnTo>
                  <a:lnTo>
                    <a:pt x="312" y="64"/>
                  </a:lnTo>
                  <a:lnTo>
                    <a:pt x="316" y="58"/>
                  </a:lnTo>
                  <a:lnTo>
                    <a:pt x="320" y="53"/>
                  </a:lnTo>
                  <a:lnTo>
                    <a:pt x="344" y="45"/>
                  </a:lnTo>
                  <a:lnTo>
                    <a:pt x="391" y="21"/>
                  </a:lnTo>
                  <a:lnTo>
                    <a:pt x="400" y="15"/>
                  </a:lnTo>
                  <a:lnTo>
                    <a:pt x="408" y="0"/>
                  </a:lnTo>
                  <a:lnTo>
                    <a:pt x="438" y="7"/>
                  </a:lnTo>
                  <a:lnTo>
                    <a:pt x="445" y="11"/>
                  </a:lnTo>
                  <a:lnTo>
                    <a:pt x="445" y="12"/>
                  </a:lnTo>
                  <a:lnTo>
                    <a:pt x="445" y="13"/>
                  </a:lnTo>
                  <a:lnTo>
                    <a:pt x="444" y="15"/>
                  </a:lnTo>
                  <a:lnTo>
                    <a:pt x="444" y="17"/>
                  </a:lnTo>
                  <a:lnTo>
                    <a:pt x="442" y="18"/>
                  </a:lnTo>
                  <a:lnTo>
                    <a:pt x="442" y="19"/>
                  </a:lnTo>
                  <a:lnTo>
                    <a:pt x="441" y="20"/>
                  </a:lnTo>
                  <a:lnTo>
                    <a:pt x="440" y="21"/>
                  </a:lnTo>
                  <a:lnTo>
                    <a:pt x="440" y="24"/>
                  </a:lnTo>
                  <a:lnTo>
                    <a:pt x="440" y="31"/>
                  </a:lnTo>
                  <a:lnTo>
                    <a:pt x="445" y="52"/>
                  </a:lnTo>
                  <a:lnTo>
                    <a:pt x="449" y="65"/>
                  </a:lnTo>
                  <a:lnTo>
                    <a:pt x="458" y="72"/>
                  </a:lnTo>
                  <a:lnTo>
                    <a:pt x="470" y="74"/>
                  </a:lnTo>
                  <a:lnTo>
                    <a:pt x="537" y="76"/>
                  </a:lnTo>
                  <a:lnTo>
                    <a:pt x="555" y="80"/>
                  </a:lnTo>
                  <a:lnTo>
                    <a:pt x="564" y="84"/>
                  </a:lnTo>
                  <a:lnTo>
                    <a:pt x="571" y="8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57E69E18-8B65-BAEC-3019-7A35BB992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7476" y="3087751"/>
              <a:ext cx="2238707" cy="2101914"/>
            </a:xfrm>
            <a:custGeom>
              <a:avLst/>
              <a:gdLst>
                <a:gd name="T0" fmla="*/ 689 w 1522"/>
                <a:gd name="T1" fmla="*/ 147 h 1429"/>
                <a:gd name="T2" fmla="*/ 720 w 1522"/>
                <a:gd name="T3" fmla="*/ 247 h 1429"/>
                <a:gd name="T4" fmla="*/ 739 w 1522"/>
                <a:gd name="T5" fmla="*/ 312 h 1429"/>
                <a:gd name="T6" fmla="*/ 806 w 1522"/>
                <a:gd name="T7" fmla="*/ 345 h 1429"/>
                <a:gd name="T8" fmla="*/ 836 w 1522"/>
                <a:gd name="T9" fmla="*/ 389 h 1429"/>
                <a:gd name="T10" fmla="*/ 1218 w 1522"/>
                <a:gd name="T11" fmla="*/ 580 h 1429"/>
                <a:gd name="T12" fmla="*/ 1273 w 1522"/>
                <a:gd name="T13" fmla="*/ 653 h 1429"/>
                <a:gd name="T14" fmla="*/ 1305 w 1522"/>
                <a:gd name="T15" fmla="*/ 709 h 1429"/>
                <a:gd name="T16" fmla="*/ 1413 w 1522"/>
                <a:gd name="T17" fmla="*/ 725 h 1429"/>
                <a:gd name="T18" fmla="*/ 1499 w 1522"/>
                <a:gd name="T19" fmla="*/ 752 h 1429"/>
                <a:gd name="T20" fmla="*/ 1450 w 1522"/>
                <a:gd name="T21" fmla="*/ 775 h 1429"/>
                <a:gd name="T22" fmla="*/ 1029 w 1522"/>
                <a:gd name="T23" fmla="*/ 923 h 1429"/>
                <a:gd name="T24" fmla="*/ 732 w 1522"/>
                <a:gd name="T25" fmla="*/ 1027 h 1429"/>
                <a:gd name="T26" fmla="*/ 561 w 1522"/>
                <a:gd name="T27" fmla="*/ 1205 h 1429"/>
                <a:gd name="T28" fmla="*/ 500 w 1522"/>
                <a:gd name="T29" fmla="*/ 1299 h 1429"/>
                <a:gd name="T30" fmla="*/ 522 w 1522"/>
                <a:gd name="T31" fmla="*/ 1361 h 1429"/>
                <a:gd name="T32" fmla="*/ 473 w 1522"/>
                <a:gd name="T33" fmla="*/ 1368 h 1429"/>
                <a:gd name="T34" fmla="*/ 408 w 1522"/>
                <a:gd name="T35" fmla="*/ 1298 h 1429"/>
                <a:gd name="T36" fmla="*/ 393 w 1522"/>
                <a:gd name="T37" fmla="*/ 1339 h 1429"/>
                <a:gd name="T38" fmla="*/ 247 w 1522"/>
                <a:gd name="T39" fmla="*/ 1404 h 1429"/>
                <a:gd name="T40" fmla="*/ 189 w 1522"/>
                <a:gd name="T41" fmla="*/ 1406 h 1429"/>
                <a:gd name="T42" fmla="*/ 169 w 1522"/>
                <a:gd name="T43" fmla="*/ 1428 h 1429"/>
                <a:gd name="T44" fmla="*/ 81 w 1522"/>
                <a:gd name="T45" fmla="*/ 1407 h 1429"/>
                <a:gd name="T46" fmla="*/ 65 w 1522"/>
                <a:gd name="T47" fmla="*/ 1387 h 1429"/>
                <a:gd name="T48" fmla="*/ 50 w 1522"/>
                <a:gd name="T49" fmla="*/ 1363 h 1429"/>
                <a:gd name="T50" fmla="*/ 49 w 1522"/>
                <a:gd name="T51" fmla="*/ 1328 h 1429"/>
                <a:gd name="T52" fmla="*/ 65 w 1522"/>
                <a:gd name="T53" fmla="*/ 1306 h 1429"/>
                <a:gd name="T54" fmla="*/ 1 w 1522"/>
                <a:gd name="T55" fmla="*/ 1239 h 1429"/>
                <a:gd name="T56" fmla="*/ 148 w 1522"/>
                <a:gd name="T57" fmla="*/ 1133 h 1429"/>
                <a:gd name="T58" fmla="*/ 189 w 1522"/>
                <a:gd name="T59" fmla="*/ 1067 h 1429"/>
                <a:gd name="T60" fmla="*/ 214 w 1522"/>
                <a:gd name="T61" fmla="*/ 994 h 1429"/>
                <a:gd name="T62" fmla="*/ 242 w 1522"/>
                <a:gd name="T63" fmla="*/ 913 h 1429"/>
                <a:gd name="T64" fmla="*/ 252 w 1522"/>
                <a:gd name="T65" fmla="*/ 852 h 1429"/>
                <a:gd name="T66" fmla="*/ 349 w 1522"/>
                <a:gd name="T67" fmla="*/ 790 h 1429"/>
                <a:gd name="T68" fmla="*/ 319 w 1522"/>
                <a:gd name="T69" fmla="*/ 753 h 1429"/>
                <a:gd name="T70" fmla="*/ 290 w 1522"/>
                <a:gd name="T71" fmla="*/ 762 h 1429"/>
                <a:gd name="T72" fmla="*/ 274 w 1522"/>
                <a:gd name="T73" fmla="*/ 788 h 1429"/>
                <a:gd name="T74" fmla="*/ 264 w 1522"/>
                <a:gd name="T75" fmla="*/ 747 h 1429"/>
                <a:gd name="T76" fmla="*/ 278 w 1522"/>
                <a:gd name="T77" fmla="*/ 746 h 1429"/>
                <a:gd name="T78" fmla="*/ 304 w 1522"/>
                <a:gd name="T79" fmla="*/ 695 h 1429"/>
                <a:gd name="T80" fmla="*/ 309 w 1522"/>
                <a:gd name="T81" fmla="*/ 625 h 1429"/>
                <a:gd name="T82" fmla="*/ 243 w 1522"/>
                <a:gd name="T83" fmla="*/ 578 h 1429"/>
                <a:gd name="T84" fmla="*/ 276 w 1522"/>
                <a:gd name="T85" fmla="*/ 531 h 1429"/>
                <a:gd name="T86" fmla="*/ 295 w 1522"/>
                <a:gd name="T87" fmla="*/ 503 h 1429"/>
                <a:gd name="T88" fmla="*/ 313 w 1522"/>
                <a:gd name="T89" fmla="*/ 436 h 1429"/>
                <a:gd name="T90" fmla="*/ 323 w 1522"/>
                <a:gd name="T91" fmla="*/ 399 h 1429"/>
                <a:gd name="T92" fmla="*/ 306 w 1522"/>
                <a:gd name="T93" fmla="*/ 359 h 1429"/>
                <a:gd name="T94" fmla="*/ 352 w 1522"/>
                <a:gd name="T95" fmla="*/ 281 h 1429"/>
                <a:gd name="T96" fmla="*/ 340 w 1522"/>
                <a:gd name="T97" fmla="*/ 227 h 1429"/>
                <a:gd name="T98" fmla="*/ 330 w 1522"/>
                <a:gd name="T99" fmla="*/ 181 h 1429"/>
                <a:gd name="T100" fmla="*/ 347 w 1522"/>
                <a:gd name="T101" fmla="*/ 155 h 1429"/>
                <a:gd name="T102" fmla="*/ 385 w 1522"/>
                <a:gd name="T103" fmla="*/ 122 h 1429"/>
                <a:gd name="T104" fmla="*/ 386 w 1522"/>
                <a:gd name="T105" fmla="*/ 78 h 1429"/>
                <a:gd name="T106" fmla="*/ 413 w 1522"/>
                <a:gd name="T107" fmla="*/ 32 h 1429"/>
                <a:gd name="T108" fmla="*/ 485 w 1522"/>
                <a:gd name="T109" fmla="*/ 22 h 1429"/>
                <a:gd name="T110" fmla="*/ 561 w 1522"/>
                <a:gd name="T111" fmla="*/ 19 h 1429"/>
                <a:gd name="T112" fmla="*/ 611 w 1522"/>
                <a:gd name="T113" fmla="*/ 124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22" h="1429">
                  <a:moveTo>
                    <a:pt x="625" y="147"/>
                  </a:moveTo>
                  <a:lnTo>
                    <a:pt x="635" y="146"/>
                  </a:lnTo>
                  <a:lnTo>
                    <a:pt x="666" y="139"/>
                  </a:lnTo>
                  <a:lnTo>
                    <a:pt x="679" y="141"/>
                  </a:lnTo>
                  <a:lnTo>
                    <a:pt x="689" y="147"/>
                  </a:lnTo>
                  <a:lnTo>
                    <a:pt x="696" y="162"/>
                  </a:lnTo>
                  <a:lnTo>
                    <a:pt x="705" y="207"/>
                  </a:lnTo>
                  <a:lnTo>
                    <a:pt x="718" y="226"/>
                  </a:lnTo>
                  <a:lnTo>
                    <a:pt x="720" y="232"/>
                  </a:lnTo>
                  <a:lnTo>
                    <a:pt x="720" y="247"/>
                  </a:lnTo>
                  <a:lnTo>
                    <a:pt x="722" y="255"/>
                  </a:lnTo>
                  <a:lnTo>
                    <a:pt x="732" y="273"/>
                  </a:lnTo>
                  <a:lnTo>
                    <a:pt x="735" y="281"/>
                  </a:lnTo>
                  <a:lnTo>
                    <a:pt x="737" y="302"/>
                  </a:lnTo>
                  <a:lnTo>
                    <a:pt x="739" y="312"/>
                  </a:lnTo>
                  <a:lnTo>
                    <a:pt x="745" y="319"/>
                  </a:lnTo>
                  <a:lnTo>
                    <a:pt x="757" y="326"/>
                  </a:lnTo>
                  <a:lnTo>
                    <a:pt x="784" y="332"/>
                  </a:lnTo>
                  <a:lnTo>
                    <a:pt x="797" y="337"/>
                  </a:lnTo>
                  <a:lnTo>
                    <a:pt x="806" y="345"/>
                  </a:lnTo>
                  <a:lnTo>
                    <a:pt x="809" y="355"/>
                  </a:lnTo>
                  <a:lnTo>
                    <a:pt x="812" y="367"/>
                  </a:lnTo>
                  <a:lnTo>
                    <a:pt x="816" y="377"/>
                  </a:lnTo>
                  <a:lnTo>
                    <a:pt x="825" y="385"/>
                  </a:lnTo>
                  <a:lnTo>
                    <a:pt x="836" y="389"/>
                  </a:lnTo>
                  <a:lnTo>
                    <a:pt x="859" y="395"/>
                  </a:lnTo>
                  <a:lnTo>
                    <a:pt x="1043" y="473"/>
                  </a:lnTo>
                  <a:lnTo>
                    <a:pt x="1197" y="573"/>
                  </a:lnTo>
                  <a:lnTo>
                    <a:pt x="1209" y="576"/>
                  </a:lnTo>
                  <a:lnTo>
                    <a:pt x="1218" y="580"/>
                  </a:lnTo>
                  <a:lnTo>
                    <a:pt x="1226" y="590"/>
                  </a:lnTo>
                  <a:lnTo>
                    <a:pt x="1239" y="612"/>
                  </a:lnTo>
                  <a:lnTo>
                    <a:pt x="1262" y="640"/>
                  </a:lnTo>
                  <a:lnTo>
                    <a:pt x="1268" y="650"/>
                  </a:lnTo>
                  <a:lnTo>
                    <a:pt x="1273" y="653"/>
                  </a:lnTo>
                  <a:lnTo>
                    <a:pt x="1278" y="658"/>
                  </a:lnTo>
                  <a:lnTo>
                    <a:pt x="1280" y="664"/>
                  </a:lnTo>
                  <a:lnTo>
                    <a:pt x="1281" y="667"/>
                  </a:lnTo>
                  <a:lnTo>
                    <a:pt x="1289" y="690"/>
                  </a:lnTo>
                  <a:lnTo>
                    <a:pt x="1305" y="709"/>
                  </a:lnTo>
                  <a:lnTo>
                    <a:pt x="1328" y="723"/>
                  </a:lnTo>
                  <a:lnTo>
                    <a:pt x="1355" y="732"/>
                  </a:lnTo>
                  <a:lnTo>
                    <a:pt x="1385" y="731"/>
                  </a:lnTo>
                  <a:lnTo>
                    <a:pt x="1406" y="725"/>
                  </a:lnTo>
                  <a:lnTo>
                    <a:pt x="1413" y="725"/>
                  </a:lnTo>
                  <a:lnTo>
                    <a:pt x="1424" y="733"/>
                  </a:lnTo>
                  <a:lnTo>
                    <a:pt x="1433" y="738"/>
                  </a:lnTo>
                  <a:lnTo>
                    <a:pt x="1456" y="743"/>
                  </a:lnTo>
                  <a:lnTo>
                    <a:pt x="1484" y="757"/>
                  </a:lnTo>
                  <a:lnTo>
                    <a:pt x="1499" y="752"/>
                  </a:lnTo>
                  <a:lnTo>
                    <a:pt x="1512" y="746"/>
                  </a:lnTo>
                  <a:lnTo>
                    <a:pt x="1522" y="748"/>
                  </a:lnTo>
                  <a:lnTo>
                    <a:pt x="1522" y="748"/>
                  </a:lnTo>
                  <a:lnTo>
                    <a:pt x="1512" y="754"/>
                  </a:lnTo>
                  <a:lnTo>
                    <a:pt x="1450" y="775"/>
                  </a:lnTo>
                  <a:lnTo>
                    <a:pt x="1366" y="806"/>
                  </a:lnTo>
                  <a:lnTo>
                    <a:pt x="1282" y="835"/>
                  </a:lnTo>
                  <a:lnTo>
                    <a:pt x="1198" y="864"/>
                  </a:lnTo>
                  <a:lnTo>
                    <a:pt x="1113" y="894"/>
                  </a:lnTo>
                  <a:lnTo>
                    <a:pt x="1029" y="923"/>
                  </a:lnTo>
                  <a:lnTo>
                    <a:pt x="945" y="953"/>
                  </a:lnTo>
                  <a:lnTo>
                    <a:pt x="861" y="982"/>
                  </a:lnTo>
                  <a:lnTo>
                    <a:pt x="776" y="1012"/>
                  </a:lnTo>
                  <a:lnTo>
                    <a:pt x="758" y="1018"/>
                  </a:lnTo>
                  <a:lnTo>
                    <a:pt x="732" y="1027"/>
                  </a:lnTo>
                  <a:lnTo>
                    <a:pt x="720" y="1033"/>
                  </a:lnTo>
                  <a:lnTo>
                    <a:pt x="670" y="1077"/>
                  </a:lnTo>
                  <a:lnTo>
                    <a:pt x="603" y="1168"/>
                  </a:lnTo>
                  <a:lnTo>
                    <a:pt x="570" y="1195"/>
                  </a:lnTo>
                  <a:lnTo>
                    <a:pt x="561" y="1205"/>
                  </a:lnTo>
                  <a:lnTo>
                    <a:pt x="540" y="1245"/>
                  </a:lnTo>
                  <a:lnTo>
                    <a:pt x="531" y="1257"/>
                  </a:lnTo>
                  <a:lnTo>
                    <a:pt x="508" y="1274"/>
                  </a:lnTo>
                  <a:lnTo>
                    <a:pt x="500" y="1284"/>
                  </a:lnTo>
                  <a:lnTo>
                    <a:pt x="500" y="1299"/>
                  </a:lnTo>
                  <a:lnTo>
                    <a:pt x="508" y="1311"/>
                  </a:lnTo>
                  <a:lnTo>
                    <a:pt x="517" y="1318"/>
                  </a:lnTo>
                  <a:lnTo>
                    <a:pt x="526" y="1328"/>
                  </a:lnTo>
                  <a:lnTo>
                    <a:pt x="528" y="1346"/>
                  </a:lnTo>
                  <a:lnTo>
                    <a:pt x="522" y="1361"/>
                  </a:lnTo>
                  <a:lnTo>
                    <a:pt x="511" y="1365"/>
                  </a:lnTo>
                  <a:lnTo>
                    <a:pt x="499" y="1367"/>
                  </a:lnTo>
                  <a:lnTo>
                    <a:pt x="489" y="1376"/>
                  </a:lnTo>
                  <a:lnTo>
                    <a:pt x="479" y="1380"/>
                  </a:lnTo>
                  <a:lnTo>
                    <a:pt x="473" y="1368"/>
                  </a:lnTo>
                  <a:lnTo>
                    <a:pt x="464" y="1325"/>
                  </a:lnTo>
                  <a:lnTo>
                    <a:pt x="459" y="1315"/>
                  </a:lnTo>
                  <a:lnTo>
                    <a:pt x="450" y="1307"/>
                  </a:lnTo>
                  <a:lnTo>
                    <a:pt x="422" y="1300"/>
                  </a:lnTo>
                  <a:lnTo>
                    <a:pt x="408" y="1298"/>
                  </a:lnTo>
                  <a:lnTo>
                    <a:pt x="396" y="1301"/>
                  </a:lnTo>
                  <a:lnTo>
                    <a:pt x="388" y="1314"/>
                  </a:lnTo>
                  <a:lnTo>
                    <a:pt x="390" y="1318"/>
                  </a:lnTo>
                  <a:lnTo>
                    <a:pt x="394" y="1331"/>
                  </a:lnTo>
                  <a:lnTo>
                    <a:pt x="393" y="1339"/>
                  </a:lnTo>
                  <a:lnTo>
                    <a:pt x="388" y="1368"/>
                  </a:lnTo>
                  <a:lnTo>
                    <a:pt x="380" y="1395"/>
                  </a:lnTo>
                  <a:lnTo>
                    <a:pt x="379" y="1395"/>
                  </a:lnTo>
                  <a:lnTo>
                    <a:pt x="295" y="1394"/>
                  </a:lnTo>
                  <a:lnTo>
                    <a:pt x="247" y="1404"/>
                  </a:lnTo>
                  <a:lnTo>
                    <a:pt x="234" y="1404"/>
                  </a:lnTo>
                  <a:lnTo>
                    <a:pt x="208" y="1401"/>
                  </a:lnTo>
                  <a:lnTo>
                    <a:pt x="199" y="1402"/>
                  </a:lnTo>
                  <a:lnTo>
                    <a:pt x="193" y="1404"/>
                  </a:lnTo>
                  <a:lnTo>
                    <a:pt x="189" y="1406"/>
                  </a:lnTo>
                  <a:lnTo>
                    <a:pt x="187" y="1409"/>
                  </a:lnTo>
                  <a:lnTo>
                    <a:pt x="180" y="1421"/>
                  </a:lnTo>
                  <a:lnTo>
                    <a:pt x="177" y="1426"/>
                  </a:lnTo>
                  <a:lnTo>
                    <a:pt x="173" y="1429"/>
                  </a:lnTo>
                  <a:lnTo>
                    <a:pt x="169" y="1428"/>
                  </a:lnTo>
                  <a:lnTo>
                    <a:pt x="157" y="1422"/>
                  </a:lnTo>
                  <a:lnTo>
                    <a:pt x="150" y="1420"/>
                  </a:lnTo>
                  <a:lnTo>
                    <a:pt x="127" y="1417"/>
                  </a:lnTo>
                  <a:lnTo>
                    <a:pt x="99" y="1409"/>
                  </a:lnTo>
                  <a:lnTo>
                    <a:pt x="81" y="1407"/>
                  </a:lnTo>
                  <a:lnTo>
                    <a:pt x="73" y="1403"/>
                  </a:lnTo>
                  <a:lnTo>
                    <a:pt x="70" y="1400"/>
                  </a:lnTo>
                  <a:lnTo>
                    <a:pt x="69" y="1394"/>
                  </a:lnTo>
                  <a:lnTo>
                    <a:pt x="67" y="1391"/>
                  </a:lnTo>
                  <a:lnTo>
                    <a:pt x="65" y="1387"/>
                  </a:lnTo>
                  <a:lnTo>
                    <a:pt x="59" y="1382"/>
                  </a:lnTo>
                  <a:lnTo>
                    <a:pt x="56" y="1378"/>
                  </a:lnTo>
                  <a:lnTo>
                    <a:pt x="53" y="1374"/>
                  </a:lnTo>
                  <a:lnTo>
                    <a:pt x="52" y="1369"/>
                  </a:lnTo>
                  <a:lnTo>
                    <a:pt x="50" y="1363"/>
                  </a:lnTo>
                  <a:lnTo>
                    <a:pt x="49" y="1351"/>
                  </a:lnTo>
                  <a:lnTo>
                    <a:pt x="46" y="1341"/>
                  </a:lnTo>
                  <a:lnTo>
                    <a:pt x="46" y="1337"/>
                  </a:lnTo>
                  <a:lnTo>
                    <a:pt x="46" y="1332"/>
                  </a:lnTo>
                  <a:lnTo>
                    <a:pt x="49" y="1328"/>
                  </a:lnTo>
                  <a:lnTo>
                    <a:pt x="53" y="1325"/>
                  </a:lnTo>
                  <a:lnTo>
                    <a:pt x="60" y="1317"/>
                  </a:lnTo>
                  <a:lnTo>
                    <a:pt x="63" y="1314"/>
                  </a:lnTo>
                  <a:lnTo>
                    <a:pt x="65" y="1310"/>
                  </a:lnTo>
                  <a:lnTo>
                    <a:pt x="65" y="1306"/>
                  </a:lnTo>
                  <a:lnTo>
                    <a:pt x="62" y="1301"/>
                  </a:lnTo>
                  <a:lnTo>
                    <a:pt x="58" y="1296"/>
                  </a:lnTo>
                  <a:lnTo>
                    <a:pt x="3" y="1257"/>
                  </a:lnTo>
                  <a:lnTo>
                    <a:pt x="0" y="1245"/>
                  </a:lnTo>
                  <a:lnTo>
                    <a:pt x="1" y="1239"/>
                  </a:lnTo>
                  <a:lnTo>
                    <a:pt x="4" y="1233"/>
                  </a:lnTo>
                  <a:lnTo>
                    <a:pt x="86" y="1167"/>
                  </a:lnTo>
                  <a:lnTo>
                    <a:pt x="99" y="1154"/>
                  </a:lnTo>
                  <a:lnTo>
                    <a:pt x="125" y="1146"/>
                  </a:lnTo>
                  <a:lnTo>
                    <a:pt x="148" y="1133"/>
                  </a:lnTo>
                  <a:lnTo>
                    <a:pt x="164" y="1120"/>
                  </a:lnTo>
                  <a:lnTo>
                    <a:pt x="182" y="1101"/>
                  </a:lnTo>
                  <a:lnTo>
                    <a:pt x="188" y="1089"/>
                  </a:lnTo>
                  <a:lnTo>
                    <a:pt x="190" y="1077"/>
                  </a:lnTo>
                  <a:lnTo>
                    <a:pt x="189" y="1067"/>
                  </a:lnTo>
                  <a:lnTo>
                    <a:pt x="189" y="1056"/>
                  </a:lnTo>
                  <a:lnTo>
                    <a:pt x="192" y="1045"/>
                  </a:lnTo>
                  <a:lnTo>
                    <a:pt x="208" y="1012"/>
                  </a:lnTo>
                  <a:lnTo>
                    <a:pt x="210" y="1005"/>
                  </a:lnTo>
                  <a:lnTo>
                    <a:pt x="214" y="994"/>
                  </a:lnTo>
                  <a:lnTo>
                    <a:pt x="245" y="942"/>
                  </a:lnTo>
                  <a:lnTo>
                    <a:pt x="250" y="933"/>
                  </a:lnTo>
                  <a:lnTo>
                    <a:pt x="250" y="926"/>
                  </a:lnTo>
                  <a:lnTo>
                    <a:pt x="247" y="920"/>
                  </a:lnTo>
                  <a:lnTo>
                    <a:pt x="242" y="913"/>
                  </a:lnTo>
                  <a:lnTo>
                    <a:pt x="237" y="907"/>
                  </a:lnTo>
                  <a:lnTo>
                    <a:pt x="232" y="901"/>
                  </a:lnTo>
                  <a:lnTo>
                    <a:pt x="230" y="897"/>
                  </a:lnTo>
                  <a:lnTo>
                    <a:pt x="231" y="892"/>
                  </a:lnTo>
                  <a:lnTo>
                    <a:pt x="252" y="852"/>
                  </a:lnTo>
                  <a:lnTo>
                    <a:pt x="257" y="846"/>
                  </a:lnTo>
                  <a:lnTo>
                    <a:pt x="265" y="840"/>
                  </a:lnTo>
                  <a:lnTo>
                    <a:pt x="339" y="803"/>
                  </a:lnTo>
                  <a:lnTo>
                    <a:pt x="346" y="796"/>
                  </a:lnTo>
                  <a:lnTo>
                    <a:pt x="349" y="790"/>
                  </a:lnTo>
                  <a:lnTo>
                    <a:pt x="349" y="784"/>
                  </a:lnTo>
                  <a:lnTo>
                    <a:pt x="347" y="779"/>
                  </a:lnTo>
                  <a:lnTo>
                    <a:pt x="345" y="773"/>
                  </a:lnTo>
                  <a:lnTo>
                    <a:pt x="340" y="768"/>
                  </a:lnTo>
                  <a:lnTo>
                    <a:pt x="319" y="753"/>
                  </a:lnTo>
                  <a:lnTo>
                    <a:pt x="315" y="751"/>
                  </a:lnTo>
                  <a:lnTo>
                    <a:pt x="309" y="751"/>
                  </a:lnTo>
                  <a:lnTo>
                    <a:pt x="303" y="753"/>
                  </a:lnTo>
                  <a:lnTo>
                    <a:pt x="296" y="756"/>
                  </a:lnTo>
                  <a:lnTo>
                    <a:pt x="290" y="762"/>
                  </a:lnTo>
                  <a:lnTo>
                    <a:pt x="286" y="769"/>
                  </a:lnTo>
                  <a:lnTo>
                    <a:pt x="283" y="777"/>
                  </a:lnTo>
                  <a:lnTo>
                    <a:pt x="281" y="783"/>
                  </a:lnTo>
                  <a:lnTo>
                    <a:pt x="279" y="787"/>
                  </a:lnTo>
                  <a:lnTo>
                    <a:pt x="274" y="788"/>
                  </a:lnTo>
                  <a:lnTo>
                    <a:pt x="268" y="785"/>
                  </a:lnTo>
                  <a:lnTo>
                    <a:pt x="263" y="780"/>
                  </a:lnTo>
                  <a:lnTo>
                    <a:pt x="261" y="773"/>
                  </a:lnTo>
                  <a:lnTo>
                    <a:pt x="260" y="767"/>
                  </a:lnTo>
                  <a:lnTo>
                    <a:pt x="264" y="747"/>
                  </a:lnTo>
                  <a:lnTo>
                    <a:pt x="268" y="749"/>
                  </a:lnTo>
                  <a:lnTo>
                    <a:pt x="270" y="749"/>
                  </a:lnTo>
                  <a:lnTo>
                    <a:pt x="273" y="749"/>
                  </a:lnTo>
                  <a:lnTo>
                    <a:pt x="275" y="748"/>
                  </a:lnTo>
                  <a:lnTo>
                    <a:pt x="278" y="746"/>
                  </a:lnTo>
                  <a:lnTo>
                    <a:pt x="284" y="739"/>
                  </a:lnTo>
                  <a:lnTo>
                    <a:pt x="301" y="714"/>
                  </a:lnTo>
                  <a:lnTo>
                    <a:pt x="303" y="708"/>
                  </a:lnTo>
                  <a:lnTo>
                    <a:pt x="304" y="703"/>
                  </a:lnTo>
                  <a:lnTo>
                    <a:pt x="304" y="695"/>
                  </a:lnTo>
                  <a:lnTo>
                    <a:pt x="305" y="689"/>
                  </a:lnTo>
                  <a:lnTo>
                    <a:pt x="307" y="677"/>
                  </a:lnTo>
                  <a:lnTo>
                    <a:pt x="306" y="639"/>
                  </a:lnTo>
                  <a:lnTo>
                    <a:pt x="307" y="631"/>
                  </a:lnTo>
                  <a:lnTo>
                    <a:pt x="309" y="625"/>
                  </a:lnTo>
                  <a:lnTo>
                    <a:pt x="305" y="617"/>
                  </a:lnTo>
                  <a:lnTo>
                    <a:pt x="294" y="610"/>
                  </a:lnTo>
                  <a:lnTo>
                    <a:pt x="253" y="591"/>
                  </a:lnTo>
                  <a:lnTo>
                    <a:pt x="244" y="586"/>
                  </a:lnTo>
                  <a:lnTo>
                    <a:pt x="243" y="578"/>
                  </a:lnTo>
                  <a:lnTo>
                    <a:pt x="266" y="562"/>
                  </a:lnTo>
                  <a:lnTo>
                    <a:pt x="270" y="556"/>
                  </a:lnTo>
                  <a:lnTo>
                    <a:pt x="274" y="547"/>
                  </a:lnTo>
                  <a:lnTo>
                    <a:pt x="274" y="540"/>
                  </a:lnTo>
                  <a:lnTo>
                    <a:pt x="276" y="531"/>
                  </a:lnTo>
                  <a:lnTo>
                    <a:pt x="282" y="524"/>
                  </a:lnTo>
                  <a:lnTo>
                    <a:pt x="294" y="516"/>
                  </a:lnTo>
                  <a:lnTo>
                    <a:pt x="297" y="511"/>
                  </a:lnTo>
                  <a:lnTo>
                    <a:pt x="297" y="507"/>
                  </a:lnTo>
                  <a:lnTo>
                    <a:pt x="295" y="503"/>
                  </a:lnTo>
                  <a:lnTo>
                    <a:pt x="294" y="500"/>
                  </a:lnTo>
                  <a:lnTo>
                    <a:pt x="292" y="474"/>
                  </a:lnTo>
                  <a:lnTo>
                    <a:pt x="296" y="455"/>
                  </a:lnTo>
                  <a:lnTo>
                    <a:pt x="303" y="444"/>
                  </a:lnTo>
                  <a:lnTo>
                    <a:pt x="313" y="436"/>
                  </a:lnTo>
                  <a:lnTo>
                    <a:pt x="322" y="432"/>
                  </a:lnTo>
                  <a:lnTo>
                    <a:pt x="331" y="425"/>
                  </a:lnTo>
                  <a:lnTo>
                    <a:pt x="333" y="420"/>
                  </a:lnTo>
                  <a:lnTo>
                    <a:pt x="326" y="407"/>
                  </a:lnTo>
                  <a:lnTo>
                    <a:pt x="323" y="399"/>
                  </a:lnTo>
                  <a:lnTo>
                    <a:pt x="323" y="383"/>
                  </a:lnTo>
                  <a:lnTo>
                    <a:pt x="321" y="375"/>
                  </a:lnTo>
                  <a:lnTo>
                    <a:pt x="316" y="368"/>
                  </a:lnTo>
                  <a:lnTo>
                    <a:pt x="312" y="365"/>
                  </a:lnTo>
                  <a:lnTo>
                    <a:pt x="306" y="359"/>
                  </a:lnTo>
                  <a:lnTo>
                    <a:pt x="304" y="354"/>
                  </a:lnTo>
                  <a:lnTo>
                    <a:pt x="303" y="346"/>
                  </a:lnTo>
                  <a:lnTo>
                    <a:pt x="306" y="339"/>
                  </a:lnTo>
                  <a:lnTo>
                    <a:pt x="325" y="311"/>
                  </a:lnTo>
                  <a:lnTo>
                    <a:pt x="352" y="281"/>
                  </a:lnTo>
                  <a:lnTo>
                    <a:pt x="353" y="273"/>
                  </a:lnTo>
                  <a:lnTo>
                    <a:pt x="348" y="252"/>
                  </a:lnTo>
                  <a:lnTo>
                    <a:pt x="346" y="236"/>
                  </a:lnTo>
                  <a:lnTo>
                    <a:pt x="344" y="230"/>
                  </a:lnTo>
                  <a:lnTo>
                    <a:pt x="340" y="227"/>
                  </a:lnTo>
                  <a:lnTo>
                    <a:pt x="336" y="223"/>
                  </a:lnTo>
                  <a:lnTo>
                    <a:pt x="333" y="217"/>
                  </a:lnTo>
                  <a:lnTo>
                    <a:pt x="331" y="207"/>
                  </a:lnTo>
                  <a:lnTo>
                    <a:pt x="330" y="195"/>
                  </a:lnTo>
                  <a:lnTo>
                    <a:pt x="330" y="181"/>
                  </a:lnTo>
                  <a:lnTo>
                    <a:pt x="331" y="173"/>
                  </a:lnTo>
                  <a:lnTo>
                    <a:pt x="334" y="167"/>
                  </a:lnTo>
                  <a:lnTo>
                    <a:pt x="339" y="163"/>
                  </a:lnTo>
                  <a:lnTo>
                    <a:pt x="343" y="159"/>
                  </a:lnTo>
                  <a:lnTo>
                    <a:pt x="347" y="155"/>
                  </a:lnTo>
                  <a:lnTo>
                    <a:pt x="353" y="147"/>
                  </a:lnTo>
                  <a:lnTo>
                    <a:pt x="357" y="142"/>
                  </a:lnTo>
                  <a:lnTo>
                    <a:pt x="364" y="136"/>
                  </a:lnTo>
                  <a:lnTo>
                    <a:pt x="379" y="128"/>
                  </a:lnTo>
                  <a:lnTo>
                    <a:pt x="385" y="122"/>
                  </a:lnTo>
                  <a:lnTo>
                    <a:pt x="391" y="117"/>
                  </a:lnTo>
                  <a:lnTo>
                    <a:pt x="393" y="110"/>
                  </a:lnTo>
                  <a:lnTo>
                    <a:pt x="394" y="103"/>
                  </a:lnTo>
                  <a:lnTo>
                    <a:pt x="393" y="96"/>
                  </a:lnTo>
                  <a:lnTo>
                    <a:pt x="386" y="78"/>
                  </a:lnTo>
                  <a:lnTo>
                    <a:pt x="386" y="68"/>
                  </a:lnTo>
                  <a:lnTo>
                    <a:pt x="388" y="62"/>
                  </a:lnTo>
                  <a:lnTo>
                    <a:pt x="395" y="53"/>
                  </a:lnTo>
                  <a:lnTo>
                    <a:pt x="406" y="38"/>
                  </a:lnTo>
                  <a:lnTo>
                    <a:pt x="413" y="32"/>
                  </a:lnTo>
                  <a:lnTo>
                    <a:pt x="426" y="25"/>
                  </a:lnTo>
                  <a:lnTo>
                    <a:pt x="435" y="22"/>
                  </a:lnTo>
                  <a:lnTo>
                    <a:pt x="458" y="27"/>
                  </a:lnTo>
                  <a:lnTo>
                    <a:pt x="475" y="26"/>
                  </a:lnTo>
                  <a:lnTo>
                    <a:pt x="485" y="22"/>
                  </a:lnTo>
                  <a:lnTo>
                    <a:pt x="496" y="18"/>
                  </a:lnTo>
                  <a:lnTo>
                    <a:pt x="502" y="13"/>
                  </a:lnTo>
                  <a:lnTo>
                    <a:pt x="515" y="0"/>
                  </a:lnTo>
                  <a:lnTo>
                    <a:pt x="544" y="5"/>
                  </a:lnTo>
                  <a:lnTo>
                    <a:pt x="561" y="19"/>
                  </a:lnTo>
                  <a:lnTo>
                    <a:pt x="570" y="29"/>
                  </a:lnTo>
                  <a:lnTo>
                    <a:pt x="579" y="39"/>
                  </a:lnTo>
                  <a:lnTo>
                    <a:pt x="585" y="48"/>
                  </a:lnTo>
                  <a:lnTo>
                    <a:pt x="605" y="102"/>
                  </a:lnTo>
                  <a:lnTo>
                    <a:pt x="611" y="124"/>
                  </a:lnTo>
                  <a:lnTo>
                    <a:pt x="617" y="139"/>
                  </a:lnTo>
                  <a:lnTo>
                    <a:pt x="625" y="14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5EE5C474-336A-E9EE-8A5F-C83531308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4420" y="1293255"/>
              <a:ext cx="1487078" cy="2182813"/>
            </a:xfrm>
            <a:custGeom>
              <a:avLst/>
              <a:gdLst>
                <a:gd name="T0" fmla="*/ 843 w 1011"/>
                <a:gd name="T1" fmla="*/ 134 h 1484"/>
                <a:gd name="T2" fmla="*/ 853 w 1011"/>
                <a:gd name="T3" fmla="*/ 152 h 1484"/>
                <a:gd name="T4" fmla="*/ 890 w 1011"/>
                <a:gd name="T5" fmla="*/ 170 h 1484"/>
                <a:gd name="T6" fmla="*/ 885 w 1011"/>
                <a:gd name="T7" fmla="*/ 194 h 1484"/>
                <a:gd name="T8" fmla="*/ 879 w 1011"/>
                <a:gd name="T9" fmla="*/ 210 h 1484"/>
                <a:gd name="T10" fmla="*/ 869 w 1011"/>
                <a:gd name="T11" fmla="*/ 220 h 1484"/>
                <a:gd name="T12" fmla="*/ 884 w 1011"/>
                <a:gd name="T13" fmla="*/ 260 h 1484"/>
                <a:gd name="T14" fmla="*/ 893 w 1011"/>
                <a:gd name="T15" fmla="*/ 304 h 1484"/>
                <a:gd name="T16" fmla="*/ 954 w 1011"/>
                <a:gd name="T17" fmla="*/ 361 h 1484"/>
                <a:gd name="T18" fmla="*/ 1006 w 1011"/>
                <a:gd name="T19" fmla="*/ 388 h 1484"/>
                <a:gd name="T20" fmla="*/ 973 w 1011"/>
                <a:gd name="T21" fmla="*/ 600 h 1484"/>
                <a:gd name="T22" fmla="*/ 915 w 1011"/>
                <a:gd name="T23" fmla="*/ 721 h 1484"/>
                <a:gd name="T24" fmla="*/ 824 w 1011"/>
                <a:gd name="T25" fmla="*/ 826 h 1484"/>
                <a:gd name="T26" fmla="*/ 765 w 1011"/>
                <a:gd name="T27" fmla="*/ 899 h 1484"/>
                <a:gd name="T28" fmla="*/ 744 w 1011"/>
                <a:gd name="T29" fmla="*/ 936 h 1484"/>
                <a:gd name="T30" fmla="*/ 655 w 1011"/>
                <a:gd name="T31" fmla="*/ 1016 h 1484"/>
                <a:gd name="T32" fmla="*/ 630 w 1011"/>
                <a:gd name="T33" fmla="*/ 999 h 1484"/>
                <a:gd name="T34" fmla="*/ 598 w 1011"/>
                <a:gd name="T35" fmla="*/ 1066 h 1484"/>
                <a:gd name="T36" fmla="*/ 524 w 1011"/>
                <a:gd name="T37" fmla="*/ 1167 h 1484"/>
                <a:gd name="T38" fmla="*/ 488 w 1011"/>
                <a:gd name="T39" fmla="*/ 1203 h 1484"/>
                <a:gd name="T40" fmla="*/ 491 w 1011"/>
                <a:gd name="T41" fmla="*/ 1268 h 1484"/>
                <a:gd name="T42" fmla="*/ 434 w 1011"/>
                <a:gd name="T43" fmla="*/ 1318 h 1484"/>
                <a:gd name="T44" fmla="*/ 460 w 1011"/>
                <a:gd name="T45" fmla="*/ 1343 h 1484"/>
                <a:gd name="T46" fmla="*/ 417 w 1011"/>
                <a:gd name="T47" fmla="*/ 1387 h 1484"/>
                <a:gd name="T48" fmla="*/ 381 w 1011"/>
                <a:gd name="T49" fmla="*/ 1396 h 1484"/>
                <a:gd name="T50" fmla="*/ 339 w 1011"/>
                <a:gd name="T51" fmla="*/ 1435 h 1484"/>
                <a:gd name="T52" fmla="*/ 324 w 1011"/>
                <a:gd name="T53" fmla="*/ 1476 h 1484"/>
                <a:gd name="T54" fmla="*/ 237 w 1011"/>
                <a:gd name="T55" fmla="*/ 1467 h 1484"/>
                <a:gd name="T56" fmla="*/ 252 w 1011"/>
                <a:gd name="T57" fmla="*/ 1407 h 1484"/>
                <a:gd name="T58" fmla="*/ 236 w 1011"/>
                <a:gd name="T59" fmla="*/ 1367 h 1484"/>
                <a:gd name="T60" fmla="*/ 101 w 1011"/>
                <a:gd name="T61" fmla="*/ 1370 h 1484"/>
                <a:gd name="T62" fmla="*/ 41 w 1011"/>
                <a:gd name="T63" fmla="*/ 1324 h 1484"/>
                <a:gd name="T64" fmla="*/ 78 w 1011"/>
                <a:gd name="T65" fmla="*/ 1242 h 1484"/>
                <a:gd name="T66" fmla="*/ 102 w 1011"/>
                <a:gd name="T67" fmla="*/ 1182 h 1484"/>
                <a:gd name="T68" fmla="*/ 9 w 1011"/>
                <a:gd name="T69" fmla="*/ 983 h 1484"/>
                <a:gd name="T70" fmla="*/ 41 w 1011"/>
                <a:gd name="T71" fmla="*/ 912 h 1484"/>
                <a:gd name="T72" fmla="*/ 95 w 1011"/>
                <a:gd name="T73" fmla="*/ 882 h 1484"/>
                <a:gd name="T74" fmla="*/ 150 w 1011"/>
                <a:gd name="T75" fmla="*/ 886 h 1484"/>
                <a:gd name="T76" fmla="*/ 200 w 1011"/>
                <a:gd name="T77" fmla="*/ 881 h 1484"/>
                <a:gd name="T78" fmla="*/ 280 w 1011"/>
                <a:gd name="T79" fmla="*/ 714 h 1484"/>
                <a:gd name="T80" fmla="*/ 332 w 1011"/>
                <a:gd name="T81" fmla="*/ 669 h 1484"/>
                <a:gd name="T82" fmla="*/ 374 w 1011"/>
                <a:gd name="T83" fmla="*/ 677 h 1484"/>
                <a:gd name="T84" fmla="*/ 319 w 1011"/>
                <a:gd name="T85" fmla="*/ 607 h 1484"/>
                <a:gd name="T86" fmla="*/ 302 w 1011"/>
                <a:gd name="T87" fmla="*/ 495 h 1484"/>
                <a:gd name="T88" fmla="*/ 379 w 1011"/>
                <a:gd name="T89" fmla="*/ 395 h 1484"/>
                <a:gd name="T90" fmla="*/ 498 w 1011"/>
                <a:gd name="T91" fmla="*/ 301 h 1484"/>
                <a:gd name="T92" fmla="*/ 569 w 1011"/>
                <a:gd name="T93" fmla="*/ 215 h 1484"/>
                <a:gd name="T94" fmla="*/ 587 w 1011"/>
                <a:gd name="T95" fmla="*/ 19 h 1484"/>
                <a:gd name="T96" fmla="*/ 610 w 1011"/>
                <a:gd name="T97" fmla="*/ 33 h 1484"/>
                <a:gd name="T98" fmla="*/ 649 w 1011"/>
                <a:gd name="T99" fmla="*/ 75 h 1484"/>
                <a:gd name="T100" fmla="*/ 673 w 1011"/>
                <a:gd name="T101" fmla="*/ 67 h 1484"/>
                <a:gd name="T102" fmla="*/ 686 w 1011"/>
                <a:gd name="T103" fmla="*/ 38 h 1484"/>
                <a:gd name="T104" fmla="*/ 746 w 1011"/>
                <a:gd name="T105" fmla="*/ 31 h 1484"/>
                <a:gd name="T106" fmla="*/ 792 w 1011"/>
                <a:gd name="T107" fmla="*/ 0 h 1484"/>
                <a:gd name="T108" fmla="*/ 817 w 1011"/>
                <a:gd name="T109" fmla="*/ 17 h 1484"/>
                <a:gd name="T110" fmla="*/ 805 w 1011"/>
                <a:gd name="T111" fmla="*/ 35 h 1484"/>
                <a:gd name="T112" fmla="*/ 810 w 1011"/>
                <a:gd name="T113" fmla="*/ 52 h 1484"/>
                <a:gd name="T114" fmla="*/ 844 w 1011"/>
                <a:gd name="T115" fmla="*/ 82 h 1484"/>
                <a:gd name="T116" fmla="*/ 811 w 1011"/>
                <a:gd name="T117" fmla="*/ 122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1" h="1484">
                  <a:moveTo>
                    <a:pt x="830" y="137"/>
                  </a:moveTo>
                  <a:lnTo>
                    <a:pt x="832" y="136"/>
                  </a:lnTo>
                  <a:lnTo>
                    <a:pt x="833" y="135"/>
                  </a:lnTo>
                  <a:lnTo>
                    <a:pt x="835" y="134"/>
                  </a:lnTo>
                  <a:lnTo>
                    <a:pt x="837" y="133"/>
                  </a:lnTo>
                  <a:lnTo>
                    <a:pt x="841" y="133"/>
                  </a:lnTo>
                  <a:lnTo>
                    <a:pt x="843" y="134"/>
                  </a:lnTo>
                  <a:lnTo>
                    <a:pt x="844" y="136"/>
                  </a:lnTo>
                  <a:lnTo>
                    <a:pt x="845" y="148"/>
                  </a:lnTo>
                  <a:lnTo>
                    <a:pt x="846" y="151"/>
                  </a:lnTo>
                  <a:lnTo>
                    <a:pt x="847" y="152"/>
                  </a:lnTo>
                  <a:lnTo>
                    <a:pt x="849" y="153"/>
                  </a:lnTo>
                  <a:lnTo>
                    <a:pt x="851" y="153"/>
                  </a:lnTo>
                  <a:lnTo>
                    <a:pt x="853" y="152"/>
                  </a:lnTo>
                  <a:lnTo>
                    <a:pt x="858" y="148"/>
                  </a:lnTo>
                  <a:lnTo>
                    <a:pt x="862" y="147"/>
                  </a:lnTo>
                  <a:lnTo>
                    <a:pt x="866" y="147"/>
                  </a:lnTo>
                  <a:lnTo>
                    <a:pt x="868" y="150"/>
                  </a:lnTo>
                  <a:lnTo>
                    <a:pt x="872" y="155"/>
                  </a:lnTo>
                  <a:lnTo>
                    <a:pt x="885" y="166"/>
                  </a:lnTo>
                  <a:lnTo>
                    <a:pt x="890" y="170"/>
                  </a:lnTo>
                  <a:lnTo>
                    <a:pt x="895" y="171"/>
                  </a:lnTo>
                  <a:lnTo>
                    <a:pt x="899" y="171"/>
                  </a:lnTo>
                  <a:lnTo>
                    <a:pt x="901" y="172"/>
                  </a:lnTo>
                  <a:lnTo>
                    <a:pt x="902" y="172"/>
                  </a:lnTo>
                  <a:lnTo>
                    <a:pt x="902" y="174"/>
                  </a:lnTo>
                  <a:lnTo>
                    <a:pt x="902" y="175"/>
                  </a:lnTo>
                  <a:lnTo>
                    <a:pt x="885" y="194"/>
                  </a:lnTo>
                  <a:lnTo>
                    <a:pt x="883" y="197"/>
                  </a:lnTo>
                  <a:lnTo>
                    <a:pt x="882" y="199"/>
                  </a:lnTo>
                  <a:lnTo>
                    <a:pt x="882" y="203"/>
                  </a:lnTo>
                  <a:lnTo>
                    <a:pt x="881" y="207"/>
                  </a:lnTo>
                  <a:lnTo>
                    <a:pt x="881" y="209"/>
                  </a:lnTo>
                  <a:lnTo>
                    <a:pt x="880" y="210"/>
                  </a:lnTo>
                  <a:lnTo>
                    <a:pt x="879" y="210"/>
                  </a:lnTo>
                  <a:lnTo>
                    <a:pt x="877" y="211"/>
                  </a:lnTo>
                  <a:lnTo>
                    <a:pt x="875" y="212"/>
                  </a:lnTo>
                  <a:lnTo>
                    <a:pt x="873" y="212"/>
                  </a:lnTo>
                  <a:lnTo>
                    <a:pt x="872" y="214"/>
                  </a:lnTo>
                  <a:lnTo>
                    <a:pt x="871" y="215"/>
                  </a:lnTo>
                  <a:lnTo>
                    <a:pt x="870" y="217"/>
                  </a:lnTo>
                  <a:lnTo>
                    <a:pt x="869" y="220"/>
                  </a:lnTo>
                  <a:lnTo>
                    <a:pt x="869" y="222"/>
                  </a:lnTo>
                  <a:lnTo>
                    <a:pt x="869" y="225"/>
                  </a:lnTo>
                  <a:lnTo>
                    <a:pt x="871" y="230"/>
                  </a:lnTo>
                  <a:lnTo>
                    <a:pt x="871" y="233"/>
                  </a:lnTo>
                  <a:lnTo>
                    <a:pt x="871" y="238"/>
                  </a:lnTo>
                  <a:lnTo>
                    <a:pt x="873" y="242"/>
                  </a:lnTo>
                  <a:lnTo>
                    <a:pt x="884" y="260"/>
                  </a:lnTo>
                  <a:lnTo>
                    <a:pt x="879" y="265"/>
                  </a:lnTo>
                  <a:lnTo>
                    <a:pt x="877" y="270"/>
                  </a:lnTo>
                  <a:lnTo>
                    <a:pt x="876" y="278"/>
                  </a:lnTo>
                  <a:lnTo>
                    <a:pt x="879" y="291"/>
                  </a:lnTo>
                  <a:lnTo>
                    <a:pt x="882" y="299"/>
                  </a:lnTo>
                  <a:lnTo>
                    <a:pt x="888" y="303"/>
                  </a:lnTo>
                  <a:lnTo>
                    <a:pt x="893" y="304"/>
                  </a:lnTo>
                  <a:lnTo>
                    <a:pt x="897" y="306"/>
                  </a:lnTo>
                  <a:lnTo>
                    <a:pt x="902" y="312"/>
                  </a:lnTo>
                  <a:lnTo>
                    <a:pt x="911" y="317"/>
                  </a:lnTo>
                  <a:lnTo>
                    <a:pt x="915" y="321"/>
                  </a:lnTo>
                  <a:lnTo>
                    <a:pt x="933" y="343"/>
                  </a:lnTo>
                  <a:lnTo>
                    <a:pt x="950" y="359"/>
                  </a:lnTo>
                  <a:lnTo>
                    <a:pt x="954" y="361"/>
                  </a:lnTo>
                  <a:lnTo>
                    <a:pt x="978" y="368"/>
                  </a:lnTo>
                  <a:lnTo>
                    <a:pt x="983" y="369"/>
                  </a:lnTo>
                  <a:lnTo>
                    <a:pt x="993" y="368"/>
                  </a:lnTo>
                  <a:lnTo>
                    <a:pt x="998" y="368"/>
                  </a:lnTo>
                  <a:lnTo>
                    <a:pt x="1004" y="370"/>
                  </a:lnTo>
                  <a:lnTo>
                    <a:pt x="1007" y="377"/>
                  </a:lnTo>
                  <a:lnTo>
                    <a:pt x="1006" y="388"/>
                  </a:lnTo>
                  <a:lnTo>
                    <a:pt x="1011" y="507"/>
                  </a:lnTo>
                  <a:lnTo>
                    <a:pt x="1009" y="518"/>
                  </a:lnTo>
                  <a:lnTo>
                    <a:pt x="1004" y="527"/>
                  </a:lnTo>
                  <a:lnTo>
                    <a:pt x="983" y="560"/>
                  </a:lnTo>
                  <a:lnTo>
                    <a:pt x="981" y="575"/>
                  </a:lnTo>
                  <a:lnTo>
                    <a:pt x="980" y="580"/>
                  </a:lnTo>
                  <a:lnTo>
                    <a:pt x="973" y="600"/>
                  </a:lnTo>
                  <a:lnTo>
                    <a:pt x="961" y="615"/>
                  </a:lnTo>
                  <a:lnTo>
                    <a:pt x="952" y="645"/>
                  </a:lnTo>
                  <a:lnTo>
                    <a:pt x="947" y="659"/>
                  </a:lnTo>
                  <a:lnTo>
                    <a:pt x="932" y="690"/>
                  </a:lnTo>
                  <a:lnTo>
                    <a:pt x="924" y="714"/>
                  </a:lnTo>
                  <a:lnTo>
                    <a:pt x="922" y="717"/>
                  </a:lnTo>
                  <a:lnTo>
                    <a:pt x="915" y="721"/>
                  </a:lnTo>
                  <a:lnTo>
                    <a:pt x="908" y="723"/>
                  </a:lnTo>
                  <a:lnTo>
                    <a:pt x="902" y="727"/>
                  </a:lnTo>
                  <a:lnTo>
                    <a:pt x="895" y="734"/>
                  </a:lnTo>
                  <a:lnTo>
                    <a:pt x="890" y="746"/>
                  </a:lnTo>
                  <a:lnTo>
                    <a:pt x="881" y="793"/>
                  </a:lnTo>
                  <a:lnTo>
                    <a:pt x="868" y="820"/>
                  </a:lnTo>
                  <a:lnTo>
                    <a:pt x="824" y="826"/>
                  </a:lnTo>
                  <a:lnTo>
                    <a:pt x="814" y="831"/>
                  </a:lnTo>
                  <a:lnTo>
                    <a:pt x="806" y="835"/>
                  </a:lnTo>
                  <a:lnTo>
                    <a:pt x="799" y="840"/>
                  </a:lnTo>
                  <a:lnTo>
                    <a:pt x="773" y="876"/>
                  </a:lnTo>
                  <a:lnTo>
                    <a:pt x="770" y="884"/>
                  </a:lnTo>
                  <a:lnTo>
                    <a:pt x="768" y="892"/>
                  </a:lnTo>
                  <a:lnTo>
                    <a:pt x="765" y="899"/>
                  </a:lnTo>
                  <a:lnTo>
                    <a:pt x="754" y="905"/>
                  </a:lnTo>
                  <a:lnTo>
                    <a:pt x="751" y="909"/>
                  </a:lnTo>
                  <a:lnTo>
                    <a:pt x="750" y="914"/>
                  </a:lnTo>
                  <a:lnTo>
                    <a:pt x="751" y="920"/>
                  </a:lnTo>
                  <a:lnTo>
                    <a:pt x="750" y="924"/>
                  </a:lnTo>
                  <a:lnTo>
                    <a:pt x="747" y="929"/>
                  </a:lnTo>
                  <a:lnTo>
                    <a:pt x="744" y="936"/>
                  </a:lnTo>
                  <a:lnTo>
                    <a:pt x="740" y="942"/>
                  </a:lnTo>
                  <a:lnTo>
                    <a:pt x="730" y="952"/>
                  </a:lnTo>
                  <a:lnTo>
                    <a:pt x="719" y="970"/>
                  </a:lnTo>
                  <a:lnTo>
                    <a:pt x="712" y="979"/>
                  </a:lnTo>
                  <a:lnTo>
                    <a:pt x="677" y="1007"/>
                  </a:lnTo>
                  <a:lnTo>
                    <a:pt x="667" y="1013"/>
                  </a:lnTo>
                  <a:lnTo>
                    <a:pt x="655" y="1016"/>
                  </a:lnTo>
                  <a:lnTo>
                    <a:pt x="649" y="1014"/>
                  </a:lnTo>
                  <a:lnTo>
                    <a:pt x="645" y="1013"/>
                  </a:lnTo>
                  <a:lnTo>
                    <a:pt x="634" y="1014"/>
                  </a:lnTo>
                  <a:lnTo>
                    <a:pt x="629" y="1013"/>
                  </a:lnTo>
                  <a:lnTo>
                    <a:pt x="628" y="1009"/>
                  </a:lnTo>
                  <a:lnTo>
                    <a:pt x="630" y="1003"/>
                  </a:lnTo>
                  <a:lnTo>
                    <a:pt x="630" y="999"/>
                  </a:lnTo>
                  <a:lnTo>
                    <a:pt x="628" y="996"/>
                  </a:lnTo>
                  <a:lnTo>
                    <a:pt x="624" y="1000"/>
                  </a:lnTo>
                  <a:lnTo>
                    <a:pt x="617" y="1006"/>
                  </a:lnTo>
                  <a:lnTo>
                    <a:pt x="613" y="1016"/>
                  </a:lnTo>
                  <a:lnTo>
                    <a:pt x="609" y="1031"/>
                  </a:lnTo>
                  <a:lnTo>
                    <a:pt x="603" y="1045"/>
                  </a:lnTo>
                  <a:lnTo>
                    <a:pt x="598" y="1066"/>
                  </a:lnTo>
                  <a:lnTo>
                    <a:pt x="584" y="1102"/>
                  </a:lnTo>
                  <a:lnTo>
                    <a:pt x="578" y="1110"/>
                  </a:lnTo>
                  <a:lnTo>
                    <a:pt x="552" y="1131"/>
                  </a:lnTo>
                  <a:lnTo>
                    <a:pt x="537" y="1137"/>
                  </a:lnTo>
                  <a:lnTo>
                    <a:pt x="530" y="1144"/>
                  </a:lnTo>
                  <a:lnTo>
                    <a:pt x="525" y="1154"/>
                  </a:lnTo>
                  <a:lnTo>
                    <a:pt x="524" y="1167"/>
                  </a:lnTo>
                  <a:lnTo>
                    <a:pt x="526" y="1183"/>
                  </a:lnTo>
                  <a:lnTo>
                    <a:pt x="525" y="1186"/>
                  </a:lnTo>
                  <a:lnTo>
                    <a:pt x="522" y="1189"/>
                  </a:lnTo>
                  <a:lnTo>
                    <a:pt x="507" y="1194"/>
                  </a:lnTo>
                  <a:lnTo>
                    <a:pt x="496" y="1200"/>
                  </a:lnTo>
                  <a:lnTo>
                    <a:pt x="492" y="1201"/>
                  </a:lnTo>
                  <a:lnTo>
                    <a:pt x="488" y="1203"/>
                  </a:lnTo>
                  <a:lnTo>
                    <a:pt x="485" y="1209"/>
                  </a:lnTo>
                  <a:lnTo>
                    <a:pt x="482" y="1216"/>
                  </a:lnTo>
                  <a:lnTo>
                    <a:pt x="479" y="1234"/>
                  </a:lnTo>
                  <a:lnTo>
                    <a:pt x="479" y="1242"/>
                  </a:lnTo>
                  <a:lnTo>
                    <a:pt x="480" y="1250"/>
                  </a:lnTo>
                  <a:lnTo>
                    <a:pt x="483" y="1258"/>
                  </a:lnTo>
                  <a:lnTo>
                    <a:pt x="491" y="1268"/>
                  </a:lnTo>
                  <a:lnTo>
                    <a:pt x="491" y="1274"/>
                  </a:lnTo>
                  <a:lnTo>
                    <a:pt x="487" y="1279"/>
                  </a:lnTo>
                  <a:lnTo>
                    <a:pt x="465" y="1294"/>
                  </a:lnTo>
                  <a:lnTo>
                    <a:pt x="423" y="1300"/>
                  </a:lnTo>
                  <a:lnTo>
                    <a:pt x="423" y="1305"/>
                  </a:lnTo>
                  <a:lnTo>
                    <a:pt x="427" y="1311"/>
                  </a:lnTo>
                  <a:lnTo>
                    <a:pt x="434" y="1318"/>
                  </a:lnTo>
                  <a:lnTo>
                    <a:pt x="443" y="1326"/>
                  </a:lnTo>
                  <a:lnTo>
                    <a:pt x="449" y="1329"/>
                  </a:lnTo>
                  <a:lnTo>
                    <a:pt x="456" y="1330"/>
                  </a:lnTo>
                  <a:lnTo>
                    <a:pt x="460" y="1332"/>
                  </a:lnTo>
                  <a:lnTo>
                    <a:pt x="461" y="1335"/>
                  </a:lnTo>
                  <a:lnTo>
                    <a:pt x="461" y="1338"/>
                  </a:lnTo>
                  <a:lnTo>
                    <a:pt x="460" y="1343"/>
                  </a:lnTo>
                  <a:lnTo>
                    <a:pt x="461" y="1350"/>
                  </a:lnTo>
                  <a:lnTo>
                    <a:pt x="468" y="1369"/>
                  </a:lnTo>
                  <a:lnTo>
                    <a:pt x="465" y="1376"/>
                  </a:lnTo>
                  <a:lnTo>
                    <a:pt x="456" y="1379"/>
                  </a:lnTo>
                  <a:lnTo>
                    <a:pt x="430" y="1377"/>
                  </a:lnTo>
                  <a:lnTo>
                    <a:pt x="420" y="1382"/>
                  </a:lnTo>
                  <a:lnTo>
                    <a:pt x="417" y="1387"/>
                  </a:lnTo>
                  <a:lnTo>
                    <a:pt x="413" y="1388"/>
                  </a:lnTo>
                  <a:lnTo>
                    <a:pt x="408" y="1384"/>
                  </a:lnTo>
                  <a:lnTo>
                    <a:pt x="403" y="1380"/>
                  </a:lnTo>
                  <a:lnTo>
                    <a:pt x="399" y="1378"/>
                  </a:lnTo>
                  <a:lnTo>
                    <a:pt x="393" y="1380"/>
                  </a:lnTo>
                  <a:lnTo>
                    <a:pt x="388" y="1385"/>
                  </a:lnTo>
                  <a:lnTo>
                    <a:pt x="381" y="1396"/>
                  </a:lnTo>
                  <a:lnTo>
                    <a:pt x="377" y="1401"/>
                  </a:lnTo>
                  <a:lnTo>
                    <a:pt x="367" y="1404"/>
                  </a:lnTo>
                  <a:lnTo>
                    <a:pt x="361" y="1407"/>
                  </a:lnTo>
                  <a:lnTo>
                    <a:pt x="353" y="1414"/>
                  </a:lnTo>
                  <a:lnTo>
                    <a:pt x="348" y="1420"/>
                  </a:lnTo>
                  <a:lnTo>
                    <a:pt x="344" y="1428"/>
                  </a:lnTo>
                  <a:lnTo>
                    <a:pt x="339" y="1435"/>
                  </a:lnTo>
                  <a:lnTo>
                    <a:pt x="334" y="1442"/>
                  </a:lnTo>
                  <a:lnTo>
                    <a:pt x="328" y="1449"/>
                  </a:lnTo>
                  <a:lnTo>
                    <a:pt x="327" y="1456"/>
                  </a:lnTo>
                  <a:lnTo>
                    <a:pt x="327" y="1462"/>
                  </a:lnTo>
                  <a:lnTo>
                    <a:pt x="326" y="1467"/>
                  </a:lnTo>
                  <a:lnTo>
                    <a:pt x="325" y="1471"/>
                  </a:lnTo>
                  <a:lnTo>
                    <a:pt x="324" y="1476"/>
                  </a:lnTo>
                  <a:lnTo>
                    <a:pt x="321" y="1480"/>
                  </a:lnTo>
                  <a:lnTo>
                    <a:pt x="315" y="1482"/>
                  </a:lnTo>
                  <a:lnTo>
                    <a:pt x="296" y="1484"/>
                  </a:lnTo>
                  <a:lnTo>
                    <a:pt x="267" y="1483"/>
                  </a:lnTo>
                  <a:lnTo>
                    <a:pt x="253" y="1480"/>
                  </a:lnTo>
                  <a:lnTo>
                    <a:pt x="244" y="1474"/>
                  </a:lnTo>
                  <a:lnTo>
                    <a:pt x="237" y="1467"/>
                  </a:lnTo>
                  <a:lnTo>
                    <a:pt x="236" y="1461"/>
                  </a:lnTo>
                  <a:lnTo>
                    <a:pt x="236" y="1455"/>
                  </a:lnTo>
                  <a:lnTo>
                    <a:pt x="238" y="1448"/>
                  </a:lnTo>
                  <a:lnTo>
                    <a:pt x="240" y="1443"/>
                  </a:lnTo>
                  <a:lnTo>
                    <a:pt x="248" y="1431"/>
                  </a:lnTo>
                  <a:lnTo>
                    <a:pt x="249" y="1427"/>
                  </a:lnTo>
                  <a:lnTo>
                    <a:pt x="252" y="1407"/>
                  </a:lnTo>
                  <a:lnTo>
                    <a:pt x="251" y="1401"/>
                  </a:lnTo>
                  <a:lnTo>
                    <a:pt x="248" y="1396"/>
                  </a:lnTo>
                  <a:lnTo>
                    <a:pt x="239" y="1388"/>
                  </a:lnTo>
                  <a:lnTo>
                    <a:pt x="238" y="1383"/>
                  </a:lnTo>
                  <a:lnTo>
                    <a:pt x="238" y="1379"/>
                  </a:lnTo>
                  <a:lnTo>
                    <a:pt x="239" y="1372"/>
                  </a:lnTo>
                  <a:lnTo>
                    <a:pt x="236" y="1367"/>
                  </a:lnTo>
                  <a:lnTo>
                    <a:pt x="226" y="1362"/>
                  </a:lnTo>
                  <a:lnTo>
                    <a:pt x="207" y="1359"/>
                  </a:lnTo>
                  <a:lnTo>
                    <a:pt x="195" y="1359"/>
                  </a:lnTo>
                  <a:lnTo>
                    <a:pt x="171" y="1367"/>
                  </a:lnTo>
                  <a:lnTo>
                    <a:pt x="158" y="1370"/>
                  </a:lnTo>
                  <a:lnTo>
                    <a:pt x="110" y="1367"/>
                  </a:lnTo>
                  <a:lnTo>
                    <a:pt x="101" y="1370"/>
                  </a:lnTo>
                  <a:lnTo>
                    <a:pt x="96" y="1371"/>
                  </a:lnTo>
                  <a:lnTo>
                    <a:pt x="83" y="1369"/>
                  </a:lnTo>
                  <a:lnTo>
                    <a:pt x="66" y="1374"/>
                  </a:lnTo>
                  <a:lnTo>
                    <a:pt x="66" y="1374"/>
                  </a:lnTo>
                  <a:lnTo>
                    <a:pt x="54" y="1344"/>
                  </a:lnTo>
                  <a:lnTo>
                    <a:pt x="44" y="1332"/>
                  </a:lnTo>
                  <a:lnTo>
                    <a:pt x="41" y="1324"/>
                  </a:lnTo>
                  <a:lnTo>
                    <a:pt x="40" y="1314"/>
                  </a:lnTo>
                  <a:lnTo>
                    <a:pt x="43" y="1306"/>
                  </a:lnTo>
                  <a:lnTo>
                    <a:pt x="67" y="1290"/>
                  </a:lnTo>
                  <a:lnTo>
                    <a:pt x="64" y="1274"/>
                  </a:lnTo>
                  <a:lnTo>
                    <a:pt x="64" y="1254"/>
                  </a:lnTo>
                  <a:lnTo>
                    <a:pt x="70" y="1249"/>
                  </a:lnTo>
                  <a:lnTo>
                    <a:pt x="78" y="1242"/>
                  </a:lnTo>
                  <a:lnTo>
                    <a:pt x="87" y="1240"/>
                  </a:lnTo>
                  <a:lnTo>
                    <a:pt x="97" y="1240"/>
                  </a:lnTo>
                  <a:lnTo>
                    <a:pt x="100" y="1232"/>
                  </a:lnTo>
                  <a:lnTo>
                    <a:pt x="100" y="1222"/>
                  </a:lnTo>
                  <a:lnTo>
                    <a:pt x="101" y="1209"/>
                  </a:lnTo>
                  <a:lnTo>
                    <a:pt x="105" y="1197"/>
                  </a:lnTo>
                  <a:lnTo>
                    <a:pt x="102" y="1182"/>
                  </a:lnTo>
                  <a:lnTo>
                    <a:pt x="104" y="1172"/>
                  </a:lnTo>
                  <a:lnTo>
                    <a:pt x="116" y="1167"/>
                  </a:lnTo>
                  <a:lnTo>
                    <a:pt x="115" y="1150"/>
                  </a:lnTo>
                  <a:lnTo>
                    <a:pt x="95" y="1122"/>
                  </a:lnTo>
                  <a:lnTo>
                    <a:pt x="55" y="1074"/>
                  </a:lnTo>
                  <a:lnTo>
                    <a:pt x="23" y="1018"/>
                  </a:lnTo>
                  <a:lnTo>
                    <a:pt x="9" y="983"/>
                  </a:lnTo>
                  <a:lnTo>
                    <a:pt x="0" y="964"/>
                  </a:lnTo>
                  <a:lnTo>
                    <a:pt x="4" y="950"/>
                  </a:lnTo>
                  <a:lnTo>
                    <a:pt x="13" y="942"/>
                  </a:lnTo>
                  <a:lnTo>
                    <a:pt x="22" y="934"/>
                  </a:lnTo>
                  <a:lnTo>
                    <a:pt x="30" y="925"/>
                  </a:lnTo>
                  <a:lnTo>
                    <a:pt x="36" y="918"/>
                  </a:lnTo>
                  <a:lnTo>
                    <a:pt x="41" y="912"/>
                  </a:lnTo>
                  <a:lnTo>
                    <a:pt x="50" y="902"/>
                  </a:lnTo>
                  <a:lnTo>
                    <a:pt x="57" y="892"/>
                  </a:lnTo>
                  <a:lnTo>
                    <a:pt x="59" y="887"/>
                  </a:lnTo>
                  <a:lnTo>
                    <a:pt x="67" y="884"/>
                  </a:lnTo>
                  <a:lnTo>
                    <a:pt x="76" y="887"/>
                  </a:lnTo>
                  <a:lnTo>
                    <a:pt x="85" y="887"/>
                  </a:lnTo>
                  <a:lnTo>
                    <a:pt x="95" y="882"/>
                  </a:lnTo>
                  <a:lnTo>
                    <a:pt x="104" y="877"/>
                  </a:lnTo>
                  <a:lnTo>
                    <a:pt x="114" y="879"/>
                  </a:lnTo>
                  <a:lnTo>
                    <a:pt x="121" y="877"/>
                  </a:lnTo>
                  <a:lnTo>
                    <a:pt x="130" y="874"/>
                  </a:lnTo>
                  <a:lnTo>
                    <a:pt x="129" y="879"/>
                  </a:lnTo>
                  <a:lnTo>
                    <a:pt x="141" y="886"/>
                  </a:lnTo>
                  <a:lnTo>
                    <a:pt x="150" y="886"/>
                  </a:lnTo>
                  <a:lnTo>
                    <a:pt x="159" y="879"/>
                  </a:lnTo>
                  <a:lnTo>
                    <a:pt x="163" y="877"/>
                  </a:lnTo>
                  <a:lnTo>
                    <a:pt x="169" y="871"/>
                  </a:lnTo>
                  <a:lnTo>
                    <a:pt x="176" y="869"/>
                  </a:lnTo>
                  <a:lnTo>
                    <a:pt x="183" y="878"/>
                  </a:lnTo>
                  <a:lnTo>
                    <a:pt x="188" y="879"/>
                  </a:lnTo>
                  <a:lnTo>
                    <a:pt x="200" y="881"/>
                  </a:lnTo>
                  <a:lnTo>
                    <a:pt x="218" y="874"/>
                  </a:lnTo>
                  <a:lnTo>
                    <a:pt x="232" y="861"/>
                  </a:lnTo>
                  <a:lnTo>
                    <a:pt x="247" y="846"/>
                  </a:lnTo>
                  <a:lnTo>
                    <a:pt x="257" y="804"/>
                  </a:lnTo>
                  <a:lnTo>
                    <a:pt x="259" y="791"/>
                  </a:lnTo>
                  <a:lnTo>
                    <a:pt x="267" y="747"/>
                  </a:lnTo>
                  <a:lnTo>
                    <a:pt x="280" y="714"/>
                  </a:lnTo>
                  <a:lnTo>
                    <a:pt x="296" y="683"/>
                  </a:lnTo>
                  <a:lnTo>
                    <a:pt x="303" y="664"/>
                  </a:lnTo>
                  <a:lnTo>
                    <a:pt x="306" y="661"/>
                  </a:lnTo>
                  <a:lnTo>
                    <a:pt x="313" y="656"/>
                  </a:lnTo>
                  <a:lnTo>
                    <a:pt x="322" y="655"/>
                  </a:lnTo>
                  <a:lnTo>
                    <a:pt x="330" y="652"/>
                  </a:lnTo>
                  <a:lnTo>
                    <a:pt x="332" y="669"/>
                  </a:lnTo>
                  <a:lnTo>
                    <a:pt x="341" y="683"/>
                  </a:lnTo>
                  <a:lnTo>
                    <a:pt x="360" y="691"/>
                  </a:lnTo>
                  <a:lnTo>
                    <a:pt x="377" y="693"/>
                  </a:lnTo>
                  <a:lnTo>
                    <a:pt x="413" y="694"/>
                  </a:lnTo>
                  <a:lnTo>
                    <a:pt x="413" y="685"/>
                  </a:lnTo>
                  <a:lnTo>
                    <a:pt x="394" y="681"/>
                  </a:lnTo>
                  <a:lnTo>
                    <a:pt x="374" y="677"/>
                  </a:lnTo>
                  <a:lnTo>
                    <a:pt x="361" y="677"/>
                  </a:lnTo>
                  <a:lnTo>
                    <a:pt x="351" y="669"/>
                  </a:lnTo>
                  <a:lnTo>
                    <a:pt x="343" y="651"/>
                  </a:lnTo>
                  <a:lnTo>
                    <a:pt x="335" y="635"/>
                  </a:lnTo>
                  <a:lnTo>
                    <a:pt x="326" y="631"/>
                  </a:lnTo>
                  <a:lnTo>
                    <a:pt x="321" y="624"/>
                  </a:lnTo>
                  <a:lnTo>
                    <a:pt x="319" y="607"/>
                  </a:lnTo>
                  <a:lnTo>
                    <a:pt x="313" y="589"/>
                  </a:lnTo>
                  <a:lnTo>
                    <a:pt x="311" y="570"/>
                  </a:lnTo>
                  <a:lnTo>
                    <a:pt x="301" y="549"/>
                  </a:lnTo>
                  <a:lnTo>
                    <a:pt x="289" y="534"/>
                  </a:lnTo>
                  <a:lnTo>
                    <a:pt x="280" y="506"/>
                  </a:lnTo>
                  <a:lnTo>
                    <a:pt x="288" y="496"/>
                  </a:lnTo>
                  <a:lnTo>
                    <a:pt x="302" y="495"/>
                  </a:lnTo>
                  <a:lnTo>
                    <a:pt x="324" y="477"/>
                  </a:lnTo>
                  <a:lnTo>
                    <a:pt x="344" y="446"/>
                  </a:lnTo>
                  <a:lnTo>
                    <a:pt x="351" y="434"/>
                  </a:lnTo>
                  <a:lnTo>
                    <a:pt x="353" y="425"/>
                  </a:lnTo>
                  <a:lnTo>
                    <a:pt x="358" y="410"/>
                  </a:lnTo>
                  <a:lnTo>
                    <a:pt x="365" y="399"/>
                  </a:lnTo>
                  <a:lnTo>
                    <a:pt x="379" y="395"/>
                  </a:lnTo>
                  <a:lnTo>
                    <a:pt x="388" y="381"/>
                  </a:lnTo>
                  <a:lnTo>
                    <a:pt x="396" y="367"/>
                  </a:lnTo>
                  <a:lnTo>
                    <a:pt x="408" y="378"/>
                  </a:lnTo>
                  <a:lnTo>
                    <a:pt x="423" y="370"/>
                  </a:lnTo>
                  <a:lnTo>
                    <a:pt x="440" y="358"/>
                  </a:lnTo>
                  <a:lnTo>
                    <a:pt x="458" y="344"/>
                  </a:lnTo>
                  <a:lnTo>
                    <a:pt x="498" y="301"/>
                  </a:lnTo>
                  <a:lnTo>
                    <a:pt x="530" y="260"/>
                  </a:lnTo>
                  <a:lnTo>
                    <a:pt x="541" y="246"/>
                  </a:lnTo>
                  <a:lnTo>
                    <a:pt x="546" y="233"/>
                  </a:lnTo>
                  <a:lnTo>
                    <a:pt x="547" y="224"/>
                  </a:lnTo>
                  <a:lnTo>
                    <a:pt x="550" y="222"/>
                  </a:lnTo>
                  <a:lnTo>
                    <a:pt x="555" y="220"/>
                  </a:lnTo>
                  <a:lnTo>
                    <a:pt x="569" y="215"/>
                  </a:lnTo>
                  <a:lnTo>
                    <a:pt x="578" y="190"/>
                  </a:lnTo>
                  <a:lnTo>
                    <a:pt x="585" y="168"/>
                  </a:lnTo>
                  <a:lnTo>
                    <a:pt x="588" y="133"/>
                  </a:lnTo>
                  <a:lnTo>
                    <a:pt x="587" y="117"/>
                  </a:lnTo>
                  <a:lnTo>
                    <a:pt x="583" y="88"/>
                  </a:lnTo>
                  <a:lnTo>
                    <a:pt x="581" y="38"/>
                  </a:lnTo>
                  <a:lnTo>
                    <a:pt x="587" y="19"/>
                  </a:lnTo>
                  <a:lnTo>
                    <a:pt x="587" y="14"/>
                  </a:lnTo>
                  <a:lnTo>
                    <a:pt x="589" y="12"/>
                  </a:lnTo>
                  <a:lnTo>
                    <a:pt x="596" y="15"/>
                  </a:lnTo>
                  <a:lnTo>
                    <a:pt x="599" y="18"/>
                  </a:lnTo>
                  <a:lnTo>
                    <a:pt x="601" y="23"/>
                  </a:lnTo>
                  <a:lnTo>
                    <a:pt x="604" y="33"/>
                  </a:lnTo>
                  <a:lnTo>
                    <a:pt x="610" y="33"/>
                  </a:lnTo>
                  <a:lnTo>
                    <a:pt x="611" y="25"/>
                  </a:lnTo>
                  <a:lnTo>
                    <a:pt x="613" y="19"/>
                  </a:lnTo>
                  <a:lnTo>
                    <a:pt x="613" y="19"/>
                  </a:lnTo>
                  <a:lnTo>
                    <a:pt x="630" y="60"/>
                  </a:lnTo>
                  <a:lnTo>
                    <a:pt x="639" y="72"/>
                  </a:lnTo>
                  <a:lnTo>
                    <a:pt x="643" y="74"/>
                  </a:lnTo>
                  <a:lnTo>
                    <a:pt x="649" y="75"/>
                  </a:lnTo>
                  <a:lnTo>
                    <a:pt x="653" y="77"/>
                  </a:lnTo>
                  <a:lnTo>
                    <a:pt x="658" y="77"/>
                  </a:lnTo>
                  <a:lnTo>
                    <a:pt x="661" y="77"/>
                  </a:lnTo>
                  <a:lnTo>
                    <a:pt x="663" y="75"/>
                  </a:lnTo>
                  <a:lnTo>
                    <a:pt x="667" y="71"/>
                  </a:lnTo>
                  <a:lnTo>
                    <a:pt x="669" y="69"/>
                  </a:lnTo>
                  <a:lnTo>
                    <a:pt x="673" y="67"/>
                  </a:lnTo>
                  <a:lnTo>
                    <a:pt x="675" y="65"/>
                  </a:lnTo>
                  <a:lnTo>
                    <a:pt x="677" y="61"/>
                  </a:lnTo>
                  <a:lnTo>
                    <a:pt x="679" y="56"/>
                  </a:lnTo>
                  <a:lnTo>
                    <a:pt x="682" y="48"/>
                  </a:lnTo>
                  <a:lnTo>
                    <a:pt x="685" y="41"/>
                  </a:lnTo>
                  <a:lnTo>
                    <a:pt x="685" y="40"/>
                  </a:lnTo>
                  <a:lnTo>
                    <a:pt x="686" y="38"/>
                  </a:lnTo>
                  <a:lnTo>
                    <a:pt x="687" y="38"/>
                  </a:lnTo>
                  <a:lnTo>
                    <a:pt x="689" y="36"/>
                  </a:lnTo>
                  <a:lnTo>
                    <a:pt x="691" y="36"/>
                  </a:lnTo>
                  <a:lnTo>
                    <a:pt x="714" y="38"/>
                  </a:lnTo>
                  <a:lnTo>
                    <a:pt x="725" y="36"/>
                  </a:lnTo>
                  <a:lnTo>
                    <a:pt x="738" y="34"/>
                  </a:lnTo>
                  <a:lnTo>
                    <a:pt x="746" y="31"/>
                  </a:lnTo>
                  <a:lnTo>
                    <a:pt x="750" y="29"/>
                  </a:lnTo>
                  <a:lnTo>
                    <a:pt x="757" y="23"/>
                  </a:lnTo>
                  <a:lnTo>
                    <a:pt x="771" y="8"/>
                  </a:lnTo>
                  <a:lnTo>
                    <a:pt x="775" y="6"/>
                  </a:lnTo>
                  <a:lnTo>
                    <a:pt x="779" y="3"/>
                  </a:lnTo>
                  <a:lnTo>
                    <a:pt x="786" y="0"/>
                  </a:lnTo>
                  <a:lnTo>
                    <a:pt x="792" y="0"/>
                  </a:lnTo>
                  <a:lnTo>
                    <a:pt x="796" y="0"/>
                  </a:lnTo>
                  <a:lnTo>
                    <a:pt x="799" y="1"/>
                  </a:lnTo>
                  <a:lnTo>
                    <a:pt x="803" y="2"/>
                  </a:lnTo>
                  <a:lnTo>
                    <a:pt x="809" y="7"/>
                  </a:lnTo>
                  <a:lnTo>
                    <a:pt x="815" y="13"/>
                  </a:lnTo>
                  <a:lnTo>
                    <a:pt x="816" y="15"/>
                  </a:lnTo>
                  <a:lnTo>
                    <a:pt x="817" y="17"/>
                  </a:lnTo>
                  <a:lnTo>
                    <a:pt x="817" y="18"/>
                  </a:lnTo>
                  <a:lnTo>
                    <a:pt x="817" y="19"/>
                  </a:lnTo>
                  <a:lnTo>
                    <a:pt x="817" y="20"/>
                  </a:lnTo>
                  <a:lnTo>
                    <a:pt x="816" y="21"/>
                  </a:lnTo>
                  <a:lnTo>
                    <a:pt x="809" y="29"/>
                  </a:lnTo>
                  <a:lnTo>
                    <a:pt x="807" y="33"/>
                  </a:lnTo>
                  <a:lnTo>
                    <a:pt x="805" y="35"/>
                  </a:lnTo>
                  <a:lnTo>
                    <a:pt x="805" y="38"/>
                  </a:lnTo>
                  <a:lnTo>
                    <a:pt x="804" y="40"/>
                  </a:lnTo>
                  <a:lnTo>
                    <a:pt x="804" y="42"/>
                  </a:lnTo>
                  <a:lnTo>
                    <a:pt x="805" y="45"/>
                  </a:lnTo>
                  <a:lnTo>
                    <a:pt x="806" y="47"/>
                  </a:lnTo>
                  <a:lnTo>
                    <a:pt x="808" y="49"/>
                  </a:lnTo>
                  <a:lnTo>
                    <a:pt x="810" y="52"/>
                  </a:lnTo>
                  <a:lnTo>
                    <a:pt x="842" y="71"/>
                  </a:lnTo>
                  <a:lnTo>
                    <a:pt x="844" y="73"/>
                  </a:lnTo>
                  <a:lnTo>
                    <a:pt x="846" y="75"/>
                  </a:lnTo>
                  <a:lnTo>
                    <a:pt x="846" y="77"/>
                  </a:lnTo>
                  <a:lnTo>
                    <a:pt x="846" y="79"/>
                  </a:lnTo>
                  <a:lnTo>
                    <a:pt x="845" y="80"/>
                  </a:lnTo>
                  <a:lnTo>
                    <a:pt x="844" y="82"/>
                  </a:lnTo>
                  <a:lnTo>
                    <a:pt x="840" y="86"/>
                  </a:lnTo>
                  <a:lnTo>
                    <a:pt x="835" y="90"/>
                  </a:lnTo>
                  <a:lnTo>
                    <a:pt x="832" y="93"/>
                  </a:lnTo>
                  <a:lnTo>
                    <a:pt x="828" y="98"/>
                  </a:lnTo>
                  <a:lnTo>
                    <a:pt x="825" y="103"/>
                  </a:lnTo>
                  <a:lnTo>
                    <a:pt x="812" y="121"/>
                  </a:lnTo>
                  <a:lnTo>
                    <a:pt x="811" y="122"/>
                  </a:lnTo>
                  <a:lnTo>
                    <a:pt x="812" y="125"/>
                  </a:lnTo>
                  <a:lnTo>
                    <a:pt x="815" y="127"/>
                  </a:lnTo>
                  <a:lnTo>
                    <a:pt x="822" y="134"/>
                  </a:lnTo>
                  <a:lnTo>
                    <a:pt x="827" y="136"/>
                  </a:lnTo>
                  <a:lnTo>
                    <a:pt x="830" y="13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A8B9DD5F-80C9-617E-2F51-EB0F59B08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048" y="2197857"/>
              <a:ext cx="770751" cy="1585628"/>
            </a:xfrm>
            <a:custGeom>
              <a:avLst/>
              <a:gdLst>
                <a:gd name="T0" fmla="*/ 354 w 524"/>
                <a:gd name="T1" fmla="*/ 7 h 1078"/>
                <a:gd name="T2" fmla="*/ 345 w 524"/>
                <a:gd name="T3" fmla="*/ 31 h 1078"/>
                <a:gd name="T4" fmla="*/ 343 w 524"/>
                <a:gd name="T5" fmla="*/ 68 h 1078"/>
                <a:gd name="T6" fmla="*/ 348 w 524"/>
                <a:gd name="T7" fmla="*/ 92 h 1078"/>
                <a:gd name="T8" fmla="*/ 380 w 524"/>
                <a:gd name="T9" fmla="*/ 101 h 1078"/>
                <a:gd name="T10" fmla="*/ 411 w 524"/>
                <a:gd name="T11" fmla="*/ 77 h 1078"/>
                <a:gd name="T12" fmla="*/ 495 w 524"/>
                <a:gd name="T13" fmla="*/ 8 h 1078"/>
                <a:gd name="T14" fmla="*/ 518 w 524"/>
                <a:gd name="T15" fmla="*/ 35 h 1078"/>
                <a:gd name="T16" fmla="*/ 452 w 524"/>
                <a:gd name="T17" fmla="*/ 170 h 1078"/>
                <a:gd name="T18" fmla="*/ 417 w 524"/>
                <a:gd name="T19" fmla="*/ 218 h 1078"/>
                <a:gd name="T20" fmla="*/ 388 w 524"/>
                <a:gd name="T21" fmla="*/ 247 h 1078"/>
                <a:gd name="T22" fmla="*/ 379 w 524"/>
                <a:gd name="T23" fmla="*/ 307 h 1078"/>
                <a:gd name="T24" fmla="*/ 372 w 524"/>
                <a:gd name="T25" fmla="*/ 397 h 1078"/>
                <a:gd name="T26" fmla="*/ 351 w 524"/>
                <a:gd name="T27" fmla="*/ 472 h 1078"/>
                <a:gd name="T28" fmla="*/ 325 w 524"/>
                <a:gd name="T29" fmla="*/ 522 h 1078"/>
                <a:gd name="T30" fmla="*/ 349 w 524"/>
                <a:gd name="T31" fmla="*/ 504 h 1078"/>
                <a:gd name="T32" fmla="*/ 368 w 524"/>
                <a:gd name="T33" fmla="*/ 515 h 1078"/>
                <a:gd name="T34" fmla="*/ 382 w 524"/>
                <a:gd name="T35" fmla="*/ 539 h 1078"/>
                <a:gd name="T36" fmla="*/ 369 w 524"/>
                <a:gd name="T37" fmla="*/ 546 h 1078"/>
                <a:gd name="T38" fmla="*/ 376 w 524"/>
                <a:gd name="T39" fmla="*/ 630 h 1078"/>
                <a:gd name="T40" fmla="*/ 416 w 524"/>
                <a:gd name="T41" fmla="*/ 667 h 1078"/>
                <a:gd name="T42" fmla="*/ 404 w 524"/>
                <a:gd name="T43" fmla="*/ 698 h 1078"/>
                <a:gd name="T44" fmla="*/ 391 w 524"/>
                <a:gd name="T45" fmla="*/ 696 h 1078"/>
                <a:gd name="T46" fmla="*/ 358 w 524"/>
                <a:gd name="T47" fmla="*/ 726 h 1078"/>
                <a:gd name="T48" fmla="*/ 358 w 524"/>
                <a:gd name="T49" fmla="*/ 737 h 1078"/>
                <a:gd name="T50" fmla="*/ 374 w 524"/>
                <a:gd name="T51" fmla="*/ 746 h 1078"/>
                <a:gd name="T52" fmla="*/ 395 w 524"/>
                <a:gd name="T53" fmla="*/ 768 h 1078"/>
                <a:gd name="T54" fmla="*/ 414 w 524"/>
                <a:gd name="T55" fmla="*/ 824 h 1078"/>
                <a:gd name="T56" fmla="*/ 429 w 524"/>
                <a:gd name="T57" fmla="*/ 856 h 1078"/>
                <a:gd name="T58" fmla="*/ 407 w 524"/>
                <a:gd name="T59" fmla="*/ 926 h 1078"/>
                <a:gd name="T60" fmla="*/ 418 w 524"/>
                <a:gd name="T61" fmla="*/ 972 h 1078"/>
                <a:gd name="T62" fmla="*/ 441 w 524"/>
                <a:gd name="T63" fmla="*/ 1035 h 1078"/>
                <a:gd name="T64" fmla="*/ 341 w 524"/>
                <a:gd name="T65" fmla="*/ 963 h 1078"/>
                <a:gd name="T66" fmla="*/ 290 w 524"/>
                <a:gd name="T67" fmla="*/ 926 h 1078"/>
                <a:gd name="T68" fmla="*/ 220 w 524"/>
                <a:gd name="T69" fmla="*/ 899 h 1078"/>
                <a:gd name="T70" fmla="*/ 143 w 524"/>
                <a:gd name="T71" fmla="*/ 907 h 1078"/>
                <a:gd name="T72" fmla="*/ 110 w 524"/>
                <a:gd name="T73" fmla="*/ 833 h 1078"/>
                <a:gd name="T74" fmla="*/ 75 w 524"/>
                <a:gd name="T75" fmla="*/ 772 h 1078"/>
                <a:gd name="T76" fmla="*/ 5 w 524"/>
                <a:gd name="T77" fmla="*/ 723 h 1078"/>
                <a:gd name="T78" fmla="*/ 10 w 524"/>
                <a:gd name="T79" fmla="*/ 689 h 1078"/>
                <a:gd name="T80" fmla="*/ 5 w 524"/>
                <a:gd name="T81" fmla="*/ 602 h 1078"/>
                <a:gd name="T82" fmla="*/ 39 w 524"/>
                <a:gd name="T83" fmla="*/ 541 h 1078"/>
                <a:gd name="T84" fmla="*/ 85 w 524"/>
                <a:gd name="T85" fmla="*/ 450 h 1078"/>
                <a:gd name="T86" fmla="*/ 91 w 524"/>
                <a:gd name="T87" fmla="*/ 427 h 1078"/>
                <a:gd name="T88" fmla="*/ 107 w 524"/>
                <a:gd name="T89" fmla="*/ 419 h 1078"/>
                <a:gd name="T90" fmla="*/ 115 w 524"/>
                <a:gd name="T91" fmla="*/ 406 h 1078"/>
                <a:gd name="T92" fmla="*/ 128 w 524"/>
                <a:gd name="T93" fmla="*/ 394 h 1078"/>
                <a:gd name="T94" fmla="*/ 146 w 524"/>
                <a:gd name="T95" fmla="*/ 378 h 1078"/>
                <a:gd name="T96" fmla="*/ 167 w 524"/>
                <a:gd name="T97" fmla="*/ 353 h 1078"/>
                <a:gd name="T98" fmla="*/ 189 w 524"/>
                <a:gd name="T99" fmla="*/ 344 h 1078"/>
                <a:gd name="T100" fmla="*/ 203 w 524"/>
                <a:gd name="T101" fmla="*/ 303 h 1078"/>
                <a:gd name="T102" fmla="*/ 222 w 524"/>
                <a:gd name="T103" fmla="*/ 284 h 1078"/>
                <a:gd name="T104" fmla="*/ 223 w 524"/>
                <a:gd name="T105" fmla="*/ 262 h 1078"/>
                <a:gd name="T106" fmla="*/ 224 w 524"/>
                <a:gd name="T107" fmla="*/ 196 h 1078"/>
                <a:gd name="T108" fmla="*/ 181 w 524"/>
                <a:gd name="T109" fmla="*/ 178 h 1078"/>
                <a:gd name="T110" fmla="*/ 208 w 524"/>
                <a:gd name="T111" fmla="*/ 108 h 1078"/>
                <a:gd name="T112" fmla="*/ 232 w 524"/>
                <a:gd name="T113" fmla="*/ 75 h 1078"/>
                <a:gd name="T114" fmla="*/ 281 w 524"/>
                <a:gd name="T11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4" h="1078">
                  <a:moveTo>
                    <a:pt x="296" y="2"/>
                  </a:moveTo>
                  <a:lnTo>
                    <a:pt x="332" y="1"/>
                  </a:lnTo>
                  <a:lnTo>
                    <a:pt x="348" y="3"/>
                  </a:lnTo>
                  <a:lnTo>
                    <a:pt x="354" y="7"/>
                  </a:lnTo>
                  <a:lnTo>
                    <a:pt x="351" y="11"/>
                  </a:lnTo>
                  <a:lnTo>
                    <a:pt x="346" y="15"/>
                  </a:lnTo>
                  <a:lnTo>
                    <a:pt x="343" y="22"/>
                  </a:lnTo>
                  <a:lnTo>
                    <a:pt x="345" y="31"/>
                  </a:lnTo>
                  <a:lnTo>
                    <a:pt x="349" y="42"/>
                  </a:lnTo>
                  <a:lnTo>
                    <a:pt x="351" y="52"/>
                  </a:lnTo>
                  <a:lnTo>
                    <a:pt x="348" y="60"/>
                  </a:lnTo>
                  <a:lnTo>
                    <a:pt x="343" y="68"/>
                  </a:lnTo>
                  <a:lnTo>
                    <a:pt x="341" y="75"/>
                  </a:lnTo>
                  <a:lnTo>
                    <a:pt x="343" y="81"/>
                  </a:lnTo>
                  <a:lnTo>
                    <a:pt x="344" y="87"/>
                  </a:lnTo>
                  <a:lnTo>
                    <a:pt x="348" y="92"/>
                  </a:lnTo>
                  <a:lnTo>
                    <a:pt x="354" y="96"/>
                  </a:lnTo>
                  <a:lnTo>
                    <a:pt x="363" y="100"/>
                  </a:lnTo>
                  <a:lnTo>
                    <a:pt x="371" y="102"/>
                  </a:lnTo>
                  <a:lnTo>
                    <a:pt x="380" y="101"/>
                  </a:lnTo>
                  <a:lnTo>
                    <a:pt x="389" y="99"/>
                  </a:lnTo>
                  <a:lnTo>
                    <a:pt x="395" y="94"/>
                  </a:lnTo>
                  <a:lnTo>
                    <a:pt x="403" y="86"/>
                  </a:lnTo>
                  <a:lnTo>
                    <a:pt x="411" y="77"/>
                  </a:lnTo>
                  <a:lnTo>
                    <a:pt x="420" y="70"/>
                  </a:lnTo>
                  <a:lnTo>
                    <a:pt x="437" y="62"/>
                  </a:lnTo>
                  <a:lnTo>
                    <a:pt x="445" y="56"/>
                  </a:lnTo>
                  <a:lnTo>
                    <a:pt x="495" y="8"/>
                  </a:lnTo>
                  <a:lnTo>
                    <a:pt x="506" y="1"/>
                  </a:lnTo>
                  <a:lnTo>
                    <a:pt x="512" y="1"/>
                  </a:lnTo>
                  <a:lnTo>
                    <a:pt x="524" y="5"/>
                  </a:lnTo>
                  <a:lnTo>
                    <a:pt x="518" y="35"/>
                  </a:lnTo>
                  <a:lnTo>
                    <a:pt x="471" y="143"/>
                  </a:lnTo>
                  <a:lnTo>
                    <a:pt x="461" y="161"/>
                  </a:lnTo>
                  <a:lnTo>
                    <a:pt x="457" y="167"/>
                  </a:lnTo>
                  <a:lnTo>
                    <a:pt x="452" y="170"/>
                  </a:lnTo>
                  <a:lnTo>
                    <a:pt x="446" y="173"/>
                  </a:lnTo>
                  <a:lnTo>
                    <a:pt x="440" y="179"/>
                  </a:lnTo>
                  <a:lnTo>
                    <a:pt x="434" y="184"/>
                  </a:lnTo>
                  <a:lnTo>
                    <a:pt x="417" y="218"/>
                  </a:lnTo>
                  <a:lnTo>
                    <a:pt x="409" y="224"/>
                  </a:lnTo>
                  <a:lnTo>
                    <a:pt x="401" y="231"/>
                  </a:lnTo>
                  <a:lnTo>
                    <a:pt x="394" y="237"/>
                  </a:lnTo>
                  <a:lnTo>
                    <a:pt x="388" y="247"/>
                  </a:lnTo>
                  <a:lnTo>
                    <a:pt x="379" y="271"/>
                  </a:lnTo>
                  <a:lnTo>
                    <a:pt x="378" y="283"/>
                  </a:lnTo>
                  <a:lnTo>
                    <a:pt x="377" y="295"/>
                  </a:lnTo>
                  <a:lnTo>
                    <a:pt x="379" y="307"/>
                  </a:lnTo>
                  <a:lnTo>
                    <a:pt x="368" y="353"/>
                  </a:lnTo>
                  <a:lnTo>
                    <a:pt x="367" y="371"/>
                  </a:lnTo>
                  <a:lnTo>
                    <a:pt x="366" y="386"/>
                  </a:lnTo>
                  <a:lnTo>
                    <a:pt x="372" y="397"/>
                  </a:lnTo>
                  <a:lnTo>
                    <a:pt x="390" y="419"/>
                  </a:lnTo>
                  <a:lnTo>
                    <a:pt x="395" y="441"/>
                  </a:lnTo>
                  <a:lnTo>
                    <a:pt x="363" y="456"/>
                  </a:lnTo>
                  <a:lnTo>
                    <a:pt x="351" y="472"/>
                  </a:lnTo>
                  <a:lnTo>
                    <a:pt x="335" y="498"/>
                  </a:lnTo>
                  <a:lnTo>
                    <a:pt x="325" y="509"/>
                  </a:lnTo>
                  <a:lnTo>
                    <a:pt x="323" y="518"/>
                  </a:lnTo>
                  <a:lnTo>
                    <a:pt x="325" y="522"/>
                  </a:lnTo>
                  <a:lnTo>
                    <a:pt x="330" y="523"/>
                  </a:lnTo>
                  <a:lnTo>
                    <a:pt x="336" y="521"/>
                  </a:lnTo>
                  <a:lnTo>
                    <a:pt x="340" y="517"/>
                  </a:lnTo>
                  <a:lnTo>
                    <a:pt x="349" y="504"/>
                  </a:lnTo>
                  <a:lnTo>
                    <a:pt x="353" y="500"/>
                  </a:lnTo>
                  <a:lnTo>
                    <a:pt x="357" y="500"/>
                  </a:lnTo>
                  <a:lnTo>
                    <a:pt x="362" y="503"/>
                  </a:lnTo>
                  <a:lnTo>
                    <a:pt x="368" y="515"/>
                  </a:lnTo>
                  <a:lnTo>
                    <a:pt x="388" y="529"/>
                  </a:lnTo>
                  <a:lnTo>
                    <a:pt x="388" y="532"/>
                  </a:lnTo>
                  <a:lnTo>
                    <a:pt x="385" y="536"/>
                  </a:lnTo>
                  <a:lnTo>
                    <a:pt x="382" y="539"/>
                  </a:lnTo>
                  <a:lnTo>
                    <a:pt x="379" y="541"/>
                  </a:lnTo>
                  <a:lnTo>
                    <a:pt x="375" y="541"/>
                  </a:lnTo>
                  <a:lnTo>
                    <a:pt x="372" y="542"/>
                  </a:lnTo>
                  <a:lnTo>
                    <a:pt x="369" y="546"/>
                  </a:lnTo>
                  <a:lnTo>
                    <a:pt x="368" y="553"/>
                  </a:lnTo>
                  <a:lnTo>
                    <a:pt x="367" y="605"/>
                  </a:lnTo>
                  <a:lnTo>
                    <a:pt x="369" y="619"/>
                  </a:lnTo>
                  <a:lnTo>
                    <a:pt x="376" y="630"/>
                  </a:lnTo>
                  <a:lnTo>
                    <a:pt x="384" y="639"/>
                  </a:lnTo>
                  <a:lnTo>
                    <a:pt x="406" y="653"/>
                  </a:lnTo>
                  <a:lnTo>
                    <a:pt x="411" y="659"/>
                  </a:lnTo>
                  <a:lnTo>
                    <a:pt x="416" y="667"/>
                  </a:lnTo>
                  <a:lnTo>
                    <a:pt x="415" y="676"/>
                  </a:lnTo>
                  <a:lnTo>
                    <a:pt x="411" y="686"/>
                  </a:lnTo>
                  <a:lnTo>
                    <a:pt x="408" y="691"/>
                  </a:lnTo>
                  <a:lnTo>
                    <a:pt x="404" y="698"/>
                  </a:lnTo>
                  <a:lnTo>
                    <a:pt x="402" y="700"/>
                  </a:lnTo>
                  <a:lnTo>
                    <a:pt x="398" y="700"/>
                  </a:lnTo>
                  <a:lnTo>
                    <a:pt x="394" y="697"/>
                  </a:lnTo>
                  <a:lnTo>
                    <a:pt x="391" y="696"/>
                  </a:lnTo>
                  <a:lnTo>
                    <a:pt x="387" y="697"/>
                  </a:lnTo>
                  <a:lnTo>
                    <a:pt x="368" y="718"/>
                  </a:lnTo>
                  <a:lnTo>
                    <a:pt x="364" y="723"/>
                  </a:lnTo>
                  <a:lnTo>
                    <a:pt x="358" y="726"/>
                  </a:lnTo>
                  <a:lnTo>
                    <a:pt x="354" y="728"/>
                  </a:lnTo>
                  <a:lnTo>
                    <a:pt x="353" y="733"/>
                  </a:lnTo>
                  <a:lnTo>
                    <a:pt x="355" y="736"/>
                  </a:lnTo>
                  <a:lnTo>
                    <a:pt x="358" y="737"/>
                  </a:lnTo>
                  <a:lnTo>
                    <a:pt x="364" y="738"/>
                  </a:lnTo>
                  <a:lnTo>
                    <a:pt x="367" y="740"/>
                  </a:lnTo>
                  <a:lnTo>
                    <a:pt x="370" y="743"/>
                  </a:lnTo>
                  <a:lnTo>
                    <a:pt x="374" y="746"/>
                  </a:lnTo>
                  <a:lnTo>
                    <a:pt x="378" y="744"/>
                  </a:lnTo>
                  <a:lnTo>
                    <a:pt x="382" y="747"/>
                  </a:lnTo>
                  <a:lnTo>
                    <a:pt x="388" y="754"/>
                  </a:lnTo>
                  <a:lnTo>
                    <a:pt x="395" y="768"/>
                  </a:lnTo>
                  <a:lnTo>
                    <a:pt x="415" y="799"/>
                  </a:lnTo>
                  <a:lnTo>
                    <a:pt x="416" y="804"/>
                  </a:lnTo>
                  <a:lnTo>
                    <a:pt x="413" y="817"/>
                  </a:lnTo>
                  <a:lnTo>
                    <a:pt x="414" y="824"/>
                  </a:lnTo>
                  <a:lnTo>
                    <a:pt x="416" y="832"/>
                  </a:lnTo>
                  <a:lnTo>
                    <a:pt x="421" y="842"/>
                  </a:lnTo>
                  <a:lnTo>
                    <a:pt x="426" y="848"/>
                  </a:lnTo>
                  <a:lnTo>
                    <a:pt x="429" y="856"/>
                  </a:lnTo>
                  <a:lnTo>
                    <a:pt x="428" y="866"/>
                  </a:lnTo>
                  <a:lnTo>
                    <a:pt x="421" y="879"/>
                  </a:lnTo>
                  <a:lnTo>
                    <a:pt x="409" y="923"/>
                  </a:lnTo>
                  <a:lnTo>
                    <a:pt x="407" y="926"/>
                  </a:lnTo>
                  <a:lnTo>
                    <a:pt x="398" y="932"/>
                  </a:lnTo>
                  <a:lnTo>
                    <a:pt x="395" y="938"/>
                  </a:lnTo>
                  <a:lnTo>
                    <a:pt x="396" y="944"/>
                  </a:lnTo>
                  <a:lnTo>
                    <a:pt x="418" y="972"/>
                  </a:lnTo>
                  <a:lnTo>
                    <a:pt x="441" y="1009"/>
                  </a:lnTo>
                  <a:lnTo>
                    <a:pt x="445" y="1019"/>
                  </a:lnTo>
                  <a:lnTo>
                    <a:pt x="445" y="1024"/>
                  </a:lnTo>
                  <a:lnTo>
                    <a:pt x="441" y="1035"/>
                  </a:lnTo>
                  <a:lnTo>
                    <a:pt x="435" y="1058"/>
                  </a:lnTo>
                  <a:lnTo>
                    <a:pt x="426" y="1078"/>
                  </a:lnTo>
                  <a:lnTo>
                    <a:pt x="391" y="1047"/>
                  </a:lnTo>
                  <a:lnTo>
                    <a:pt x="341" y="963"/>
                  </a:lnTo>
                  <a:lnTo>
                    <a:pt x="333" y="955"/>
                  </a:lnTo>
                  <a:lnTo>
                    <a:pt x="313" y="939"/>
                  </a:lnTo>
                  <a:lnTo>
                    <a:pt x="305" y="934"/>
                  </a:lnTo>
                  <a:lnTo>
                    <a:pt x="290" y="926"/>
                  </a:lnTo>
                  <a:lnTo>
                    <a:pt x="260" y="906"/>
                  </a:lnTo>
                  <a:lnTo>
                    <a:pt x="247" y="899"/>
                  </a:lnTo>
                  <a:lnTo>
                    <a:pt x="233" y="898"/>
                  </a:lnTo>
                  <a:lnTo>
                    <a:pt x="220" y="899"/>
                  </a:lnTo>
                  <a:lnTo>
                    <a:pt x="186" y="911"/>
                  </a:lnTo>
                  <a:lnTo>
                    <a:pt x="163" y="916"/>
                  </a:lnTo>
                  <a:lnTo>
                    <a:pt x="148" y="912"/>
                  </a:lnTo>
                  <a:lnTo>
                    <a:pt x="143" y="907"/>
                  </a:lnTo>
                  <a:lnTo>
                    <a:pt x="138" y="892"/>
                  </a:lnTo>
                  <a:lnTo>
                    <a:pt x="123" y="864"/>
                  </a:lnTo>
                  <a:lnTo>
                    <a:pt x="115" y="841"/>
                  </a:lnTo>
                  <a:lnTo>
                    <a:pt x="110" y="833"/>
                  </a:lnTo>
                  <a:lnTo>
                    <a:pt x="93" y="811"/>
                  </a:lnTo>
                  <a:lnTo>
                    <a:pt x="86" y="800"/>
                  </a:lnTo>
                  <a:lnTo>
                    <a:pt x="82" y="786"/>
                  </a:lnTo>
                  <a:lnTo>
                    <a:pt x="75" y="772"/>
                  </a:lnTo>
                  <a:lnTo>
                    <a:pt x="65" y="763"/>
                  </a:lnTo>
                  <a:lnTo>
                    <a:pt x="11" y="735"/>
                  </a:lnTo>
                  <a:lnTo>
                    <a:pt x="7" y="729"/>
                  </a:lnTo>
                  <a:lnTo>
                    <a:pt x="5" y="723"/>
                  </a:lnTo>
                  <a:lnTo>
                    <a:pt x="4" y="713"/>
                  </a:lnTo>
                  <a:lnTo>
                    <a:pt x="5" y="705"/>
                  </a:lnTo>
                  <a:lnTo>
                    <a:pt x="8" y="693"/>
                  </a:lnTo>
                  <a:lnTo>
                    <a:pt x="10" y="689"/>
                  </a:lnTo>
                  <a:lnTo>
                    <a:pt x="1" y="660"/>
                  </a:lnTo>
                  <a:lnTo>
                    <a:pt x="0" y="652"/>
                  </a:lnTo>
                  <a:lnTo>
                    <a:pt x="3" y="610"/>
                  </a:lnTo>
                  <a:lnTo>
                    <a:pt x="5" y="602"/>
                  </a:lnTo>
                  <a:lnTo>
                    <a:pt x="15" y="572"/>
                  </a:lnTo>
                  <a:lnTo>
                    <a:pt x="18" y="566"/>
                  </a:lnTo>
                  <a:lnTo>
                    <a:pt x="27" y="554"/>
                  </a:lnTo>
                  <a:lnTo>
                    <a:pt x="39" y="541"/>
                  </a:lnTo>
                  <a:lnTo>
                    <a:pt x="44" y="533"/>
                  </a:lnTo>
                  <a:lnTo>
                    <a:pt x="82" y="463"/>
                  </a:lnTo>
                  <a:lnTo>
                    <a:pt x="84" y="456"/>
                  </a:lnTo>
                  <a:lnTo>
                    <a:pt x="85" y="450"/>
                  </a:lnTo>
                  <a:lnTo>
                    <a:pt x="85" y="436"/>
                  </a:lnTo>
                  <a:lnTo>
                    <a:pt x="86" y="431"/>
                  </a:lnTo>
                  <a:lnTo>
                    <a:pt x="89" y="429"/>
                  </a:lnTo>
                  <a:lnTo>
                    <a:pt x="91" y="427"/>
                  </a:lnTo>
                  <a:lnTo>
                    <a:pt x="94" y="426"/>
                  </a:lnTo>
                  <a:lnTo>
                    <a:pt x="102" y="424"/>
                  </a:lnTo>
                  <a:lnTo>
                    <a:pt x="105" y="423"/>
                  </a:lnTo>
                  <a:lnTo>
                    <a:pt x="107" y="419"/>
                  </a:lnTo>
                  <a:lnTo>
                    <a:pt x="108" y="412"/>
                  </a:lnTo>
                  <a:lnTo>
                    <a:pt x="109" y="409"/>
                  </a:lnTo>
                  <a:lnTo>
                    <a:pt x="112" y="406"/>
                  </a:lnTo>
                  <a:lnTo>
                    <a:pt x="115" y="406"/>
                  </a:lnTo>
                  <a:lnTo>
                    <a:pt x="119" y="405"/>
                  </a:lnTo>
                  <a:lnTo>
                    <a:pt x="123" y="403"/>
                  </a:lnTo>
                  <a:lnTo>
                    <a:pt x="125" y="399"/>
                  </a:lnTo>
                  <a:lnTo>
                    <a:pt x="128" y="394"/>
                  </a:lnTo>
                  <a:lnTo>
                    <a:pt x="129" y="386"/>
                  </a:lnTo>
                  <a:lnTo>
                    <a:pt x="132" y="381"/>
                  </a:lnTo>
                  <a:lnTo>
                    <a:pt x="136" y="379"/>
                  </a:lnTo>
                  <a:lnTo>
                    <a:pt x="146" y="378"/>
                  </a:lnTo>
                  <a:lnTo>
                    <a:pt x="150" y="375"/>
                  </a:lnTo>
                  <a:lnTo>
                    <a:pt x="157" y="365"/>
                  </a:lnTo>
                  <a:lnTo>
                    <a:pt x="164" y="357"/>
                  </a:lnTo>
                  <a:lnTo>
                    <a:pt x="167" y="353"/>
                  </a:lnTo>
                  <a:lnTo>
                    <a:pt x="171" y="349"/>
                  </a:lnTo>
                  <a:lnTo>
                    <a:pt x="177" y="347"/>
                  </a:lnTo>
                  <a:lnTo>
                    <a:pt x="184" y="346"/>
                  </a:lnTo>
                  <a:lnTo>
                    <a:pt x="189" y="344"/>
                  </a:lnTo>
                  <a:lnTo>
                    <a:pt x="194" y="339"/>
                  </a:lnTo>
                  <a:lnTo>
                    <a:pt x="197" y="332"/>
                  </a:lnTo>
                  <a:lnTo>
                    <a:pt x="201" y="309"/>
                  </a:lnTo>
                  <a:lnTo>
                    <a:pt x="203" y="303"/>
                  </a:lnTo>
                  <a:lnTo>
                    <a:pt x="207" y="296"/>
                  </a:lnTo>
                  <a:lnTo>
                    <a:pt x="211" y="290"/>
                  </a:lnTo>
                  <a:lnTo>
                    <a:pt x="216" y="287"/>
                  </a:lnTo>
                  <a:lnTo>
                    <a:pt x="222" y="284"/>
                  </a:lnTo>
                  <a:lnTo>
                    <a:pt x="226" y="277"/>
                  </a:lnTo>
                  <a:lnTo>
                    <a:pt x="225" y="274"/>
                  </a:lnTo>
                  <a:lnTo>
                    <a:pt x="223" y="269"/>
                  </a:lnTo>
                  <a:lnTo>
                    <a:pt x="223" y="262"/>
                  </a:lnTo>
                  <a:lnTo>
                    <a:pt x="234" y="233"/>
                  </a:lnTo>
                  <a:lnTo>
                    <a:pt x="237" y="211"/>
                  </a:lnTo>
                  <a:lnTo>
                    <a:pt x="233" y="202"/>
                  </a:lnTo>
                  <a:lnTo>
                    <a:pt x="224" y="196"/>
                  </a:lnTo>
                  <a:lnTo>
                    <a:pt x="213" y="196"/>
                  </a:lnTo>
                  <a:lnTo>
                    <a:pt x="189" y="198"/>
                  </a:lnTo>
                  <a:lnTo>
                    <a:pt x="168" y="205"/>
                  </a:lnTo>
                  <a:lnTo>
                    <a:pt x="181" y="178"/>
                  </a:lnTo>
                  <a:lnTo>
                    <a:pt x="190" y="131"/>
                  </a:lnTo>
                  <a:lnTo>
                    <a:pt x="195" y="119"/>
                  </a:lnTo>
                  <a:lnTo>
                    <a:pt x="202" y="112"/>
                  </a:lnTo>
                  <a:lnTo>
                    <a:pt x="208" y="108"/>
                  </a:lnTo>
                  <a:lnTo>
                    <a:pt x="215" y="106"/>
                  </a:lnTo>
                  <a:lnTo>
                    <a:pt x="222" y="102"/>
                  </a:lnTo>
                  <a:lnTo>
                    <a:pt x="224" y="99"/>
                  </a:lnTo>
                  <a:lnTo>
                    <a:pt x="232" y="75"/>
                  </a:lnTo>
                  <a:lnTo>
                    <a:pt x="247" y="44"/>
                  </a:lnTo>
                  <a:lnTo>
                    <a:pt x="252" y="30"/>
                  </a:lnTo>
                  <a:lnTo>
                    <a:pt x="261" y="0"/>
                  </a:lnTo>
                  <a:lnTo>
                    <a:pt x="281" y="0"/>
                  </a:lnTo>
                  <a:lnTo>
                    <a:pt x="296" y="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D2114D70-1275-736A-A49A-EC480B968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091" y="4941083"/>
              <a:ext cx="1391470" cy="1423830"/>
            </a:xfrm>
            <a:custGeom>
              <a:avLst/>
              <a:gdLst>
                <a:gd name="T0" fmla="*/ 808 w 946"/>
                <a:gd name="T1" fmla="*/ 19 h 968"/>
                <a:gd name="T2" fmla="*/ 818 w 946"/>
                <a:gd name="T3" fmla="*/ 73 h 968"/>
                <a:gd name="T4" fmla="*/ 884 w 946"/>
                <a:gd name="T5" fmla="*/ 78 h 968"/>
                <a:gd name="T6" fmla="*/ 926 w 946"/>
                <a:gd name="T7" fmla="*/ 141 h 968"/>
                <a:gd name="T8" fmla="*/ 932 w 946"/>
                <a:gd name="T9" fmla="*/ 223 h 968"/>
                <a:gd name="T10" fmla="*/ 915 w 946"/>
                <a:gd name="T11" fmla="*/ 252 h 968"/>
                <a:gd name="T12" fmla="*/ 894 w 946"/>
                <a:gd name="T13" fmla="*/ 260 h 968"/>
                <a:gd name="T14" fmla="*/ 886 w 946"/>
                <a:gd name="T15" fmla="*/ 276 h 968"/>
                <a:gd name="T16" fmla="*/ 923 w 946"/>
                <a:gd name="T17" fmla="*/ 341 h 968"/>
                <a:gd name="T18" fmla="*/ 930 w 946"/>
                <a:gd name="T19" fmla="*/ 387 h 968"/>
                <a:gd name="T20" fmla="*/ 923 w 946"/>
                <a:gd name="T21" fmla="*/ 472 h 968"/>
                <a:gd name="T22" fmla="*/ 912 w 946"/>
                <a:gd name="T23" fmla="*/ 549 h 968"/>
                <a:gd name="T24" fmla="*/ 927 w 946"/>
                <a:gd name="T25" fmla="*/ 561 h 968"/>
                <a:gd name="T26" fmla="*/ 944 w 946"/>
                <a:gd name="T27" fmla="*/ 584 h 968"/>
                <a:gd name="T28" fmla="*/ 941 w 946"/>
                <a:gd name="T29" fmla="*/ 665 h 968"/>
                <a:gd name="T30" fmla="*/ 936 w 946"/>
                <a:gd name="T31" fmla="*/ 730 h 968"/>
                <a:gd name="T32" fmla="*/ 905 w 946"/>
                <a:gd name="T33" fmla="*/ 770 h 968"/>
                <a:gd name="T34" fmla="*/ 880 w 946"/>
                <a:gd name="T35" fmla="*/ 784 h 968"/>
                <a:gd name="T36" fmla="*/ 852 w 946"/>
                <a:gd name="T37" fmla="*/ 776 h 968"/>
                <a:gd name="T38" fmla="*/ 819 w 946"/>
                <a:gd name="T39" fmla="*/ 775 h 968"/>
                <a:gd name="T40" fmla="*/ 797 w 946"/>
                <a:gd name="T41" fmla="*/ 822 h 968"/>
                <a:gd name="T42" fmla="*/ 771 w 946"/>
                <a:gd name="T43" fmla="*/ 889 h 968"/>
                <a:gd name="T44" fmla="*/ 705 w 946"/>
                <a:gd name="T45" fmla="*/ 967 h 968"/>
                <a:gd name="T46" fmla="*/ 677 w 946"/>
                <a:gd name="T47" fmla="*/ 824 h 968"/>
                <a:gd name="T48" fmla="*/ 640 w 946"/>
                <a:gd name="T49" fmla="*/ 797 h 968"/>
                <a:gd name="T50" fmla="*/ 549 w 946"/>
                <a:gd name="T51" fmla="*/ 749 h 968"/>
                <a:gd name="T52" fmla="*/ 425 w 946"/>
                <a:gd name="T53" fmla="*/ 734 h 968"/>
                <a:gd name="T54" fmla="*/ 339 w 946"/>
                <a:gd name="T55" fmla="*/ 702 h 968"/>
                <a:gd name="T56" fmla="*/ 266 w 946"/>
                <a:gd name="T57" fmla="*/ 652 h 968"/>
                <a:gd name="T58" fmla="*/ 214 w 946"/>
                <a:gd name="T59" fmla="*/ 648 h 968"/>
                <a:gd name="T60" fmla="*/ 184 w 946"/>
                <a:gd name="T61" fmla="*/ 699 h 968"/>
                <a:gd name="T62" fmla="*/ 83 w 946"/>
                <a:gd name="T63" fmla="*/ 771 h 968"/>
                <a:gd name="T64" fmla="*/ 15 w 946"/>
                <a:gd name="T65" fmla="*/ 728 h 968"/>
                <a:gd name="T66" fmla="*/ 53 w 946"/>
                <a:gd name="T67" fmla="*/ 597 h 968"/>
                <a:gd name="T68" fmla="*/ 18 w 946"/>
                <a:gd name="T69" fmla="*/ 539 h 968"/>
                <a:gd name="T70" fmla="*/ 2 w 946"/>
                <a:gd name="T71" fmla="*/ 494 h 968"/>
                <a:gd name="T72" fmla="*/ 44 w 946"/>
                <a:gd name="T73" fmla="*/ 440 h 968"/>
                <a:gd name="T74" fmla="*/ 126 w 946"/>
                <a:gd name="T75" fmla="*/ 461 h 968"/>
                <a:gd name="T76" fmla="*/ 223 w 946"/>
                <a:gd name="T77" fmla="*/ 389 h 968"/>
                <a:gd name="T78" fmla="*/ 335 w 946"/>
                <a:gd name="T79" fmla="*/ 358 h 968"/>
                <a:gd name="T80" fmla="*/ 449 w 946"/>
                <a:gd name="T81" fmla="*/ 335 h 968"/>
                <a:gd name="T82" fmla="*/ 541 w 946"/>
                <a:gd name="T83" fmla="*/ 330 h 968"/>
                <a:gd name="T84" fmla="*/ 602 w 946"/>
                <a:gd name="T85" fmla="*/ 285 h 968"/>
                <a:gd name="T86" fmla="*/ 631 w 946"/>
                <a:gd name="T87" fmla="*/ 310 h 968"/>
                <a:gd name="T88" fmla="*/ 694 w 946"/>
                <a:gd name="T89" fmla="*/ 317 h 968"/>
                <a:gd name="T90" fmla="*/ 741 w 946"/>
                <a:gd name="T91" fmla="*/ 306 h 968"/>
                <a:gd name="T92" fmla="*/ 744 w 946"/>
                <a:gd name="T93" fmla="*/ 264 h 968"/>
                <a:gd name="T94" fmla="*/ 767 w 946"/>
                <a:gd name="T95" fmla="*/ 228 h 968"/>
                <a:gd name="T96" fmla="*/ 755 w 946"/>
                <a:gd name="T97" fmla="*/ 193 h 968"/>
                <a:gd name="T98" fmla="*/ 721 w 946"/>
                <a:gd name="T99" fmla="*/ 177 h 968"/>
                <a:gd name="T100" fmla="*/ 692 w 946"/>
                <a:gd name="T101" fmla="*/ 206 h 968"/>
                <a:gd name="T102" fmla="*/ 697 w 946"/>
                <a:gd name="T103" fmla="*/ 147 h 968"/>
                <a:gd name="T104" fmla="*/ 730 w 946"/>
                <a:gd name="T105" fmla="*/ 85 h 968"/>
                <a:gd name="T106" fmla="*/ 720 w 946"/>
                <a:gd name="T107" fmla="*/ 69 h 968"/>
                <a:gd name="T108" fmla="*/ 704 w 946"/>
                <a:gd name="T109" fmla="*/ 36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6" h="968">
                  <a:moveTo>
                    <a:pt x="766" y="10"/>
                  </a:moveTo>
                  <a:lnTo>
                    <a:pt x="784" y="8"/>
                  </a:lnTo>
                  <a:lnTo>
                    <a:pt x="793" y="8"/>
                  </a:lnTo>
                  <a:lnTo>
                    <a:pt x="801" y="13"/>
                  </a:lnTo>
                  <a:lnTo>
                    <a:pt x="808" y="19"/>
                  </a:lnTo>
                  <a:lnTo>
                    <a:pt x="812" y="30"/>
                  </a:lnTo>
                  <a:lnTo>
                    <a:pt x="813" y="37"/>
                  </a:lnTo>
                  <a:lnTo>
                    <a:pt x="812" y="50"/>
                  </a:lnTo>
                  <a:lnTo>
                    <a:pt x="813" y="65"/>
                  </a:lnTo>
                  <a:lnTo>
                    <a:pt x="818" y="73"/>
                  </a:lnTo>
                  <a:lnTo>
                    <a:pt x="825" y="82"/>
                  </a:lnTo>
                  <a:lnTo>
                    <a:pt x="842" y="89"/>
                  </a:lnTo>
                  <a:lnTo>
                    <a:pt x="855" y="89"/>
                  </a:lnTo>
                  <a:lnTo>
                    <a:pt x="865" y="88"/>
                  </a:lnTo>
                  <a:lnTo>
                    <a:pt x="884" y="78"/>
                  </a:lnTo>
                  <a:lnTo>
                    <a:pt x="890" y="77"/>
                  </a:lnTo>
                  <a:lnTo>
                    <a:pt x="894" y="81"/>
                  </a:lnTo>
                  <a:lnTo>
                    <a:pt x="899" y="94"/>
                  </a:lnTo>
                  <a:lnTo>
                    <a:pt x="906" y="108"/>
                  </a:lnTo>
                  <a:lnTo>
                    <a:pt x="926" y="141"/>
                  </a:lnTo>
                  <a:lnTo>
                    <a:pt x="931" y="154"/>
                  </a:lnTo>
                  <a:lnTo>
                    <a:pt x="931" y="169"/>
                  </a:lnTo>
                  <a:lnTo>
                    <a:pt x="933" y="189"/>
                  </a:lnTo>
                  <a:lnTo>
                    <a:pt x="945" y="207"/>
                  </a:lnTo>
                  <a:lnTo>
                    <a:pt x="932" y="223"/>
                  </a:lnTo>
                  <a:lnTo>
                    <a:pt x="927" y="225"/>
                  </a:lnTo>
                  <a:lnTo>
                    <a:pt x="917" y="234"/>
                  </a:lnTo>
                  <a:lnTo>
                    <a:pt x="915" y="238"/>
                  </a:lnTo>
                  <a:lnTo>
                    <a:pt x="915" y="248"/>
                  </a:lnTo>
                  <a:lnTo>
                    <a:pt x="915" y="252"/>
                  </a:lnTo>
                  <a:lnTo>
                    <a:pt x="912" y="257"/>
                  </a:lnTo>
                  <a:lnTo>
                    <a:pt x="909" y="259"/>
                  </a:lnTo>
                  <a:lnTo>
                    <a:pt x="905" y="260"/>
                  </a:lnTo>
                  <a:lnTo>
                    <a:pt x="898" y="261"/>
                  </a:lnTo>
                  <a:lnTo>
                    <a:pt x="894" y="260"/>
                  </a:lnTo>
                  <a:lnTo>
                    <a:pt x="890" y="261"/>
                  </a:lnTo>
                  <a:lnTo>
                    <a:pt x="887" y="262"/>
                  </a:lnTo>
                  <a:lnTo>
                    <a:pt x="885" y="265"/>
                  </a:lnTo>
                  <a:lnTo>
                    <a:pt x="884" y="271"/>
                  </a:lnTo>
                  <a:lnTo>
                    <a:pt x="886" y="276"/>
                  </a:lnTo>
                  <a:lnTo>
                    <a:pt x="887" y="282"/>
                  </a:lnTo>
                  <a:lnTo>
                    <a:pt x="893" y="293"/>
                  </a:lnTo>
                  <a:lnTo>
                    <a:pt x="903" y="316"/>
                  </a:lnTo>
                  <a:lnTo>
                    <a:pt x="910" y="326"/>
                  </a:lnTo>
                  <a:lnTo>
                    <a:pt x="923" y="341"/>
                  </a:lnTo>
                  <a:lnTo>
                    <a:pt x="930" y="355"/>
                  </a:lnTo>
                  <a:lnTo>
                    <a:pt x="932" y="362"/>
                  </a:lnTo>
                  <a:lnTo>
                    <a:pt x="933" y="373"/>
                  </a:lnTo>
                  <a:lnTo>
                    <a:pt x="933" y="379"/>
                  </a:lnTo>
                  <a:lnTo>
                    <a:pt x="930" y="387"/>
                  </a:lnTo>
                  <a:lnTo>
                    <a:pt x="925" y="401"/>
                  </a:lnTo>
                  <a:lnTo>
                    <a:pt x="920" y="416"/>
                  </a:lnTo>
                  <a:lnTo>
                    <a:pt x="918" y="436"/>
                  </a:lnTo>
                  <a:lnTo>
                    <a:pt x="919" y="452"/>
                  </a:lnTo>
                  <a:lnTo>
                    <a:pt x="923" y="472"/>
                  </a:lnTo>
                  <a:lnTo>
                    <a:pt x="922" y="482"/>
                  </a:lnTo>
                  <a:lnTo>
                    <a:pt x="912" y="520"/>
                  </a:lnTo>
                  <a:lnTo>
                    <a:pt x="911" y="534"/>
                  </a:lnTo>
                  <a:lnTo>
                    <a:pt x="910" y="544"/>
                  </a:lnTo>
                  <a:lnTo>
                    <a:pt x="912" y="549"/>
                  </a:lnTo>
                  <a:lnTo>
                    <a:pt x="914" y="552"/>
                  </a:lnTo>
                  <a:lnTo>
                    <a:pt x="915" y="555"/>
                  </a:lnTo>
                  <a:lnTo>
                    <a:pt x="917" y="557"/>
                  </a:lnTo>
                  <a:lnTo>
                    <a:pt x="920" y="558"/>
                  </a:lnTo>
                  <a:lnTo>
                    <a:pt x="927" y="561"/>
                  </a:lnTo>
                  <a:lnTo>
                    <a:pt x="930" y="563"/>
                  </a:lnTo>
                  <a:lnTo>
                    <a:pt x="933" y="566"/>
                  </a:lnTo>
                  <a:lnTo>
                    <a:pt x="936" y="570"/>
                  </a:lnTo>
                  <a:lnTo>
                    <a:pt x="942" y="578"/>
                  </a:lnTo>
                  <a:lnTo>
                    <a:pt x="944" y="584"/>
                  </a:lnTo>
                  <a:lnTo>
                    <a:pt x="945" y="589"/>
                  </a:lnTo>
                  <a:lnTo>
                    <a:pt x="945" y="601"/>
                  </a:lnTo>
                  <a:lnTo>
                    <a:pt x="944" y="610"/>
                  </a:lnTo>
                  <a:lnTo>
                    <a:pt x="946" y="627"/>
                  </a:lnTo>
                  <a:lnTo>
                    <a:pt x="941" y="665"/>
                  </a:lnTo>
                  <a:lnTo>
                    <a:pt x="942" y="673"/>
                  </a:lnTo>
                  <a:lnTo>
                    <a:pt x="943" y="689"/>
                  </a:lnTo>
                  <a:lnTo>
                    <a:pt x="942" y="703"/>
                  </a:lnTo>
                  <a:lnTo>
                    <a:pt x="938" y="725"/>
                  </a:lnTo>
                  <a:lnTo>
                    <a:pt x="936" y="730"/>
                  </a:lnTo>
                  <a:lnTo>
                    <a:pt x="932" y="734"/>
                  </a:lnTo>
                  <a:lnTo>
                    <a:pt x="925" y="742"/>
                  </a:lnTo>
                  <a:lnTo>
                    <a:pt x="915" y="756"/>
                  </a:lnTo>
                  <a:lnTo>
                    <a:pt x="910" y="766"/>
                  </a:lnTo>
                  <a:lnTo>
                    <a:pt x="905" y="770"/>
                  </a:lnTo>
                  <a:lnTo>
                    <a:pt x="899" y="772"/>
                  </a:lnTo>
                  <a:lnTo>
                    <a:pt x="893" y="773"/>
                  </a:lnTo>
                  <a:lnTo>
                    <a:pt x="888" y="776"/>
                  </a:lnTo>
                  <a:lnTo>
                    <a:pt x="884" y="779"/>
                  </a:lnTo>
                  <a:lnTo>
                    <a:pt x="880" y="784"/>
                  </a:lnTo>
                  <a:lnTo>
                    <a:pt x="876" y="789"/>
                  </a:lnTo>
                  <a:lnTo>
                    <a:pt x="871" y="789"/>
                  </a:lnTo>
                  <a:lnTo>
                    <a:pt x="864" y="783"/>
                  </a:lnTo>
                  <a:lnTo>
                    <a:pt x="858" y="779"/>
                  </a:lnTo>
                  <a:lnTo>
                    <a:pt x="852" y="776"/>
                  </a:lnTo>
                  <a:lnTo>
                    <a:pt x="844" y="775"/>
                  </a:lnTo>
                  <a:lnTo>
                    <a:pt x="835" y="771"/>
                  </a:lnTo>
                  <a:lnTo>
                    <a:pt x="828" y="770"/>
                  </a:lnTo>
                  <a:lnTo>
                    <a:pt x="823" y="770"/>
                  </a:lnTo>
                  <a:lnTo>
                    <a:pt x="819" y="775"/>
                  </a:lnTo>
                  <a:lnTo>
                    <a:pt x="814" y="782"/>
                  </a:lnTo>
                  <a:lnTo>
                    <a:pt x="811" y="788"/>
                  </a:lnTo>
                  <a:lnTo>
                    <a:pt x="800" y="795"/>
                  </a:lnTo>
                  <a:lnTo>
                    <a:pt x="797" y="816"/>
                  </a:lnTo>
                  <a:lnTo>
                    <a:pt x="797" y="822"/>
                  </a:lnTo>
                  <a:lnTo>
                    <a:pt x="800" y="835"/>
                  </a:lnTo>
                  <a:lnTo>
                    <a:pt x="799" y="842"/>
                  </a:lnTo>
                  <a:lnTo>
                    <a:pt x="796" y="851"/>
                  </a:lnTo>
                  <a:lnTo>
                    <a:pt x="792" y="859"/>
                  </a:lnTo>
                  <a:lnTo>
                    <a:pt x="771" y="889"/>
                  </a:lnTo>
                  <a:lnTo>
                    <a:pt x="762" y="898"/>
                  </a:lnTo>
                  <a:lnTo>
                    <a:pt x="740" y="934"/>
                  </a:lnTo>
                  <a:lnTo>
                    <a:pt x="711" y="965"/>
                  </a:lnTo>
                  <a:lnTo>
                    <a:pt x="705" y="968"/>
                  </a:lnTo>
                  <a:lnTo>
                    <a:pt x="705" y="967"/>
                  </a:lnTo>
                  <a:lnTo>
                    <a:pt x="688" y="934"/>
                  </a:lnTo>
                  <a:lnTo>
                    <a:pt x="680" y="895"/>
                  </a:lnTo>
                  <a:lnTo>
                    <a:pt x="660" y="866"/>
                  </a:lnTo>
                  <a:lnTo>
                    <a:pt x="660" y="851"/>
                  </a:lnTo>
                  <a:lnTo>
                    <a:pt x="677" y="824"/>
                  </a:lnTo>
                  <a:lnTo>
                    <a:pt x="678" y="814"/>
                  </a:lnTo>
                  <a:lnTo>
                    <a:pt x="675" y="808"/>
                  </a:lnTo>
                  <a:lnTo>
                    <a:pt x="660" y="799"/>
                  </a:lnTo>
                  <a:lnTo>
                    <a:pt x="644" y="799"/>
                  </a:lnTo>
                  <a:lnTo>
                    <a:pt x="640" y="797"/>
                  </a:lnTo>
                  <a:lnTo>
                    <a:pt x="631" y="791"/>
                  </a:lnTo>
                  <a:lnTo>
                    <a:pt x="626" y="789"/>
                  </a:lnTo>
                  <a:lnTo>
                    <a:pt x="592" y="755"/>
                  </a:lnTo>
                  <a:lnTo>
                    <a:pt x="573" y="745"/>
                  </a:lnTo>
                  <a:lnTo>
                    <a:pt x="549" y="749"/>
                  </a:lnTo>
                  <a:lnTo>
                    <a:pt x="526" y="763"/>
                  </a:lnTo>
                  <a:lnTo>
                    <a:pt x="481" y="777"/>
                  </a:lnTo>
                  <a:lnTo>
                    <a:pt x="456" y="772"/>
                  </a:lnTo>
                  <a:lnTo>
                    <a:pt x="439" y="755"/>
                  </a:lnTo>
                  <a:lnTo>
                    <a:pt x="425" y="734"/>
                  </a:lnTo>
                  <a:lnTo>
                    <a:pt x="408" y="718"/>
                  </a:lnTo>
                  <a:lnTo>
                    <a:pt x="391" y="714"/>
                  </a:lnTo>
                  <a:lnTo>
                    <a:pt x="373" y="714"/>
                  </a:lnTo>
                  <a:lnTo>
                    <a:pt x="356" y="712"/>
                  </a:lnTo>
                  <a:lnTo>
                    <a:pt x="339" y="702"/>
                  </a:lnTo>
                  <a:lnTo>
                    <a:pt x="325" y="692"/>
                  </a:lnTo>
                  <a:lnTo>
                    <a:pt x="303" y="668"/>
                  </a:lnTo>
                  <a:lnTo>
                    <a:pt x="291" y="659"/>
                  </a:lnTo>
                  <a:lnTo>
                    <a:pt x="279" y="654"/>
                  </a:lnTo>
                  <a:lnTo>
                    <a:pt x="266" y="652"/>
                  </a:lnTo>
                  <a:lnTo>
                    <a:pt x="254" y="648"/>
                  </a:lnTo>
                  <a:lnTo>
                    <a:pt x="250" y="641"/>
                  </a:lnTo>
                  <a:lnTo>
                    <a:pt x="249" y="641"/>
                  </a:lnTo>
                  <a:lnTo>
                    <a:pt x="222" y="646"/>
                  </a:lnTo>
                  <a:lnTo>
                    <a:pt x="214" y="648"/>
                  </a:lnTo>
                  <a:lnTo>
                    <a:pt x="206" y="651"/>
                  </a:lnTo>
                  <a:lnTo>
                    <a:pt x="201" y="655"/>
                  </a:lnTo>
                  <a:lnTo>
                    <a:pt x="196" y="665"/>
                  </a:lnTo>
                  <a:lnTo>
                    <a:pt x="189" y="689"/>
                  </a:lnTo>
                  <a:lnTo>
                    <a:pt x="184" y="699"/>
                  </a:lnTo>
                  <a:lnTo>
                    <a:pt x="173" y="711"/>
                  </a:lnTo>
                  <a:lnTo>
                    <a:pt x="122" y="750"/>
                  </a:lnTo>
                  <a:lnTo>
                    <a:pt x="94" y="765"/>
                  </a:lnTo>
                  <a:lnTo>
                    <a:pt x="88" y="770"/>
                  </a:lnTo>
                  <a:lnTo>
                    <a:pt x="83" y="771"/>
                  </a:lnTo>
                  <a:lnTo>
                    <a:pt x="71" y="771"/>
                  </a:lnTo>
                  <a:lnTo>
                    <a:pt x="59" y="767"/>
                  </a:lnTo>
                  <a:lnTo>
                    <a:pt x="30" y="751"/>
                  </a:lnTo>
                  <a:lnTo>
                    <a:pt x="20" y="742"/>
                  </a:lnTo>
                  <a:lnTo>
                    <a:pt x="15" y="728"/>
                  </a:lnTo>
                  <a:lnTo>
                    <a:pt x="17" y="717"/>
                  </a:lnTo>
                  <a:lnTo>
                    <a:pt x="106" y="599"/>
                  </a:lnTo>
                  <a:lnTo>
                    <a:pt x="113" y="584"/>
                  </a:lnTo>
                  <a:lnTo>
                    <a:pt x="82" y="588"/>
                  </a:lnTo>
                  <a:lnTo>
                    <a:pt x="53" y="597"/>
                  </a:lnTo>
                  <a:lnTo>
                    <a:pt x="30" y="594"/>
                  </a:lnTo>
                  <a:lnTo>
                    <a:pt x="16" y="564"/>
                  </a:lnTo>
                  <a:lnTo>
                    <a:pt x="16" y="558"/>
                  </a:lnTo>
                  <a:lnTo>
                    <a:pt x="18" y="545"/>
                  </a:lnTo>
                  <a:lnTo>
                    <a:pt x="18" y="539"/>
                  </a:lnTo>
                  <a:lnTo>
                    <a:pt x="15" y="531"/>
                  </a:lnTo>
                  <a:lnTo>
                    <a:pt x="4" y="516"/>
                  </a:lnTo>
                  <a:lnTo>
                    <a:pt x="0" y="507"/>
                  </a:lnTo>
                  <a:lnTo>
                    <a:pt x="2" y="495"/>
                  </a:lnTo>
                  <a:lnTo>
                    <a:pt x="2" y="494"/>
                  </a:lnTo>
                  <a:lnTo>
                    <a:pt x="7" y="477"/>
                  </a:lnTo>
                  <a:lnTo>
                    <a:pt x="15" y="460"/>
                  </a:lnTo>
                  <a:lnTo>
                    <a:pt x="22" y="451"/>
                  </a:lnTo>
                  <a:lnTo>
                    <a:pt x="32" y="443"/>
                  </a:lnTo>
                  <a:lnTo>
                    <a:pt x="44" y="440"/>
                  </a:lnTo>
                  <a:lnTo>
                    <a:pt x="58" y="439"/>
                  </a:lnTo>
                  <a:lnTo>
                    <a:pt x="72" y="439"/>
                  </a:lnTo>
                  <a:lnTo>
                    <a:pt x="85" y="443"/>
                  </a:lnTo>
                  <a:lnTo>
                    <a:pt x="113" y="458"/>
                  </a:lnTo>
                  <a:lnTo>
                    <a:pt x="126" y="461"/>
                  </a:lnTo>
                  <a:lnTo>
                    <a:pt x="140" y="454"/>
                  </a:lnTo>
                  <a:lnTo>
                    <a:pt x="151" y="441"/>
                  </a:lnTo>
                  <a:lnTo>
                    <a:pt x="161" y="425"/>
                  </a:lnTo>
                  <a:lnTo>
                    <a:pt x="171" y="413"/>
                  </a:lnTo>
                  <a:lnTo>
                    <a:pt x="223" y="389"/>
                  </a:lnTo>
                  <a:lnTo>
                    <a:pt x="234" y="377"/>
                  </a:lnTo>
                  <a:lnTo>
                    <a:pt x="234" y="370"/>
                  </a:lnTo>
                  <a:lnTo>
                    <a:pt x="243" y="370"/>
                  </a:lnTo>
                  <a:lnTo>
                    <a:pt x="293" y="367"/>
                  </a:lnTo>
                  <a:lnTo>
                    <a:pt x="335" y="358"/>
                  </a:lnTo>
                  <a:lnTo>
                    <a:pt x="374" y="339"/>
                  </a:lnTo>
                  <a:lnTo>
                    <a:pt x="387" y="337"/>
                  </a:lnTo>
                  <a:lnTo>
                    <a:pt x="426" y="332"/>
                  </a:lnTo>
                  <a:lnTo>
                    <a:pt x="438" y="332"/>
                  </a:lnTo>
                  <a:lnTo>
                    <a:pt x="449" y="335"/>
                  </a:lnTo>
                  <a:lnTo>
                    <a:pt x="462" y="340"/>
                  </a:lnTo>
                  <a:lnTo>
                    <a:pt x="474" y="341"/>
                  </a:lnTo>
                  <a:lnTo>
                    <a:pt x="517" y="339"/>
                  </a:lnTo>
                  <a:lnTo>
                    <a:pt x="532" y="336"/>
                  </a:lnTo>
                  <a:lnTo>
                    <a:pt x="541" y="330"/>
                  </a:lnTo>
                  <a:lnTo>
                    <a:pt x="559" y="311"/>
                  </a:lnTo>
                  <a:lnTo>
                    <a:pt x="565" y="304"/>
                  </a:lnTo>
                  <a:lnTo>
                    <a:pt x="586" y="293"/>
                  </a:lnTo>
                  <a:lnTo>
                    <a:pt x="595" y="289"/>
                  </a:lnTo>
                  <a:lnTo>
                    <a:pt x="602" y="285"/>
                  </a:lnTo>
                  <a:lnTo>
                    <a:pt x="607" y="285"/>
                  </a:lnTo>
                  <a:lnTo>
                    <a:pt x="612" y="286"/>
                  </a:lnTo>
                  <a:lnTo>
                    <a:pt x="616" y="295"/>
                  </a:lnTo>
                  <a:lnTo>
                    <a:pt x="620" y="300"/>
                  </a:lnTo>
                  <a:lnTo>
                    <a:pt x="631" y="310"/>
                  </a:lnTo>
                  <a:lnTo>
                    <a:pt x="639" y="313"/>
                  </a:lnTo>
                  <a:lnTo>
                    <a:pt x="650" y="314"/>
                  </a:lnTo>
                  <a:lnTo>
                    <a:pt x="673" y="311"/>
                  </a:lnTo>
                  <a:lnTo>
                    <a:pt x="682" y="313"/>
                  </a:lnTo>
                  <a:lnTo>
                    <a:pt x="694" y="317"/>
                  </a:lnTo>
                  <a:lnTo>
                    <a:pt x="703" y="319"/>
                  </a:lnTo>
                  <a:lnTo>
                    <a:pt x="715" y="321"/>
                  </a:lnTo>
                  <a:lnTo>
                    <a:pt x="727" y="317"/>
                  </a:lnTo>
                  <a:lnTo>
                    <a:pt x="735" y="312"/>
                  </a:lnTo>
                  <a:lnTo>
                    <a:pt x="741" y="306"/>
                  </a:lnTo>
                  <a:lnTo>
                    <a:pt x="746" y="300"/>
                  </a:lnTo>
                  <a:lnTo>
                    <a:pt x="748" y="293"/>
                  </a:lnTo>
                  <a:lnTo>
                    <a:pt x="748" y="287"/>
                  </a:lnTo>
                  <a:lnTo>
                    <a:pt x="744" y="269"/>
                  </a:lnTo>
                  <a:lnTo>
                    <a:pt x="744" y="264"/>
                  </a:lnTo>
                  <a:lnTo>
                    <a:pt x="747" y="260"/>
                  </a:lnTo>
                  <a:lnTo>
                    <a:pt x="758" y="250"/>
                  </a:lnTo>
                  <a:lnTo>
                    <a:pt x="761" y="246"/>
                  </a:lnTo>
                  <a:lnTo>
                    <a:pt x="764" y="239"/>
                  </a:lnTo>
                  <a:lnTo>
                    <a:pt x="767" y="228"/>
                  </a:lnTo>
                  <a:lnTo>
                    <a:pt x="769" y="219"/>
                  </a:lnTo>
                  <a:lnTo>
                    <a:pt x="767" y="209"/>
                  </a:lnTo>
                  <a:lnTo>
                    <a:pt x="764" y="201"/>
                  </a:lnTo>
                  <a:lnTo>
                    <a:pt x="759" y="196"/>
                  </a:lnTo>
                  <a:lnTo>
                    <a:pt x="755" y="193"/>
                  </a:lnTo>
                  <a:lnTo>
                    <a:pt x="747" y="187"/>
                  </a:lnTo>
                  <a:lnTo>
                    <a:pt x="740" y="181"/>
                  </a:lnTo>
                  <a:lnTo>
                    <a:pt x="734" y="177"/>
                  </a:lnTo>
                  <a:lnTo>
                    <a:pt x="728" y="175"/>
                  </a:lnTo>
                  <a:lnTo>
                    <a:pt x="721" y="177"/>
                  </a:lnTo>
                  <a:lnTo>
                    <a:pt x="717" y="182"/>
                  </a:lnTo>
                  <a:lnTo>
                    <a:pt x="709" y="192"/>
                  </a:lnTo>
                  <a:lnTo>
                    <a:pt x="701" y="200"/>
                  </a:lnTo>
                  <a:lnTo>
                    <a:pt x="696" y="205"/>
                  </a:lnTo>
                  <a:lnTo>
                    <a:pt x="692" y="206"/>
                  </a:lnTo>
                  <a:lnTo>
                    <a:pt x="689" y="201"/>
                  </a:lnTo>
                  <a:lnTo>
                    <a:pt x="688" y="195"/>
                  </a:lnTo>
                  <a:lnTo>
                    <a:pt x="689" y="186"/>
                  </a:lnTo>
                  <a:lnTo>
                    <a:pt x="698" y="156"/>
                  </a:lnTo>
                  <a:lnTo>
                    <a:pt x="697" y="147"/>
                  </a:lnTo>
                  <a:lnTo>
                    <a:pt x="698" y="131"/>
                  </a:lnTo>
                  <a:lnTo>
                    <a:pt x="701" y="123"/>
                  </a:lnTo>
                  <a:lnTo>
                    <a:pt x="705" y="116"/>
                  </a:lnTo>
                  <a:lnTo>
                    <a:pt x="728" y="90"/>
                  </a:lnTo>
                  <a:lnTo>
                    <a:pt x="730" y="85"/>
                  </a:lnTo>
                  <a:lnTo>
                    <a:pt x="731" y="81"/>
                  </a:lnTo>
                  <a:lnTo>
                    <a:pt x="731" y="78"/>
                  </a:lnTo>
                  <a:lnTo>
                    <a:pt x="728" y="73"/>
                  </a:lnTo>
                  <a:lnTo>
                    <a:pt x="724" y="70"/>
                  </a:lnTo>
                  <a:lnTo>
                    <a:pt x="720" y="69"/>
                  </a:lnTo>
                  <a:lnTo>
                    <a:pt x="715" y="68"/>
                  </a:lnTo>
                  <a:lnTo>
                    <a:pt x="711" y="65"/>
                  </a:lnTo>
                  <a:lnTo>
                    <a:pt x="708" y="58"/>
                  </a:lnTo>
                  <a:lnTo>
                    <a:pt x="705" y="47"/>
                  </a:lnTo>
                  <a:lnTo>
                    <a:pt x="704" y="36"/>
                  </a:lnTo>
                  <a:lnTo>
                    <a:pt x="707" y="0"/>
                  </a:lnTo>
                  <a:lnTo>
                    <a:pt x="724" y="6"/>
                  </a:lnTo>
                  <a:lnTo>
                    <a:pt x="743" y="10"/>
                  </a:lnTo>
                  <a:lnTo>
                    <a:pt x="766" y="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2FAF6FA-7373-DE85-18A6-775B16FBF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9815" y="803446"/>
              <a:ext cx="1179660" cy="726624"/>
            </a:xfrm>
            <a:custGeom>
              <a:avLst/>
              <a:gdLst>
                <a:gd name="T0" fmla="*/ 776 w 802"/>
                <a:gd name="T1" fmla="*/ 388 h 494"/>
                <a:gd name="T2" fmla="*/ 778 w 802"/>
                <a:gd name="T3" fmla="*/ 394 h 494"/>
                <a:gd name="T4" fmla="*/ 781 w 802"/>
                <a:gd name="T5" fmla="*/ 397 h 494"/>
                <a:gd name="T6" fmla="*/ 787 w 802"/>
                <a:gd name="T7" fmla="*/ 399 h 494"/>
                <a:gd name="T8" fmla="*/ 785 w 802"/>
                <a:gd name="T9" fmla="*/ 405 h 494"/>
                <a:gd name="T10" fmla="*/ 762 w 802"/>
                <a:gd name="T11" fmla="*/ 434 h 494"/>
                <a:gd name="T12" fmla="*/ 753 w 802"/>
                <a:gd name="T13" fmla="*/ 442 h 494"/>
                <a:gd name="T14" fmla="*/ 737 w 802"/>
                <a:gd name="T15" fmla="*/ 451 h 494"/>
                <a:gd name="T16" fmla="*/ 625 w 802"/>
                <a:gd name="T17" fmla="*/ 451 h 494"/>
                <a:gd name="T18" fmla="*/ 589 w 802"/>
                <a:gd name="T19" fmla="*/ 476 h 494"/>
                <a:gd name="T20" fmla="*/ 525 w 802"/>
                <a:gd name="T21" fmla="*/ 494 h 494"/>
                <a:gd name="T22" fmla="*/ 484 w 802"/>
                <a:gd name="T23" fmla="*/ 475 h 494"/>
                <a:gd name="T24" fmla="*/ 456 w 802"/>
                <a:gd name="T25" fmla="*/ 456 h 494"/>
                <a:gd name="T26" fmla="*/ 432 w 802"/>
                <a:gd name="T27" fmla="*/ 472 h 494"/>
                <a:gd name="T28" fmla="*/ 436 w 802"/>
                <a:gd name="T29" fmla="*/ 452 h 494"/>
                <a:gd name="T30" fmla="*/ 433 w 802"/>
                <a:gd name="T31" fmla="*/ 431 h 494"/>
                <a:gd name="T32" fmla="*/ 400 w 802"/>
                <a:gd name="T33" fmla="*/ 419 h 494"/>
                <a:gd name="T34" fmla="*/ 320 w 802"/>
                <a:gd name="T35" fmla="*/ 427 h 494"/>
                <a:gd name="T36" fmla="*/ 263 w 802"/>
                <a:gd name="T37" fmla="*/ 438 h 494"/>
                <a:gd name="T38" fmla="*/ 172 w 802"/>
                <a:gd name="T39" fmla="*/ 425 h 494"/>
                <a:gd name="T40" fmla="*/ 73 w 802"/>
                <a:gd name="T41" fmla="*/ 438 h 494"/>
                <a:gd name="T42" fmla="*/ 40 w 802"/>
                <a:gd name="T43" fmla="*/ 442 h 494"/>
                <a:gd name="T44" fmla="*/ 12 w 802"/>
                <a:gd name="T45" fmla="*/ 430 h 494"/>
                <a:gd name="T46" fmla="*/ 16 w 802"/>
                <a:gd name="T47" fmla="*/ 404 h 494"/>
                <a:gd name="T48" fmla="*/ 44 w 802"/>
                <a:gd name="T49" fmla="*/ 363 h 494"/>
                <a:gd name="T50" fmla="*/ 67 w 802"/>
                <a:gd name="T51" fmla="*/ 341 h 494"/>
                <a:gd name="T52" fmla="*/ 69 w 802"/>
                <a:gd name="T53" fmla="*/ 329 h 494"/>
                <a:gd name="T54" fmla="*/ 89 w 802"/>
                <a:gd name="T55" fmla="*/ 309 h 494"/>
                <a:gd name="T56" fmla="*/ 117 w 802"/>
                <a:gd name="T57" fmla="*/ 298 h 494"/>
                <a:gd name="T58" fmla="*/ 169 w 802"/>
                <a:gd name="T59" fmla="*/ 310 h 494"/>
                <a:gd name="T60" fmla="*/ 195 w 802"/>
                <a:gd name="T61" fmla="*/ 314 h 494"/>
                <a:gd name="T62" fmla="*/ 216 w 802"/>
                <a:gd name="T63" fmla="*/ 329 h 494"/>
                <a:gd name="T64" fmla="*/ 231 w 802"/>
                <a:gd name="T65" fmla="*/ 334 h 494"/>
                <a:gd name="T66" fmla="*/ 257 w 802"/>
                <a:gd name="T67" fmla="*/ 311 h 494"/>
                <a:gd name="T68" fmla="*/ 311 w 802"/>
                <a:gd name="T69" fmla="*/ 244 h 494"/>
                <a:gd name="T70" fmla="*/ 345 w 802"/>
                <a:gd name="T71" fmla="*/ 221 h 494"/>
                <a:gd name="T72" fmla="*/ 367 w 802"/>
                <a:gd name="T73" fmla="*/ 222 h 494"/>
                <a:gd name="T74" fmla="*/ 389 w 802"/>
                <a:gd name="T75" fmla="*/ 214 h 494"/>
                <a:gd name="T76" fmla="*/ 393 w 802"/>
                <a:gd name="T77" fmla="*/ 191 h 494"/>
                <a:gd name="T78" fmla="*/ 366 w 802"/>
                <a:gd name="T79" fmla="*/ 152 h 494"/>
                <a:gd name="T80" fmla="*/ 355 w 802"/>
                <a:gd name="T81" fmla="*/ 117 h 494"/>
                <a:gd name="T82" fmla="*/ 335 w 802"/>
                <a:gd name="T83" fmla="*/ 70 h 494"/>
                <a:gd name="T84" fmla="*/ 360 w 802"/>
                <a:gd name="T85" fmla="*/ 65 h 494"/>
                <a:gd name="T86" fmla="*/ 376 w 802"/>
                <a:gd name="T87" fmla="*/ 55 h 494"/>
                <a:gd name="T88" fmla="*/ 380 w 802"/>
                <a:gd name="T89" fmla="*/ 25 h 494"/>
                <a:gd name="T90" fmla="*/ 403 w 802"/>
                <a:gd name="T91" fmla="*/ 9 h 494"/>
                <a:gd name="T92" fmla="*/ 442 w 802"/>
                <a:gd name="T93" fmla="*/ 16 h 494"/>
                <a:gd name="T94" fmla="*/ 504 w 802"/>
                <a:gd name="T95" fmla="*/ 64 h 494"/>
                <a:gd name="T96" fmla="*/ 564 w 802"/>
                <a:gd name="T97" fmla="*/ 147 h 494"/>
                <a:gd name="T98" fmla="*/ 577 w 802"/>
                <a:gd name="T99" fmla="*/ 211 h 494"/>
                <a:gd name="T100" fmla="*/ 589 w 802"/>
                <a:gd name="T101" fmla="*/ 245 h 494"/>
                <a:gd name="T102" fmla="*/ 628 w 802"/>
                <a:gd name="T103" fmla="*/ 260 h 494"/>
                <a:gd name="T104" fmla="*/ 677 w 802"/>
                <a:gd name="T105" fmla="*/ 270 h 494"/>
                <a:gd name="T106" fmla="*/ 766 w 802"/>
                <a:gd name="T107" fmla="*/ 323 h 494"/>
                <a:gd name="T108" fmla="*/ 802 w 802"/>
                <a:gd name="T109" fmla="*/ 35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2" h="494">
                  <a:moveTo>
                    <a:pt x="802" y="352"/>
                  </a:moveTo>
                  <a:lnTo>
                    <a:pt x="780" y="379"/>
                  </a:lnTo>
                  <a:lnTo>
                    <a:pt x="776" y="388"/>
                  </a:lnTo>
                  <a:lnTo>
                    <a:pt x="776" y="392"/>
                  </a:lnTo>
                  <a:lnTo>
                    <a:pt x="777" y="393"/>
                  </a:lnTo>
                  <a:lnTo>
                    <a:pt x="778" y="394"/>
                  </a:lnTo>
                  <a:lnTo>
                    <a:pt x="779" y="395"/>
                  </a:lnTo>
                  <a:lnTo>
                    <a:pt x="780" y="397"/>
                  </a:lnTo>
                  <a:lnTo>
                    <a:pt x="781" y="397"/>
                  </a:lnTo>
                  <a:lnTo>
                    <a:pt x="783" y="397"/>
                  </a:lnTo>
                  <a:lnTo>
                    <a:pt x="784" y="398"/>
                  </a:lnTo>
                  <a:lnTo>
                    <a:pt x="787" y="399"/>
                  </a:lnTo>
                  <a:lnTo>
                    <a:pt x="788" y="401"/>
                  </a:lnTo>
                  <a:lnTo>
                    <a:pt x="788" y="403"/>
                  </a:lnTo>
                  <a:lnTo>
                    <a:pt x="785" y="405"/>
                  </a:lnTo>
                  <a:lnTo>
                    <a:pt x="782" y="407"/>
                  </a:lnTo>
                  <a:lnTo>
                    <a:pt x="775" y="417"/>
                  </a:lnTo>
                  <a:lnTo>
                    <a:pt x="762" y="434"/>
                  </a:lnTo>
                  <a:lnTo>
                    <a:pt x="758" y="439"/>
                  </a:lnTo>
                  <a:lnTo>
                    <a:pt x="756" y="440"/>
                  </a:lnTo>
                  <a:lnTo>
                    <a:pt x="753" y="442"/>
                  </a:lnTo>
                  <a:lnTo>
                    <a:pt x="750" y="443"/>
                  </a:lnTo>
                  <a:lnTo>
                    <a:pt x="746" y="444"/>
                  </a:lnTo>
                  <a:lnTo>
                    <a:pt x="737" y="451"/>
                  </a:lnTo>
                  <a:lnTo>
                    <a:pt x="714" y="476"/>
                  </a:lnTo>
                  <a:lnTo>
                    <a:pt x="637" y="452"/>
                  </a:lnTo>
                  <a:lnTo>
                    <a:pt x="625" y="451"/>
                  </a:lnTo>
                  <a:lnTo>
                    <a:pt x="616" y="456"/>
                  </a:lnTo>
                  <a:lnTo>
                    <a:pt x="601" y="468"/>
                  </a:lnTo>
                  <a:lnTo>
                    <a:pt x="589" y="476"/>
                  </a:lnTo>
                  <a:lnTo>
                    <a:pt x="560" y="490"/>
                  </a:lnTo>
                  <a:lnTo>
                    <a:pt x="542" y="493"/>
                  </a:lnTo>
                  <a:lnTo>
                    <a:pt x="525" y="494"/>
                  </a:lnTo>
                  <a:lnTo>
                    <a:pt x="507" y="489"/>
                  </a:lnTo>
                  <a:lnTo>
                    <a:pt x="495" y="482"/>
                  </a:lnTo>
                  <a:lnTo>
                    <a:pt x="484" y="475"/>
                  </a:lnTo>
                  <a:lnTo>
                    <a:pt x="470" y="463"/>
                  </a:lnTo>
                  <a:lnTo>
                    <a:pt x="463" y="457"/>
                  </a:lnTo>
                  <a:lnTo>
                    <a:pt x="456" y="456"/>
                  </a:lnTo>
                  <a:lnTo>
                    <a:pt x="449" y="459"/>
                  </a:lnTo>
                  <a:lnTo>
                    <a:pt x="437" y="470"/>
                  </a:lnTo>
                  <a:lnTo>
                    <a:pt x="432" y="472"/>
                  </a:lnTo>
                  <a:lnTo>
                    <a:pt x="431" y="468"/>
                  </a:lnTo>
                  <a:lnTo>
                    <a:pt x="432" y="464"/>
                  </a:lnTo>
                  <a:lnTo>
                    <a:pt x="436" y="452"/>
                  </a:lnTo>
                  <a:lnTo>
                    <a:pt x="437" y="445"/>
                  </a:lnTo>
                  <a:lnTo>
                    <a:pt x="436" y="438"/>
                  </a:lnTo>
                  <a:lnTo>
                    <a:pt x="433" y="431"/>
                  </a:lnTo>
                  <a:lnTo>
                    <a:pt x="429" y="426"/>
                  </a:lnTo>
                  <a:lnTo>
                    <a:pt x="418" y="421"/>
                  </a:lnTo>
                  <a:lnTo>
                    <a:pt x="400" y="419"/>
                  </a:lnTo>
                  <a:lnTo>
                    <a:pt x="364" y="421"/>
                  </a:lnTo>
                  <a:lnTo>
                    <a:pt x="329" y="428"/>
                  </a:lnTo>
                  <a:lnTo>
                    <a:pt x="320" y="427"/>
                  </a:lnTo>
                  <a:lnTo>
                    <a:pt x="306" y="431"/>
                  </a:lnTo>
                  <a:lnTo>
                    <a:pt x="271" y="436"/>
                  </a:lnTo>
                  <a:lnTo>
                    <a:pt x="263" y="438"/>
                  </a:lnTo>
                  <a:lnTo>
                    <a:pt x="255" y="440"/>
                  </a:lnTo>
                  <a:lnTo>
                    <a:pt x="241" y="439"/>
                  </a:lnTo>
                  <a:lnTo>
                    <a:pt x="172" y="425"/>
                  </a:lnTo>
                  <a:lnTo>
                    <a:pt x="156" y="424"/>
                  </a:lnTo>
                  <a:lnTo>
                    <a:pt x="99" y="429"/>
                  </a:lnTo>
                  <a:lnTo>
                    <a:pt x="73" y="438"/>
                  </a:lnTo>
                  <a:lnTo>
                    <a:pt x="59" y="440"/>
                  </a:lnTo>
                  <a:lnTo>
                    <a:pt x="50" y="442"/>
                  </a:lnTo>
                  <a:lnTo>
                    <a:pt x="40" y="442"/>
                  </a:lnTo>
                  <a:lnTo>
                    <a:pt x="28" y="439"/>
                  </a:lnTo>
                  <a:lnTo>
                    <a:pt x="18" y="434"/>
                  </a:lnTo>
                  <a:lnTo>
                    <a:pt x="12" y="430"/>
                  </a:lnTo>
                  <a:lnTo>
                    <a:pt x="0" y="404"/>
                  </a:lnTo>
                  <a:lnTo>
                    <a:pt x="12" y="405"/>
                  </a:lnTo>
                  <a:lnTo>
                    <a:pt x="16" y="404"/>
                  </a:lnTo>
                  <a:lnTo>
                    <a:pt x="20" y="402"/>
                  </a:lnTo>
                  <a:lnTo>
                    <a:pt x="23" y="398"/>
                  </a:lnTo>
                  <a:lnTo>
                    <a:pt x="44" y="363"/>
                  </a:lnTo>
                  <a:lnTo>
                    <a:pt x="59" y="348"/>
                  </a:lnTo>
                  <a:lnTo>
                    <a:pt x="66" y="343"/>
                  </a:lnTo>
                  <a:lnTo>
                    <a:pt x="67" y="341"/>
                  </a:lnTo>
                  <a:lnTo>
                    <a:pt x="67" y="337"/>
                  </a:lnTo>
                  <a:lnTo>
                    <a:pt x="67" y="334"/>
                  </a:lnTo>
                  <a:lnTo>
                    <a:pt x="69" y="329"/>
                  </a:lnTo>
                  <a:lnTo>
                    <a:pt x="73" y="325"/>
                  </a:lnTo>
                  <a:lnTo>
                    <a:pt x="81" y="315"/>
                  </a:lnTo>
                  <a:lnTo>
                    <a:pt x="89" y="309"/>
                  </a:lnTo>
                  <a:lnTo>
                    <a:pt x="102" y="300"/>
                  </a:lnTo>
                  <a:lnTo>
                    <a:pt x="109" y="298"/>
                  </a:lnTo>
                  <a:lnTo>
                    <a:pt x="117" y="298"/>
                  </a:lnTo>
                  <a:lnTo>
                    <a:pt x="138" y="304"/>
                  </a:lnTo>
                  <a:lnTo>
                    <a:pt x="160" y="307"/>
                  </a:lnTo>
                  <a:lnTo>
                    <a:pt x="169" y="310"/>
                  </a:lnTo>
                  <a:lnTo>
                    <a:pt x="182" y="313"/>
                  </a:lnTo>
                  <a:lnTo>
                    <a:pt x="190" y="313"/>
                  </a:lnTo>
                  <a:lnTo>
                    <a:pt x="195" y="314"/>
                  </a:lnTo>
                  <a:lnTo>
                    <a:pt x="202" y="316"/>
                  </a:lnTo>
                  <a:lnTo>
                    <a:pt x="206" y="320"/>
                  </a:lnTo>
                  <a:lnTo>
                    <a:pt x="216" y="329"/>
                  </a:lnTo>
                  <a:lnTo>
                    <a:pt x="221" y="333"/>
                  </a:lnTo>
                  <a:lnTo>
                    <a:pt x="225" y="335"/>
                  </a:lnTo>
                  <a:lnTo>
                    <a:pt x="231" y="334"/>
                  </a:lnTo>
                  <a:lnTo>
                    <a:pt x="235" y="332"/>
                  </a:lnTo>
                  <a:lnTo>
                    <a:pt x="246" y="323"/>
                  </a:lnTo>
                  <a:lnTo>
                    <a:pt x="257" y="311"/>
                  </a:lnTo>
                  <a:lnTo>
                    <a:pt x="280" y="282"/>
                  </a:lnTo>
                  <a:lnTo>
                    <a:pt x="301" y="258"/>
                  </a:lnTo>
                  <a:lnTo>
                    <a:pt x="311" y="244"/>
                  </a:lnTo>
                  <a:lnTo>
                    <a:pt x="316" y="238"/>
                  </a:lnTo>
                  <a:lnTo>
                    <a:pt x="338" y="223"/>
                  </a:lnTo>
                  <a:lnTo>
                    <a:pt x="345" y="221"/>
                  </a:lnTo>
                  <a:lnTo>
                    <a:pt x="350" y="220"/>
                  </a:lnTo>
                  <a:lnTo>
                    <a:pt x="361" y="222"/>
                  </a:lnTo>
                  <a:lnTo>
                    <a:pt x="367" y="222"/>
                  </a:lnTo>
                  <a:lnTo>
                    <a:pt x="377" y="221"/>
                  </a:lnTo>
                  <a:lnTo>
                    <a:pt x="384" y="218"/>
                  </a:lnTo>
                  <a:lnTo>
                    <a:pt x="389" y="214"/>
                  </a:lnTo>
                  <a:lnTo>
                    <a:pt x="392" y="209"/>
                  </a:lnTo>
                  <a:lnTo>
                    <a:pt x="393" y="200"/>
                  </a:lnTo>
                  <a:lnTo>
                    <a:pt x="393" y="191"/>
                  </a:lnTo>
                  <a:lnTo>
                    <a:pt x="388" y="180"/>
                  </a:lnTo>
                  <a:lnTo>
                    <a:pt x="369" y="158"/>
                  </a:lnTo>
                  <a:lnTo>
                    <a:pt x="366" y="152"/>
                  </a:lnTo>
                  <a:lnTo>
                    <a:pt x="363" y="144"/>
                  </a:lnTo>
                  <a:lnTo>
                    <a:pt x="358" y="123"/>
                  </a:lnTo>
                  <a:lnTo>
                    <a:pt x="355" y="117"/>
                  </a:lnTo>
                  <a:lnTo>
                    <a:pt x="335" y="81"/>
                  </a:lnTo>
                  <a:lnTo>
                    <a:pt x="334" y="75"/>
                  </a:lnTo>
                  <a:lnTo>
                    <a:pt x="335" y="70"/>
                  </a:lnTo>
                  <a:lnTo>
                    <a:pt x="341" y="67"/>
                  </a:lnTo>
                  <a:lnTo>
                    <a:pt x="348" y="65"/>
                  </a:lnTo>
                  <a:lnTo>
                    <a:pt x="360" y="65"/>
                  </a:lnTo>
                  <a:lnTo>
                    <a:pt x="365" y="63"/>
                  </a:lnTo>
                  <a:lnTo>
                    <a:pt x="369" y="61"/>
                  </a:lnTo>
                  <a:lnTo>
                    <a:pt x="376" y="55"/>
                  </a:lnTo>
                  <a:lnTo>
                    <a:pt x="379" y="47"/>
                  </a:lnTo>
                  <a:lnTo>
                    <a:pt x="381" y="37"/>
                  </a:lnTo>
                  <a:lnTo>
                    <a:pt x="380" y="25"/>
                  </a:lnTo>
                  <a:lnTo>
                    <a:pt x="381" y="0"/>
                  </a:lnTo>
                  <a:lnTo>
                    <a:pt x="390" y="4"/>
                  </a:lnTo>
                  <a:lnTo>
                    <a:pt x="403" y="9"/>
                  </a:lnTo>
                  <a:lnTo>
                    <a:pt x="428" y="11"/>
                  </a:lnTo>
                  <a:lnTo>
                    <a:pt x="436" y="12"/>
                  </a:lnTo>
                  <a:lnTo>
                    <a:pt x="442" y="16"/>
                  </a:lnTo>
                  <a:lnTo>
                    <a:pt x="453" y="27"/>
                  </a:lnTo>
                  <a:lnTo>
                    <a:pt x="483" y="47"/>
                  </a:lnTo>
                  <a:lnTo>
                    <a:pt x="504" y="64"/>
                  </a:lnTo>
                  <a:lnTo>
                    <a:pt x="520" y="83"/>
                  </a:lnTo>
                  <a:lnTo>
                    <a:pt x="537" y="114"/>
                  </a:lnTo>
                  <a:lnTo>
                    <a:pt x="564" y="147"/>
                  </a:lnTo>
                  <a:lnTo>
                    <a:pt x="579" y="186"/>
                  </a:lnTo>
                  <a:lnTo>
                    <a:pt x="579" y="192"/>
                  </a:lnTo>
                  <a:lnTo>
                    <a:pt x="577" y="211"/>
                  </a:lnTo>
                  <a:lnTo>
                    <a:pt x="579" y="223"/>
                  </a:lnTo>
                  <a:lnTo>
                    <a:pt x="582" y="235"/>
                  </a:lnTo>
                  <a:lnTo>
                    <a:pt x="589" y="245"/>
                  </a:lnTo>
                  <a:lnTo>
                    <a:pt x="615" y="249"/>
                  </a:lnTo>
                  <a:lnTo>
                    <a:pt x="620" y="255"/>
                  </a:lnTo>
                  <a:lnTo>
                    <a:pt x="628" y="260"/>
                  </a:lnTo>
                  <a:lnTo>
                    <a:pt x="641" y="263"/>
                  </a:lnTo>
                  <a:lnTo>
                    <a:pt x="653" y="264"/>
                  </a:lnTo>
                  <a:lnTo>
                    <a:pt x="677" y="270"/>
                  </a:lnTo>
                  <a:lnTo>
                    <a:pt x="707" y="287"/>
                  </a:lnTo>
                  <a:lnTo>
                    <a:pt x="735" y="306"/>
                  </a:lnTo>
                  <a:lnTo>
                    <a:pt x="766" y="323"/>
                  </a:lnTo>
                  <a:lnTo>
                    <a:pt x="774" y="329"/>
                  </a:lnTo>
                  <a:lnTo>
                    <a:pt x="785" y="343"/>
                  </a:lnTo>
                  <a:lnTo>
                    <a:pt x="802" y="35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EBEFFC54-1E05-A6D7-50BB-19204CA3D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2144" y="2486154"/>
              <a:ext cx="1392941" cy="2194580"/>
            </a:xfrm>
            <a:custGeom>
              <a:avLst/>
              <a:gdLst>
                <a:gd name="T0" fmla="*/ 190 w 947"/>
                <a:gd name="T1" fmla="*/ 1333 h 1492"/>
                <a:gd name="T2" fmla="*/ 238 w 947"/>
                <a:gd name="T3" fmla="*/ 1468 h 1492"/>
                <a:gd name="T4" fmla="*/ 320 w 947"/>
                <a:gd name="T5" fmla="*/ 1398 h 1492"/>
                <a:gd name="T6" fmla="*/ 364 w 947"/>
                <a:gd name="T7" fmla="*/ 1318 h 1492"/>
                <a:gd name="T8" fmla="*/ 427 w 947"/>
                <a:gd name="T9" fmla="*/ 1265 h 1492"/>
                <a:gd name="T10" fmla="*/ 516 w 947"/>
                <a:gd name="T11" fmla="*/ 1142 h 1492"/>
                <a:gd name="T12" fmla="*/ 458 w 947"/>
                <a:gd name="T13" fmla="*/ 1215 h 1492"/>
                <a:gd name="T14" fmla="*/ 903 w 947"/>
                <a:gd name="T15" fmla="*/ 888 h 1492"/>
                <a:gd name="T16" fmla="*/ 710 w 947"/>
                <a:gd name="T17" fmla="*/ 710 h 1492"/>
                <a:gd name="T18" fmla="*/ 588 w 947"/>
                <a:gd name="T19" fmla="*/ 696 h 1492"/>
                <a:gd name="T20" fmla="*/ 515 w 947"/>
                <a:gd name="T21" fmla="*/ 567 h 1492"/>
                <a:gd name="T22" fmla="*/ 451 w 947"/>
                <a:gd name="T23" fmla="*/ 464 h 1492"/>
                <a:gd name="T24" fmla="*/ 494 w 947"/>
                <a:gd name="T25" fmla="*/ 337 h 1492"/>
                <a:gd name="T26" fmla="*/ 544 w 947"/>
                <a:gd name="T27" fmla="*/ 230 h 1492"/>
                <a:gd name="T28" fmla="*/ 569 w 947"/>
                <a:gd name="T29" fmla="*/ 209 h 1492"/>
                <a:gd name="T30" fmla="*/ 600 w 947"/>
                <a:gd name="T31" fmla="*/ 179 h 1492"/>
                <a:gd name="T32" fmla="*/ 644 w 947"/>
                <a:gd name="T33" fmla="*/ 143 h 1492"/>
                <a:gd name="T34" fmla="*/ 676 w 947"/>
                <a:gd name="T35" fmla="*/ 81 h 1492"/>
                <a:gd name="T36" fmla="*/ 663 w 947"/>
                <a:gd name="T37" fmla="*/ 0 h 1492"/>
                <a:gd name="T38" fmla="*/ 520 w 947"/>
                <a:gd name="T39" fmla="*/ 73 h 1492"/>
                <a:gd name="T40" fmla="*/ 497 w 947"/>
                <a:gd name="T41" fmla="*/ 118 h 1492"/>
                <a:gd name="T42" fmla="*/ 405 w 947"/>
                <a:gd name="T43" fmla="*/ 205 h 1492"/>
                <a:gd name="T44" fmla="*/ 378 w 947"/>
                <a:gd name="T45" fmla="*/ 185 h 1492"/>
                <a:gd name="T46" fmla="*/ 328 w 947"/>
                <a:gd name="T47" fmla="*/ 299 h 1492"/>
                <a:gd name="T48" fmla="*/ 272 w 947"/>
                <a:gd name="T49" fmla="*/ 378 h 1492"/>
                <a:gd name="T50" fmla="*/ 229 w 947"/>
                <a:gd name="T51" fmla="*/ 431 h 1492"/>
                <a:gd name="T52" fmla="*/ 173 w 947"/>
                <a:gd name="T53" fmla="*/ 494 h 1492"/>
                <a:gd name="T54" fmla="*/ 211 w 947"/>
                <a:gd name="T55" fmla="*/ 527 h 1492"/>
                <a:gd name="T56" fmla="*/ 167 w 947"/>
                <a:gd name="T57" fmla="*/ 576 h 1492"/>
                <a:gd name="T58" fmla="*/ 127 w 947"/>
                <a:gd name="T59" fmla="*/ 590 h 1492"/>
                <a:gd name="T60" fmla="*/ 78 w 947"/>
                <a:gd name="T61" fmla="*/ 638 h 1492"/>
                <a:gd name="T62" fmla="*/ 46 w 947"/>
                <a:gd name="T63" fmla="*/ 673 h 1492"/>
                <a:gd name="T64" fmla="*/ 220 w 947"/>
                <a:gd name="T65" fmla="*/ 853 h 1492"/>
                <a:gd name="T66" fmla="*/ 50 w 947"/>
                <a:gd name="T67" fmla="*/ 1193 h 1492"/>
                <a:gd name="T68" fmla="*/ 149 w 947"/>
                <a:gd name="T69" fmla="*/ 1255 h 1492"/>
                <a:gd name="T70" fmla="*/ 176 w 947"/>
                <a:gd name="T71" fmla="*/ 1214 h 1492"/>
                <a:gd name="T72" fmla="*/ 208 w 947"/>
                <a:gd name="T73" fmla="*/ 1200 h 1492"/>
                <a:gd name="T74" fmla="*/ 347 w 947"/>
                <a:gd name="T75" fmla="*/ 1002 h 1492"/>
                <a:gd name="T76" fmla="*/ 383 w 947"/>
                <a:gd name="T77" fmla="*/ 1007 h 1492"/>
                <a:gd name="T78" fmla="*/ 336 w 947"/>
                <a:gd name="T79" fmla="*/ 1087 h 1492"/>
                <a:gd name="T80" fmla="*/ 410 w 947"/>
                <a:gd name="T81" fmla="*/ 1097 h 1492"/>
                <a:gd name="T82" fmla="*/ 362 w 947"/>
                <a:gd name="T83" fmla="*/ 1101 h 1492"/>
                <a:gd name="T84" fmla="*/ 334 w 947"/>
                <a:gd name="T85" fmla="*/ 1174 h 1492"/>
                <a:gd name="T86" fmla="*/ 414 w 947"/>
                <a:gd name="T87" fmla="*/ 1164 h 1492"/>
                <a:gd name="T88" fmla="*/ 430 w 947"/>
                <a:gd name="T89" fmla="*/ 883 h 1492"/>
                <a:gd name="T90" fmla="*/ 476 w 947"/>
                <a:gd name="T91" fmla="*/ 808 h 1492"/>
                <a:gd name="T92" fmla="*/ 477 w 947"/>
                <a:gd name="T93" fmla="*/ 837 h 1492"/>
                <a:gd name="T94" fmla="*/ 453 w 947"/>
                <a:gd name="T95" fmla="*/ 891 h 1492"/>
                <a:gd name="T96" fmla="*/ 465 w 947"/>
                <a:gd name="T97" fmla="*/ 943 h 1492"/>
                <a:gd name="T98" fmla="*/ 504 w 947"/>
                <a:gd name="T99" fmla="*/ 1101 h 1492"/>
                <a:gd name="T100" fmla="*/ 541 w 947"/>
                <a:gd name="T101" fmla="*/ 1189 h 1492"/>
                <a:gd name="T102" fmla="*/ 453 w 947"/>
                <a:gd name="T103" fmla="*/ 1388 h 1492"/>
                <a:gd name="T104" fmla="*/ 438 w 947"/>
                <a:gd name="T105" fmla="*/ 1480 h 1492"/>
                <a:gd name="T106" fmla="*/ 568 w 947"/>
                <a:gd name="T107" fmla="*/ 1415 h 1492"/>
                <a:gd name="T108" fmla="*/ 724 w 947"/>
                <a:gd name="T109" fmla="*/ 1175 h 1492"/>
                <a:gd name="T110" fmla="*/ 721 w 947"/>
                <a:gd name="T111" fmla="*/ 1117 h 1492"/>
                <a:gd name="T112" fmla="*/ 747 w 947"/>
                <a:gd name="T113" fmla="*/ 1053 h 1492"/>
                <a:gd name="T114" fmla="*/ 789 w 947"/>
                <a:gd name="T115" fmla="*/ 985 h 1492"/>
                <a:gd name="T116" fmla="*/ 939 w 947"/>
                <a:gd name="T117" fmla="*/ 929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7" h="1492">
                  <a:moveTo>
                    <a:pt x="353" y="1223"/>
                  </a:moveTo>
                  <a:lnTo>
                    <a:pt x="323" y="1223"/>
                  </a:lnTo>
                  <a:lnTo>
                    <a:pt x="309" y="1228"/>
                  </a:lnTo>
                  <a:lnTo>
                    <a:pt x="272" y="1246"/>
                  </a:lnTo>
                  <a:lnTo>
                    <a:pt x="232" y="1258"/>
                  </a:lnTo>
                  <a:lnTo>
                    <a:pt x="222" y="1265"/>
                  </a:lnTo>
                  <a:lnTo>
                    <a:pt x="212" y="1292"/>
                  </a:lnTo>
                  <a:lnTo>
                    <a:pt x="190" y="1333"/>
                  </a:lnTo>
                  <a:lnTo>
                    <a:pt x="188" y="1343"/>
                  </a:lnTo>
                  <a:lnTo>
                    <a:pt x="185" y="1423"/>
                  </a:lnTo>
                  <a:lnTo>
                    <a:pt x="181" y="1447"/>
                  </a:lnTo>
                  <a:lnTo>
                    <a:pt x="185" y="1462"/>
                  </a:lnTo>
                  <a:lnTo>
                    <a:pt x="195" y="1466"/>
                  </a:lnTo>
                  <a:lnTo>
                    <a:pt x="210" y="1471"/>
                  </a:lnTo>
                  <a:lnTo>
                    <a:pt x="227" y="1472"/>
                  </a:lnTo>
                  <a:lnTo>
                    <a:pt x="238" y="1468"/>
                  </a:lnTo>
                  <a:lnTo>
                    <a:pt x="252" y="1461"/>
                  </a:lnTo>
                  <a:lnTo>
                    <a:pt x="275" y="1463"/>
                  </a:lnTo>
                  <a:lnTo>
                    <a:pt x="286" y="1448"/>
                  </a:lnTo>
                  <a:lnTo>
                    <a:pt x="291" y="1438"/>
                  </a:lnTo>
                  <a:lnTo>
                    <a:pt x="300" y="1428"/>
                  </a:lnTo>
                  <a:lnTo>
                    <a:pt x="300" y="1413"/>
                  </a:lnTo>
                  <a:lnTo>
                    <a:pt x="309" y="1402"/>
                  </a:lnTo>
                  <a:lnTo>
                    <a:pt x="320" y="1398"/>
                  </a:lnTo>
                  <a:lnTo>
                    <a:pt x="324" y="1387"/>
                  </a:lnTo>
                  <a:lnTo>
                    <a:pt x="333" y="1372"/>
                  </a:lnTo>
                  <a:lnTo>
                    <a:pt x="340" y="1356"/>
                  </a:lnTo>
                  <a:lnTo>
                    <a:pt x="348" y="1344"/>
                  </a:lnTo>
                  <a:lnTo>
                    <a:pt x="349" y="1344"/>
                  </a:lnTo>
                  <a:lnTo>
                    <a:pt x="354" y="1338"/>
                  </a:lnTo>
                  <a:lnTo>
                    <a:pt x="360" y="1327"/>
                  </a:lnTo>
                  <a:lnTo>
                    <a:pt x="364" y="1318"/>
                  </a:lnTo>
                  <a:lnTo>
                    <a:pt x="366" y="1313"/>
                  </a:lnTo>
                  <a:lnTo>
                    <a:pt x="376" y="1305"/>
                  </a:lnTo>
                  <a:lnTo>
                    <a:pt x="378" y="1298"/>
                  </a:lnTo>
                  <a:lnTo>
                    <a:pt x="412" y="1284"/>
                  </a:lnTo>
                  <a:lnTo>
                    <a:pt x="419" y="1278"/>
                  </a:lnTo>
                  <a:lnTo>
                    <a:pt x="423" y="1274"/>
                  </a:lnTo>
                  <a:lnTo>
                    <a:pt x="425" y="1270"/>
                  </a:lnTo>
                  <a:lnTo>
                    <a:pt x="427" y="1265"/>
                  </a:lnTo>
                  <a:lnTo>
                    <a:pt x="428" y="1259"/>
                  </a:lnTo>
                  <a:lnTo>
                    <a:pt x="400" y="1253"/>
                  </a:lnTo>
                  <a:lnTo>
                    <a:pt x="353" y="1223"/>
                  </a:lnTo>
                  <a:close/>
                  <a:moveTo>
                    <a:pt x="458" y="1215"/>
                  </a:moveTo>
                  <a:lnTo>
                    <a:pt x="475" y="1205"/>
                  </a:lnTo>
                  <a:lnTo>
                    <a:pt x="478" y="1176"/>
                  </a:lnTo>
                  <a:lnTo>
                    <a:pt x="502" y="1164"/>
                  </a:lnTo>
                  <a:lnTo>
                    <a:pt x="516" y="1142"/>
                  </a:lnTo>
                  <a:lnTo>
                    <a:pt x="507" y="1128"/>
                  </a:lnTo>
                  <a:lnTo>
                    <a:pt x="491" y="1122"/>
                  </a:lnTo>
                  <a:lnTo>
                    <a:pt x="484" y="1104"/>
                  </a:lnTo>
                  <a:lnTo>
                    <a:pt x="466" y="1137"/>
                  </a:lnTo>
                  <a:lnTo>
                    <a:pt x="452" y="1174"/>
                  </a:lnTo>
                  <a:lnTo>
                    <a:pt x="442" y="1199"/>
                  </a:lnTo>
                  <a:lnTo>
                    <a:pt x="445" y="1214"/>
                  </a:lnTo>
                  <a:lnTo>
                    <a:pt x="458" y="1215"/>
                  </a:lnTo>
                  <a:close/>
                  <a:moveTo>
                    <a:pt x="945" y="882"/>
                  </a:moveTo>
                  <a:lnTo>
                    <a:pt x="939" y="877"/>
                  </a:lnTo>
                  <a:lnTo>
                    <a:pt x="933" y="877"/>
                  </a:lnTo>
                  <a:lnTo>
                    <a:pt x="926" y="881"/>
                  </a:lnTo>
                  <a:lnTo>
                    <a:pt x="922" y="884"/>
                  </a:lnTo>
                  <a:lnTo>
                    <a:pt x="918" y="888"/>
                  </a:lnTo>
                  <a:lnTo>
                    <a:pt x="910" y="888"/>
                  </a:lnTo>
                  <a:lnTo>
                    <a:pt x="903" y="888"/>
                  </a:lnTo>
                  <a:lnTo>
                    <a:pt x="876" y="882"/>
                  </a:lnTo>
                  <a:lnTo>
                    <a:pt x="841" y="851"/>
                  </a:lnTo>
                  <a:lnTo>
                    <a:pt x="791" y="767"/>
                  </a:lnTo>
                  <a:lnTo>
                    <a:pt x="783" y="759"/>
                  </a:lnTo>
                  <a:lnTo>
                    <a:pt x="763" y="743"/>
                  </a:lnTo>
                  <a:lnTo>
                    <a:pt x="755" y="738"/>
                  </a:lnTo>
                  <a:lnTo>
                    <a:pt x="740" y="730"/>
                  </a:lnTo>
                  <a:lnTo>
                    <a:pt x="710" y="710"/>
                  </a:lnTo>
                  <a:lnTo>
                    <a:pt x="697" y="703"/>
                  </a:lnTo>
                  <a:lnTo>
                    <a:pt x="683" y="702"/>
                  </a:lnTo>
                  <a:lnTo>
                    <a:pt x="670" y="703"/>
                  </a:lnTo>
                  <a:lnTo>
                    <a:pt x="636" y="715"/>
                  </a:lnTo>
                  <a:lnTo>
                    <a:pt x="613" y="720"/>
                  </a:lnTo>
                  <a:lnTo>
                    <a:pt x="598" y="716"/>
                  </a:lnTo>
                  <a:lnTo>
                    <a:pt x="593" y="711"/>
                  </a:lnTo>
                  <a:lnTo>
                    <a:pt x="588" y="696"/>
                  </a:lnTo>
                  <a:lnTo>
                    <a:pt x="573" y="668"/>
                  </a:lnTo>
                  <a:lnTo>
                    <a:pt x="565" y="645"/>
                  </a:lnTo>
                  <a:lnTo>
                    <a:pt x="560" y="637"/>
                  </a:lnTo>
                  <a:lnTo>
                    <a:pt x="543" y="615"/>
                  </a:lnTo>
                  <a:lnTo>
                    <a:pt x="536" y="604"/>
                  </a:lnTo>
                  <a:lnTo>
                    <a:pt x="532" y="590"/>
                  </a:lnTo>
                  <a:lnTo>
                    <a:pt x="525" y="576"/>
                  </a:lnTo>
                  <a:lnTo>
                    <a:pt x="515" y="567"/>
                  </a:lnTo>
                  <a:lnTo>
                    <a:pt x="461" y="539"/>
                  </a:lnTo>
                  <a:lnTo>
                    <a:pt x="457" y="533"/>
                  </a:lnTo>
                  <a:lnTo>
                    <a:pt x="455" y="527"/>
                  </a:lnTo>
                  <a:lnTo>
                    <a:pt x="454" y="517"/>
                  </a:lnTo>
                  <a:lnTo>
                    <a:pt x="455" y="509"/>
                  </a:lnTo>
                  <a:lnTo>
                    <a:pt x="458" y="497"/>
                  </a:lnTo>
                  <a:lnTo>
                    <a:pt x="460" y="493"/>
                  </a:lnTo>
                  <a:lnTo>
                    <a:pt x="451" y="464"/>
                  </a:lnTo>
                  <a:lnTo>
                    <a:pt x="450" y="456"/>
                  </a:lnTo>
                  <a:lnTo>
                    <a:pt x="453" y="414"/>
                  </a:lnTo>
                  <a:lnTo>
                    <a:pt x="455" y="406"/>
                  </a:lnTo>
                  <a:lnTo>
                    <a:pt x="465" y="376"/>
                  </a:lnTo>
                  <a:lnTo>
                    <a:pt x="468" y="370"/>
                  </a:lnTo>
                  <a:lnTo>
                    <a:pt x="477" y="358"/>
                  </a:lnTo>
                  <a:lnTo>
                    <a:pt x="489" y="345"/>
                  </a:lnTo>
                  <a:lnTo>
                    <a:pt x="494" y="337"/>
                  </a:lnTo>
                  <a:lnTo>
                    <a:pt x="532" y="267"/>
                  </a:lnTo>
                  <a:lnTo>
                    <a:pt x="534" y="260"/>
                  </a:lnTo>
                  <a:lnTo>
                    <a:pt x="535" y="254"/>
                  </a:lnTo>
                  <a:lnTo>
                    <a:pt x="535" y="240"/>
                  </a:lnTo>
                  <a:lnTo>
                    <a:pt x="536" y="235"/>
                  </a:lnTo>
                  <a:lnTo>
                    <a:pt x="539" y="233"/>
                  </a:lnTo>
                  <a:lnTo>
                    <a:pt x="541" y="231"/>
                  </a:lnTo>
                  <a:lnTo>
                    <a:pt x="544" y="230"/>
                  </a:lnTo>
                  <a:lnTo>
                    <a:pt x="552" y="228"/>
                  </a:lnTo>
                  <a:lnTo>
                    <a:pt x="555" y="227"/>
                  </a:lnTo>
                  <a:lnTo>
                    <a:pt x="557" y="223"/>
                  </a:lnTo>
                  <a:lnTo>
                    <a:pt x="558" y="216"/>
                  </a:lnTo>
                  <a:lnTo>
                    <a:pt x="559" y="213"/>
                  </a:lnTo>
                  <a:lnTo>
                    <a:pt x="562" y="210"/>
                  </a:lnTo>
                  <a:lnTo>
                    <a:pt x="565" y="210"/>
                  </a:lnTo>
                  <a:lnTo>
                    <a:pt x="569" y="209"/>
                  </a:lnTo>
                  <a:lnTo>
                    <a:pt x="573" y="207"/>
                  </a:lnTo>
                  <a:lnTo>
                    <a:pt x="575" y="203"/>
                  </a:lnTo>
                  <a:lnTo>
                    <a:pt x="578" y="198"/>
                  </a:lnTo>
                  <a:lnTo>
                    <a:pt x="579" y="190"/>
                  </a:lnTo>
                  <a:lnTo>
                    <a:pt x="582" y="185"/>
                  </a:lnTo>
                  <a:lnTo>
                    <a:pt x="586" y="183"/>
                  </a:lnTo>
                  <a:lnTo>
                    <a:pt x="596" y="182"/>
                  </a:lnTo>
                  <a:lnTo>
                    <a:pt x="600" y="179"/>
                  </a:lnTo>
                  <a:lnTo>
                    <a:pt x="607" y="169"/>
                  </a:lnTo>
                  <a:lnTo>
                    <a:pt x="614" y="161"/>
                  </a:lnTo>
                  <a:lnTo>
                    <a:pt x="617" y="157"/>
                  </a:lnTo>
                  <a:lnTo>
                    <a:pt x="621" y="153"/>
                  </a:lnTo>
                  <a:lnTo>
                    <a:pt x="627" y="151"/>
                  </a:lnTo>
                  <a:lnTo>
                    <a:pt x="634" y="150"/>
                  </a:lnTo>
                  <a:lnTo>
                    <a:pt x="639" y="148"/>
                  </a:lnTo>
                  <a:lnTo>
                    <a:pt x="644" y="143"/>
                  </a:lnTo>
                  <a:lnTo>
                    <a:pt x="647" y="136"/>
                  </a:lnTo>
                  <a:lnTo>
                    <a:pt x="651" y="113"/>
                  </a:lnTo>
                  <a:lnTo>
                    <a:pt x="653" y="107"/>
                  </a:lnTo>
                  <a:lnTo>
                    <a:pt x="657" y="100"/>
                  </a:lnTo>
                  <a:lnTo>
                    <a:pt x="661" y="94"/>
                  </a:lnTo>
                  <a:lnTo>
                    <a:pt x="666" y="91"/>
                  </a:lnTo>
                  <a:lnTo>
                    <a:pt x="672" y="88"/>
                  </a:lnTo>
                  <a:lnTo>
                    <a:pt x="676" y="81"/>
                  </a:lnTo>
                  <a:lnTo>
                    <a:pt x="675" y="78"/>
                  </a:lnTo>
                  <a:lnTo>
                    <a:pt x="673" y="73"/>
                  </a:lnTo>
                  <a:lnTo>
                    <a:pt x="673" y="66"/>
                  </a:lnTo>
                  <a:lnTo>
                    <a:pt x="684" y="37"/>
                  </a:lnTo>
                  <a:lnTo>
                    <a:pt x="687" y="15"/>
                  </a:lnTo>
                  <a:lnTo>
                    <a:pt x="683" y="6"/>
                  </a:lnTo>
                  <a:lnTo>
                    <a:pt x="674" y="0"/>
                  </a:lnTo>
                  <a:lnTo>
                    <a:pt x="663" y="0"/>
                  </a:lnTo>
                  <a:lnTo>
                    <a:pt x="639" y="2"/>
                  </a:lnTo>
                  <a:lnTo>
                    <a:pt x="618" y="9"/>
                  </a:lnTo>
                  <a:lnTo>
                    <a:pt x="574" y="15"/>
                  </a:lnTo>
                  <a:lnTo>
                    <a:pt x="564" y="20"/>
                  </a:lnTo>
                  <a:lnTo>
                    <a:pt x="556" y="24"/>
                  </a:lnTo>
                  <a:lnTo>
                    <a:pt x="549" y="29"/>
                  </a:lnTo>
                  <a:lnTo>
                    <a:pt x="523" y="65"/>
                  </a:lnTo>
                  <a:lnTo>
                    <a:pt x="520" y="73"/>
                  </a:lnTo>
                  <a:lnTo>
                    <a:pt x="518" y="81"/>
                  </a:lnTo>
                  <a:lnTo>
                    <a:pt x="515" y="88"/>
                  </a:lnTo>
                  <a:lnTo>
                    <a:pt x="504" y="94"/>
                  </a:lnTo>
                  <a:lnTo>
                    <a:pt x="501" y="98"/>
                  </a:lnTo>
                  <a:lnTo>
                    <a:pt x="500" y="103"/>
                  </a:lnTo>
                  <a:lnTo>
                    <a:pt x="501" y="109"/>
                  </a:lnTo>
                  <a:lnTo>
                    <a:pt x="500" y="113"/>
                  </a:lnTo>
                  <a:lnTo>
                    <a:pt x="497" y="118"/>
                  </a:lnTo>
                  <a:lnTo>
                    <a:pt x="494" y="125"/>
                  </a:lnTo>
                  <a:lnTo>
                    <a:pt x="490" y="131"/>
                  </a:lnTo>
                  <a:lnTo>
                    <a:pt x="480" y="141"/>
                  </a:lnTo>
                  <a:lnTo>
                    <a:pt x="469" y="159"/>
                  </a:lnTo>
                  <a:lnTo>
                    <a:pt x="462" y="168"/>
                  </a:lnTo>
                  <a:lnTo>
                    <a:pt x="427" y="196"/>
                  </a:lnTo>
                  <a:lnTo>
                    <a:pt x="417" y="202"/>
                  </a:lnTo>
                  <a:lnTo>
                    <a:pt x="405" y="205"/>
                  </a:lnTo>
                  <a:lnTo>
                    <a:pt x="399" y="203"/>
                  </a:lnTo>
                  <a:lnTo>
                    <a:pt x="395" y="202"/>
                  </a:lnTo>
                  <a:lnTo>
                    <a:pt x="384" y="203"/>
                  </a:lnTo>
                  <a:lnTo>
                    <a:pt x="379" y="202"/>
                  </a:lnTo>
                  <a:lnTo>
                    <a:pt x="378" y="198"/>
                  </a:lnTo>
                  <a:lnTo>
                    <a:pt x="380" y="192"/>
                  </a:lnTo>
                  <a:lnTo>
                    <a:pt x="380" y="188"/>
                  </a:lnTo>
                  <a:lnTo>
                    <a:pt x="378" y="185"/>
                  </a:lnTo>
                  <a:lnTo>
                    <a:pt x="374" y="189"/>
                  </a:lnTo>
                  <a:lnTo>
                    <a:pt x="367" y="195"/>
                  </a:lnTo>
                  <a:lnTo>
                    <a:pt x="363" y="205"/>
                  </a:lnTo>
                  <a:lnTo>
                    <a:pt x="359" y="220"/>
                  </a:lnTo>
                  <a:lnTo>
                    <a:pt x="353" y="234"/>
                  </a:lnTo>
                  <a:lnTo>
                    <a:pt x="348" y="255"/>
                  </a:lnTo>
                  <a:lnTo>
                    <a:pt x="334" y="291"/>
                  </a:lnTo>
                  <a:lnTo>
                    <a:pt x="328" y="299"/>
                  </a:lnTo>
                  <a:lnTo>
                    <a:pt x="302" y="320"/>
                  </a:lnTo>
                  <a:lnTo>
                    <a:pt x="287" y="326"/>
                  </a:lnTo>
                  <a:lnTo>
                    <a:pt x="280" y="333"/>
                  </a:lnTo>
                  <a:lnTo>
                    <a:pt x="275" y="343"/>
                  </a:lnTo>
                  <a:lnTo>
                    <a:pt x="274" y="356"/>
                  </a:lnTo>
                  <a:lnTo>
                    <a:pt x="276" y="372"/>
                  </a:lnTo>
                  <a:lnTo>
                    <a:pt x="275" y="375"/>
                  </a:lnTo>
                  <a:lnTo>
                    <a:pt x="272" y="378"/>
                  </a:lnTo>
                  <a:lnTo>
                    <a:pt x="257" y="383"/>
                  </a:lnTo>
                  <a:lnTo>
                    <a:pt x="246" y="389"/>
                  </a:lnTo>
                  <a:lnTo>
                    <a:pt x="242" y="390"/>
                  </a:lnTo>
                  <a:lnTo>
                    <a:pt x="238" y="392"/>
                  </a:lnTo>
                  <a:lnTo>
                    <a:pt x="235" y="398"/>
                  </a:lnTo>
                  <a:lnTo>
                    <a:pt x="232" y="405"/>
                  </a:lnTo>
                  <a:lnTo>
                    <a:pt x="229" y="423"/>
                  </a:lnTo>
                  <a:lnTo>
                    <a:pt x="229" y="431"/>
                  </a:lnTo>
                  <a:lnTo>
                    <a:pt x="230" y="439"/>
                  </a:lnTo>
                  <a:lnTo>
                    <a:pt x="233" y="447"/>
                  </a:lnTo>
                  <a:lnTo>
                    <a:pt x="241" y="457"/>
                  </a:lnTo>
                  <a:lnTo>
                    <a:pt x="241" y="463"/>
                  </a:lnTo>
                  <a:lnTo>
                    <a:pt x="237" y="468"/>
                  </a:lnTo>
                  <a:lnTo>
                    <a:pt x="215" y="483"/>
                  </a:lnTo>
                  <a:lnTo>
                    <a:pt x="173" y="489"/>
                  </a:lnTo>
                  <a:lnTo>
                    <a:pt x="173" y="494"/>
                  </a:lnTo>
                  <a:lnTo>
                    <a:pt x="177" y="500"/>
                  </a:lnTo>
                  <a:lnTo>
                    <a:pt x="184" y="507"/>
                  </a:lnTo>
                  <a:lnTo>
                    <a:pt x="193" y="515"/>
                  </a:lnTo>
                  <a:lnTo>
                    <a:pt x="199" y="518"/>
                  </a:lnTo>
                  <a:lnTo>
                    <a:pt x="206" y="519"/>
                  </a:lnTo>
                  <a:lnTo>
                    <a:pt x="210" y="521"/>
                  </a:lnTo>
                  <a:lnTo>
                    <a:pt x="211" y="524"/>
                  </a:lnTo>
                  <a:lnTo>
                    <a:pt x="211" y="527"/>
                  </a:lnTo>
                  <a:lnTo>
                    <a:pt x="210" y="532"/>
                  </a:lnTo>
                  <a:lnTo>
                    <a:pt x="211" y="539"/>
                  </a:lnTo>
                  <a:lnTo>
                    <a:pt x="218" y="558"/>
                  </a:lnTo>
                  <a:lnTo>
                    <a:pt x="215" y="565"/>
                  </a:lnTo>
                  <a:lnTo>
                    <a:pt x="206" y="568"/>
                  </a:lnTo>
                  <a:lnTo>
                    <a:pt x="180" y="566"/>
                  </a:lnTo>
                  <a:lnTo>
                    <a:pt x="170" y="571"/>
                  </a:lnTo>
                  <a:lnTo>
                    <a:pt x="167" y="576"/>
                  </a:lnTo>
                  <a:lnTo>
                    <a:pt x="163" y="577"/>
                  </a:lnTo>
                  <a:lnTo>
                    <a:pt x="158" y="573"/>
                  </a:lnTo>
                  <a:lnTo>
                    <a:pt x="153" y="569"/>
                  </a:lnTo>
                  <a:lnTo>
                    <a:pt x="149" y="567"/>
                  </a:lnTo>
                  <a:lnTo>
                    <a:pt x="143" y="569"/>
                  </a:lnTo>
                  <a:lnTo>
                    <a:pt x="138" y="574"/>
                  </a:lnTo>
                  <a:lnTo>
                    <a:pt x="131" y="585"/>
                  </a:lnTo>
                  <a:lnTo>
                    <a:pt x="127" y="590"/>
                  </a:lnTo>
                  <a:lnTo>
                    <a:pt x="117" y="593"/>
                  </a:lnTo>
                  <a:lnTo>
                    <a:pt x="111" y="596"/>
                  </a:lnTo>
                  <a:lnTo>
                    <a:pt x="103" y="603"/>
                  </a:lnTo>
                  <a:lnTo>
                    <a:pt x="98" y="609"/>
                  </a:lnTo>
                  <a:lnTo>
                    <a:pt x="94" y="617"/>
                  </a:lnTo>
                  <a:lnTo>
                    <a:pt x="89" y="624"/>
                  </a:lnTo>
                  <a:lnTo>
                    <a:pt x="84" y="631"/>
                  </a:lnTo>
                  <a:lnTo>
                    <a:pt x="78" y="638"/>
                  </a:lnTo>
                  <a:lnTo>
                    <a:pt x="77" y="645"/>
                  </a:lnTo>
                  <a:lnTo>
                    <a:pt x="77" y="651"/>
                  </a:lnTo>
                  <a:lnTo>
                    <a:pt x="76" y="656"/>
                  </a:lnTo>
                  <a:lnTo>
                    <a:pt x="75" y="660"/>
                  </a:lnTo>
                  <a:lnTo>
                    <a:pt x="74" y="665"/>
                  </a:lnTo>
                  <a:lnTo>
                    <a:pt x="71" y="669"/>
                  </a:lnTo>
                  <a:lnTo>
                    <a:pt x="65" y="671"/>
                  </a:lnTo>
                  <a:lnTo>
                    <a:pt x="46" y="673"/>
                  </a:lnTo>
                  <a:lnTo>
                    <a:pt x="17" y="672"/>
                  </a:lnTo>
                  <a:lnTo>
                    <a:pt x="24" y="701"/>
                  </a:lnTo>
                  <a:lnTo>
                    <a:pt x="43" y="733"/>
                  </a:lnTo>
                  <a:lnTo>
                    <a:pt x="78" y="753"/>
                  </a:lnTo>
                  <a:lnTo>
                    <a:pt x="130" y="766"/>
                  </a:lnTo>
                  <a:lnTo>
                    <a:pt x="170" y="790"/>
                  </a:lnTo>
                  <a:lnTo>
                    <a:pt x="194" y="813"/>
                  </a:lnTo>
                  <a:lnTo>
                    <a:pt x="220" y="853"/>
                  </a:lnTo>
                  <a:lnTo>
                    <a:pt x="219" y="911"/>
                  </a:lnTo>
                  <a:lnTo>
                    <a:pt x="208" y="980"/>
                  </a:lnTo>
                  <a:lnTo>
                    <a:pt x="178" y="1025"/>
                  </a:lnTo>
                  <a:lnTo>
                    <a:pt x="145" y="1044"/>
                  </a:lnTo>
                  <a:lnTo>
                    <a:pt x="88" y="1058"/>
                  </a:lnTo>
                  <a:lnTo>
                    <a:pt x="48" y="1088"/>
                  </a:lnTo>
                  <a:lnTo>
                    <a:pt x="0" y="1134"/>
                  </a:lnTo>
                  <a:lnTo>
                    <a:pt x="50" y="1193"/>
                  </a:lnTo>
                  <a:lnTo>
                    <a:pt x="76" y="1209"/>
                  </a:lnTo>
                  <a:lnTo>
                    <a:pt x="81" y="1210"/>
                  </a:lnTo>
                  <a:lnTo>
                    <a:pt x="93" y="1213"/>
                  </a:lnTo>
                  <a:lnTo>
                    <a:pt x="98" y="1214"/>
                  </a:lnTo>
                  <a:lnTo>
                    <a:pt x="102" y="1217"/>
                  </a:lnTo>
                  <a:lnTo>
                    <a:pt x="111" y="1226"/>
                  </a:lnTo>
                  <a:lnTo>
                    <a:pt x="120" y="1231"/>
                  </a:lnTo>
                  <a:lnTo>
                    <a:pt x="149" y="1255"/>
                  </a:lnTo>
                  <a:lnTo>
                    <a:pt x="177" y="1266"/>
                  </a:lnTo>
                  <a:lnTo>
                    <a:pt x="192" y="1268"/>
                  </a:lnTo>
                  <a:lnTo>
                    <a:pt x="198" y="1262"/>
                  </a:lnTo>
                  <a:lnTo>
                    <a:pt x="199" y="1247"/>
                  </a:lnTo>
                  <a:lnTo>
                    <a:pt x="199" y="1240"/>
                  </a:lnTo>
                  <a:lnTo>
                    <a:pt x="197" y="1234"/>
                  </a:lnTo>
                  <a:lnTo>
                    <a:pt x="179" y="1216"/>
                  </a:lnTo>
                  <a:lnTo>
                    <a:pt x="176" y="1214"/>
                  </a:lnTo>
                  <a:lnTo>
                    <a:pt x="173" y="1201"/>
                  </a:lnTo>
                  <a:lnTo>
                    <a:pt x="176" y="1189"/>
                  </a:lnTo>
                  <a:lnTo>
                    <a:pt x="182" y="1184"/>
                  </a:lnTo>
                  <a:lnTo>
                    <a:pt x="192" y="1189"/>
                  </a:lnTo>
                  <a:lnTo>
                    <a:pt x="195" y="1193"/>
                  </a:lnTo>
                  <a:lnTo>
                    <a:pt x="198" y="1197"/>
                  </a:lnTo>
                  <a:lnTo>
                    <a:pt x="202" y="1200"/>
                  </a:lnTo>
                  <a:lnTo>
                    <a:pt x="208" y="1200"/>
                  </a:lnTo>
                  <a:lnTo>
                    <a:pt x="215" y="1196"/>
                  </a:lnTo>
                  <a:lnTo>
                    <a:pt x="219" y="1190"/>
                  </a:lnTo>
                  <a:lnTo>
                    <a:pt x="224" y="1181"/>
                  </a:lnTo>
                  <a:lnTo>
                    <a:pt x="246" y="1171"/>
                  </a:lnTo>
                  <a:lnTo>
                    <a:pt x="267" y="1150"/>
                  </a:lnTo>
                  <a:lnTo>
                    <a:pt x="312" y="1086"/>
                  </a:lnTo>
                  <a:lnTo>
                    <a:pt x="341" y="1011"/>
                  </a:lnTo>
                  <a:lnTo>
                    <a:pt x="347" y="1002"/>
                  </a:lnTo>
                  <a:lnTo>
                    <a:pt x="354" y="997"/>
                  </a:lnTo>
                  <a:lnTo>
                    <a:pt x="361" y="997"/>
                  </a:lnTo>
                  <a:lnTo>
                    <a:pt x="375" y="998"/>
                  </a:lnTo>
                  <a:lnTo>
                    <a:pt x="380" y="996"/>
                  </a:lnTo>
                  <a:lnTo>
                    <a:pt x="387" y="988"/>
                  </a:lnTo>
                  <a:lnTo>
                    <a:pt x="390" y="986"/>
                  </a:lnTo>
                  <a:lnTo>
                    <a:pt x="397" y="985"/>
                  </a:lnTo>
                  <a:lnTo>
                    <a:pt x="383" y="1007"/>
                  </a:lnTo>
                  <a:lnTo>
                    <a:pt x="378" y="1011"/>
                  </a:lnTo>
                  <a:lnTo>
                    <a:pt x="371" y="1014"/>
                  </a:lnTo>
                  <a:lnTo>
                    <a:pt x="363" y="1017"/>
                  </a:lnTo>
                  <a:lnTo>
                    <a:pt x="358" y="1020"/>
                  </a:lnTo>
                  <a:lnTo>
                    <a:pt x="354" y="1027"/>
                  </a:lnTo>
                  <a:lnTo>
                    <a:pt x="352" y="1044"/>
                  </a:lnTo>
                  <a:lnTo>
                    <a:pt x="339" y="1072"/>
                  </a:lnTo>
                  <a:lnTo>
                    <a:pt x="336" y="1087"/>
                  </a:lnTo>
                  <a:lnTo>
                    <a:pt x="340" y="1097"/>
                  </a:lnTo>
                  <a:lnTo>
                    <a:pt x="350" y="1093"/>
                  </a:lnTo>
                  <a:lnTo>
                    <a:pt x="363" y="1087"/>
                  </a:lnTo>
                  <a:lnTo>
                    <a:pt x="378" y="1085"/>
                  </a:lnTo>
                  <a:lnTo>
                    <a:pt x="393" y="1100"/>
                  </a:lnTo>
                  <a:lnTo>
                    <a:pt x="403" y="1103"/>
                  </a:lnTo>
                  <a:lnTo>
                    <a:pt x="405" y="1089"/>
                  </a:lnTo>
                  <a:lnTo>
                    <a:pt x="410" y="1097"/>
                  </a:lnTo>
                  <a:lnTo>
                    <a:pt x="411" y="1103"/>
                  </a:lnTo>
                  <a:lnTo>
                    <a:pt x="408" y="1109"/>
                  </a:lnTo>
                  <a:lnTo>
                    <a:pt x="401" y="1113"/>
                  </a:lnTo>
                  <a:lnTo>
                    <a:pt x="393" y="1112"/>
                  </a:lnTo>
                  <a:lnTo>
                    <a:pt x="388" y="1108"/>
                  </a:lnTo>
                  <a:lnTo>
                    <a:pt x="385" y="1101"/>
                  </a:lnTo>
                  <a:lnTo>
                    <a:pt x="380" y="1099"/>
                  </a:lnTo>
                  <a:lnTo>
                    <a:pt x="362" y="1101"/>
                  </a:lnTo>
                  <a:lnTo>
                    <a:pt x="356" y="1106"/>
                  </a:lnTo>
                  <a:lnTo>
                    <a:pt x="352" y="1116"/>
                  </a:lnTo>
                  <a:lnTo>
                    <a:pt x="346" y="1130"/>
                  </a:lnTo>
                  <a:lnTo>
                    <a:pt x="326" y="1144"/>
                  </a:lnTo>
                  <a:lnTo>
                    <a:pt x="318" y="1154"/>
                  </a:lnTo>
                  <a:lnTo>
                    <a:pt x="321" y="1166"/>
                  </a:lnTo>
                  <a:lnTo>
                    <a:pt x="330" y="1173"/>
                  </a:lnTo>
                  <a:lnTo>
                    <a:pt x="334" y="1174"/>
                  </a:lnTo>
                  <a:lnTo>
                    <a:pt x="348" y="1173"/>
                  </a:lnTo>
                  <a:lnTo>
                    <a:pt x="353" y="1174"/>
                  </a:lnTo>
                  <a:lnTo>
                    <a:pt x="358" y="1183"/>
                  </a:lnTo>
                  <a:lnTo>
                    <a:pt x="364" y="1187"/>
                  </a:lnTo>
                  <a:lnTo>
                    <a:pt x="374" y="1184"/>
                  </a:lnTo>
                  <a:lnTo>
                    <a:pt x="397" y="1171"/>
                  </a:lnTo>
                  <a:lnTo>
                    <a:pt x="408" y="1167"/>
                  </a:lnTo>
                  <a:lnTo>
                    <a:pt x="414" y="1164"/>
                  </a:lnTo>
                  <a:lnTo>
                    <a:pt x="432" y="1143"/>
                  </a:lnTo>
                  <a:lnTo>
                    <a:pt x="438" y="1136"/>
                  </a:lnTo>
                  <a:lnTo>
                    <a:pt x="444" y="1109"/>
                  </a:lnTo>
                  <a:lnTo>
                    <a:pt x="455" y="978"/>
                  </a:lnTo>
                  <a:lnTo>
                    <a:pt x="453" y="958"/>
                  </a:lnTo>
                  <a:lnTo>
                    <a:pt x="434" y="922"/>
                  </a:lnTo>
                  <a:lnTo>
                    <a:pt x="429" y="903"/>
                  </a:lnTo>
                  <a:lnTo>
                    <a:pt x="430" y="883"/>
                  </a:lnTo>
                  <a:lnTo>
                    <a:pt x="436" y="856"/>
                  </a:lnTo>
                  <a:lnTo>
                    <a:pt x="441" y="840"/>
                  </a:lnTo>
                  <a:lnTo>
                    <a:pt x="442" y="834"/>
                  </a:lnTo>
                  <a:lnTo>
                    <a:pt x="448" y="829"/>
                  </a:lnTo>
                  <a:lnTo>
                    <a:pt x="469" y="828"/>
                  </a:lnTo>
                  <a:lnTo>
                    <a:pt x="474" y="826"/>
                  </a:lnTo>
                  <a:lnTo>
                    <a:pt x="475" y="814"/>
                  </a:lnTo>
                  <a:lnTo>
                    <a:pt x="476" y="808"/>
                  </a:lnTo>
                  <a:lnTo>
                    <a:pt x="480" y="805"/>
                  </a:lnTo>
                  <a:lnTo>
                    <a:pt x="520" y="782"/>
                  </a:lnTo>
                  <a:lnTo>
                    <a:pt x="515" y="797"/>
                  </a:lnTo>
                  <a:lnTo>
                    <a:pt x="504" y="804"/>
                  </a:lnTo>
                  <a:lnTo>
                    <a:pt x="493" y="810"/>
                  </a:lnTo>
                  <a:lnTo>
                    <a:pt x="488" y="817"/>
                  </a:lnTo>
                  <a:lnTo>
                    <a:pt x="484" y="832"/>
                  </a:lnTo>
                  <a:lnTo>
                    <a:pt x="477" y="837"/>
                  </a:lnTo>
                  <a:lnTo>
                    <a:pt x="466" y="840"/>
                  </a:lnTo>
                  <a:lnTo>
                    <a:pt x="455" y="851"/>
                  </a:lnTo>
                  <a:lnTo>
                    <a:pt x="461" y="859"/>
                  </a:lnTo>
                  <a:lnTo>
                    <a:pt x="460" y="866"/>
                  </a:lnTo>
                  <a:lnTo>
                    <a:pt x="455" y="871"/>
                  </a:lnTo>
                  <a:lnTo>
                    <a:pt x="452" y="879"/>
                  </a:lnTo>
                  <a:lnTo>
                    <a:pt x="451" y="886"/>
                  </a:lnTo>
                  <a:lnTo>
                    <a:pt x="453" y="891"/>
                  </a:lnTo>
                  <a:lnTo>
                    <a:pt x="455" y="894"/>
                  </a:lnTo>
                  <a:lnTo>
                    <a:pt x="455" y="899"/>
                  </a:lnTo>
                  <a:lnTo>
                    <a:pt x="457" y="901"/>
                  </a:lnTo>
                  <a:lnTo>
                    <a:pt x="466" y="912"/>
                  </a:lnTo>
                  <a:lnTo>
                    <a:pt x="467" y="916"/>
                  </a:lnTo>
                  <a:lnTo>
                    <a:pt x="470" y="919"/>
                  </a:lnTo>
                  <a:lnTo>
                    <a:pt x="469" y="929"/>
                  </a:lnTo>
                  <a:lnTo>
                    <a:pt x="465" y="943"/>
                  </a:lnTo>
                  <a:lnTo>
                    <a:pt x="466" y="951"/>
                  </a:lnTo>
                  <a:lnTo>
                    <a:pt x="470" y="983"/>
                  </a:lnTo>
                  <a:lnTo>
                    <a:pt x="469" y="1022"/>
                  </a:lnTo>
                  <a:lnTo>
                    <a:pt x="470" y="1032"/>
                  </a:lnTo>
                  <a:lnTo>
                    <a:pt x="475" y="1039"/>
                  </a:lnTo>
                  <a:lnTo>
                    <a:pt x="483" y="1053"/>
                  </a:lnTo>
                  <a:lnTo>
                    <a:pt x="496" y="1089"/>
                  </a:lnTo>
                  <a:lnTo>
                    <a:pt x="504" y="1101"/>
                  </a:lnTo>
                  <a:lnTo>
                    <a:pt x="509" y="1104"/>
                  </a:lnTo>
                  <a:lnTo>
                    <a:pt x="517" y="1104"/>
                  </a:lnTo>
                  <a:lnTo>
                    <a:pt x="532" y="1103"/>
                  </a:lnTo>
                  <a:lnTo>
                    <a:pt x="534" y="1108"/>
                  </a:lnTo>
                  <a:lnTo>
                    <a:pt x="543" y="1130"/>
                  </a:lnTo>
                  <a:lnTo>
                    <a:pt x="547" y="1161"/>
                  </a:lnTo>
                  <a:lnTo>
                    <a:pt x="546" y="1177"/>
                  </a:lnTo>
                  <a:lnTo>
                    <a:pt x="541" y="1189"/>
                  </a:lnTo>
                  <a:lnTo>
                    <a:pt x="520" y="1209"/>
                  </a:lnTo>
                  <a:lnTo>
                    <a:pt x="513" y="1220"/>
                  </a:lnTo>
                  <a:lnTo>
                    <a:pt x="499" y="1260"/>
                  </a:lnTo>
                  <a:lnTo>
                    <a:pt x="496" y="1275"/>
                  </a:lnTo>
                  <a:lnTo>
                    <a:pt x="490" y="1290"/>
                  </a:lnTo>
                  <a:lnTo>
                    <a:pt x="488" y="1294"/>
                  </a:lnTo>
                  <a:lnTo>
                    <a:pt x="474" y="1320"/>
                  </a:lnTo>
                  <a:lnTo>
                    <a:pt x="453" y="1388"/>
                  </a:lnTo>
                  <a:lnTo>
                    <a:pt x="452" y="1400"/>
                  </a:lnTo>
                  <a:lnTo>
                    <a:pt x="443" y="1426"/>
                  </a:lnTo>
                  <a:lnTo>
                    <a:pt x="440" y="1441"/>
                  </a:lnTo>
                  <a:lnTo>
                    <a:pt x="447" y="1453"/>
                  </a:lnTo>
                  <a:lnTo>
                    <a:pt x="441" y="1466"/>
                  </a:lnTo>
                  <a:lnTo>
                    <a:pt x="432" y="1479"/>
                  </a:lnTo>
                  <a:lnTo>
                    <a:pt x="434" y="1479"/>
                  </a:lnTo>
                  <a:lnTo>
                    <a:pt x="438" y="1480"/>
                  </a:lnTo>
                  <a:lnTo>
                    <a:pt x="490" y="1482"/>
                  </a:lnTo>
                  <a:lnTo>
                    <a:pt x="496" y="1485"/>
                  </a:lnTo>
                  <a:lnTo>
                    <a:pt x="523" y="1492"/>
                  </a:lnTo>
                  <a:lnTo>
                    <a:pt x="525" y="1479"/>
                  </a:lnTo>
                  <a:lnTo>
                    <a:pt x="527" y="1474"/>
                  </a:lnTo>
                  <a:lnTo>
                    <a:pt x="531" y="1465"/>
                  </a:lnTo>
                  <a:lnTo>
                    <a:pt x="568" y="1421"/>
                  </a:lnTo>
                  <a:lnTo>
                    <a:pt x="568" y="1415"/>
                  </a:lnTo>
                  <a:lnTo>
                    <a:pt x="567" y="1396"/>
                  </a:lnTo>
                  <a:lnTo>
                    <a:pt x="562" y="1377"/>
                  </a:lnTo>
                  <a:lnTo>
                    <a:pt x="561" y="1365"/>
                  </a:lnTo>
                  <a:lnTo>
                    <a:pt x="565" y="1348"/>
                  </a:lnTo>
                  <a:lnTo>
                    <a:pt x="570" y="1332"/>
                  </a:lnTo>
                  <a:lnTo>
                    <a:pt x="717" y="1179"/>
                  </a:lnTo>
                  <a:lnTo>
                    <a:pt x="720" y="1177"/>
                  </a:lnTo>
                  <a:lnTo>
                    <a:pt x="724" y="1175"/>
                  </a:lnTo>
                  <a:lnTo>
                    <a:pt x="728" y="1171"/>
                  </a:lnTo>
                  <a:lnTo>
                    <a:pt x="734" y="1166"/>
                  </a:lnTo>
                  <a:lnTo>
                    <a:pt x="749" y="1151"/>
                  </a:lnTo>
                  <a:lnTo>
                    <a:pt x="752" y="1144"/>
                  </a:lnTo>
                  <a:lnTo>
                    <a:pt x="753" y="1137"/>
                  </a:lnTo>
                  <a:lnTo>
                    <a:pt x="748" y="1129"/>
                  </a:lnTo>
                  <a:lnTo>
                    <a:pt x="740" y="1112"/>
                  </a:lnTo>
                  <a:lnTo>
                    <a:pt x="721" y="1117"/>
                  </a:lnTo>
                  <a:lnTo>
                    <a:pt x="704" y="1126"/>
                  </a:lnTo>
                  <a:lnTo>
                    <a:pt x="695" y="1125"/>
                  </a:lnTo>
                  <a:lnTo>
                    <a:pt x="689" y="1119"/>
                  </a:lnTo>
                  <a:lnTo>
                    <a:pt x="688" y="1111"/>
                  </a:lnTo>
                  <a:lnTo>
                    <a:pt x="726" y="1076"/>
                  </a:lnTo>
                  <a:lnTo>
                    <a:pt x="748" y="1061"/>
                  </a:lnTo>
                  <a:lnTo>
                    <a:pt x="749" y="1058"/>
                  </a:lnTo>
                  <a:lnTo>
                    <a:pt x="747" y="1053"/>
                  </a:lnTo>
                  <a:lnTo>
                    <a:pt x="744" y="1048"/>
                  </a:lnTo>
                  <a:lnTo>
                    <a:pt x="744" y="1043"/>
                  </a:lnTo>
                  <a:lnTo>
                    <a:pt x="748" y="1037"/>
                  </a:lnTo>
                  <a:lnTo>
                    <a:pt x="748" y="1021"/>
                  </a:lnTo>
                  <a:lnTo>
                    <a:pt x="754" y="1012"/>
                  </a:lnTo>
                  <a:lnTo>
                    <a:pt x="761" y="1005"/>
                  </a:lnTo>
                  <a:lnTo>
                    <a:pt x="779" y="991"/>
                  </a:lnTo>
                  <a:lnTo>
                    <a:pt x="789" y="985"/>
                  </a:lnTo>
                  <a:lnTo>
                    <a:pt x="796" y="982"/>
                  </a:lnTo>
                  <a:lnTo>
                    <a:pt x="876" y="968"/>
                  </a:lnTo>
                  <a:lnTo>
                    <a:pt x="889" y="963"/>
                  </a:lnTo>
                  <a:lnTo>
                    <a:pt x="904" y="958"/>
                  </a:lnTo>
                  <a:lnTo>
                    <a:pt x="920" y="949"/>
                  </a:lnTo>
                  <a:lnTo>
                    <a:pt x="929" y="942"/>
                  </a:lnTo>
                  <a:lnTo>
                    <a:pt x="936" y="934"/>
                  </a:lnTo>
                  <a:lnTo>
                    <a:pt x="939" y="929"/>
                  </a:lnTo>
                  <a:lnTo>
                    <a:pt x="946" y="916"/>
                  </a:lnTo>
                  <a:lnTo>
                    <a:pt x="947" y="888"/>
                  </a:lnTo>
                  <a:lnTo>
                    <a:pt x="945" y="88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E3AE71D9-BB01-A99F-0A06-A3D2C31EC8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545" y="1616853"/>
              <a:ext cx="1387129" cy="1179660"/>
            </a:xfrm>
            <a:custGeom>
              <a:avLst/>
              <a:gdLst>
                <a:gd name="T0" fmla="*/ 1554 w 1618"/>
                <a:gd name="T1" fmla="*/ 898 h 1376"/>
                <a:gd name="T2" fmla="*/ 1479 w 1618"/>
                <a:gd name="T3" fmla="*/ 949 h 1376"/>
                <a:gd name="T4" fmla="*/ 1384 w 1618"/>
                <a:gd name="T5" fmla="*/ 1028 h 1376"/>
                <a:gd name="T6" fmla="*/ 1403 w 1618"/>
                <a:gd name="T7" fmla="*/ 1066 h 1376"/>
                <a:gd name="T8" fmla="*/ 1487 w 1618"/>
                <a:gd name="T9" fmla="*/ 1063 h 1376"/>
                <a:gd name="T10" fmla="*/ 1543 w 1618"/>
                <a:gd name="T11" fmla="*/ 993 h 1376"/>
                <a:gd name="T12" fmla="*/ 621 w 1618"/>
                <a:gd name="T13" fmla="*/ 46 h 1376"/>
                <a:gd name="T14" fmla="*/ 762 w 1618"/>
                <a:gd name="T15" fmla="*/ 240 h 1376"/>
                <a:gd name="T16" fmla="*/ 830 w 1618"/>
                <a:gd name="T17" fmla="*/ 249 h 1376"/>
                <a:gd name="T18" fmla="*/ 781 w 1618"/>
                <a:gd name="T19" fmla="*/ 195 h 1376"/>
                <a:gd name="T20" fmla="*/ 175 w 1618"/>
                <a:gd name="T21" fmla="*/ 745 h 1376"/>
                <a:gd name="T22" fmla="*/ 144 w 1618"/>
                <a:gd name="T23" fmla="*/ 610 h 1376"/>
                <a:gd name="T24" fmla="*/ 0 w 1618"/>
                <a:gd name="T25" fmla="*/ 636 h 1376"/>
                <a:gd name="T26" fmla="*/ 40 w 1618"/>
                <a:gd name="T27" fmla="*/ 738 h 1376"/>
                <a:gd name="T28" fmla="*/ 89 w 1618"/>
                <a:gd name="T29" fmla="*/ 754 h 1376"/>
                <a:gd name="T30" fmla="*/ 1337 w 1618"/>
                <a:gd name="T31" fmla="*/ 1336 h 1376"/>
                <a:gd name="T32" fmla="*/ 1377 w 1618"/>
                <a:gd name="T33" fmla="*/ 1355 h 1376"/>
                <a:gd name="T34" fmla="*/ 958 w 1618"/>
                <a:gd name="T35" fmla="*/ 777 h 1376"/>
                <a:gd name="T36" fmla="*/ 865 w 1618"/>
                <a:gd name="T37" fmla="*/ 775 h 1376"/>
                <a:gd name="T38" fmla="*/ 811 w 1618"/>
                <a:gd name="T39" fmla="*/ 781 h 1376"/>
                <a:gd name="T40" fmla="*/ 753 w 1618"/>
                <a:gd name="T41" fmla="*/ 885 h 1376"/>
                <a:gd name="T42" fmla="*/ 816 w 1618"/>
                <a:gd name="T43" fmla="*/ 935 h 1376"/>
                <a:gd name="T44" fmla="*/ 882 w 1618"/>
                <a:gd name="T45" fmla="*/ 959 h 1376"/>
                <a:gd name="T46" fmla="*/ 951 w 1618"/>
                <a:gd name="T47" fmla="*/ 931 h 1376"/>
                <a:gd name="T48" fmla="*/ 993 w 1618"/>
                <a:gd name="T49" fmla="*/ 874 h 1376"/>
                <a:gd name="T50" fmla="*/ 983 w 1618"/>
                <a:gd name="T51" fmla="*/ 798 h 1376"/>
                <a:gd name="T52" fmla="*/ 809 w 1618"/>
                <a:gd name="T53" fmla="*/ 1261 h 1376"/>
                <a:gd name="T54" fmla="*/ 768 w 1618"/>
                <a:gd name="T55" fmla="*/ 1312 h 1376"/>
                <a:gd name="T56" fmla="*/ 855 w 1618"/>
                <a:gd name="T57" fmla="*/ 1321 h 1376"/>
                <a:gd name="T58" fmla="*/ 870 w 1618"/>
                <a:gd name="T59" fmla="*/ 1298 h 1376"/>
                <a:gd name="T60" fmla="*/ 582 w 1618"/>
                <a:gd name="T61" fmla="*/ 930 h 1376"/>
                <a:gd name="T62" fmla="*/ 530 w 1618"/>
                <a:gd name="T63" fmla="*/ 872 h 1376"/>
                <a:gd name="T64" fmla="*/ 471 w 1618"/>
                <a:gd name="T65" fmla="*/ 815 h 1376"/>
                <a:gd name="T66" fmla="*/ 476 w 1618"/>
                <a:gd name="T67" fmla="*/ 732 h 1376"/>
                <a:gd name="T68" fmla="*/ 453 w 1618"/>
                <a:gd name="T69" fmla="*/ 701 h 1376"/>
                <a:gd name="T70" fmla="*/ 364 w 1618"/>
                <a:gd name="T71" fmla="*/ 631 h 1376"/>
                <a:gd name="T72" fmla="*/ 315 w 1618"/>
                <a:gd name="T73" fmla="*/ 473 h 1376"/>
                <a:gd name="T74" fmla="*/ 270 w 1618"/>
                <a:gd name="T75" fmla="*/ 425 h 1376"/>
                <a:gd name="T76" fmla="*/ 233 w 1618"/>
                <a:gd name="T77" fmla="*/ 344 h 1376"/>
                <a:gd name="T78" fmla="*/ 181 w 1618"/>
                <a:gd name="T79" fmla="*/ 356 h 1376"/>
                <a:gd name="T80" fmla="*/ 54 w 1618"/>
                <a:gd name="T81" fmla="*/ 431 h 1376"/>
                <a:gd name="T82" fmla="*/ 85 w 1618"/>
                <a:gd name="T83" fmla="*/ 469 h 1376"/>
                <a:gd name="T84" fmla="*/ 176 w 1618"/>
                <a:gd name="T85" fmla="*/ 496 h 1376"/>
                <a:gd name="T86" fmla="*/ 178 w 1618"/>
                <a:gd name="T87" fmla="*/ 582 h 1376"/>
                <a:gd name="T88" fmla="*/ 263 w 1618"/>
                <a:gd name="T89" fmla="*/ 679 h 1376"/>
                <a:gd name="T90" fmla="*/ 297 w 1618"/>
                <a:gd name="T91" fmla="*/ 738 h 1376"/>
                <a:gd name="T92" fmla="*/ 387 w 1618"/>
                <a:gd name="T93" fmla="*/ 818 h 1376"/>
                <a:gd name="T94" fmla="*/ 358 w 1618"/>
                <a:gd name="T95" fmla="*/ 876 h 1376"/>
                <a:gd name="T96" fmla="*/ 314 w 1618"/>
                <a:gd name="T97" fmla="*/ 888 h 1376"/>
                <a:gd name="T98" fmla="*/ 242 w 1618"/>
                <a:gd name="T99" fmla="*/ 895 h 1376"/>
                <a:gd name="T100" fmla="*/ 113 w 1618"/>
                <a:gd name="T101" fmla="*/ 1037 h 1376"/>
                <a:gd name="T102" fmla="*/ 155 w 1618"/>
                <a:gd name="T103" fmla="*/ 1098 h 1376"/>
                <a:gd name="T104" fmla="*/ 343 w 1618"/>
                <a:gd name="T105" fmla="*/ 1127 h 1376"/>
                <a:gd name="T106" fmla="*/ 505 w 1618"/>
                <a:gd name="T107" fmla="*/ 1076 h 1376"/>
                <a:gd name="T108" fmla="*/ 570 w 1618"/>
                <a:gd name="T109" fmla="*/ 953 h 1376"/>
                <a:gd name="T110" fmla="*/ 750 w 1618"/>
                <a:gd name="T111" fmla="*/ 623 h 1376"/>
                <a:gd name="T112" fmla="*/ 596 w 1618"/>
                <a:gd name="T113" fmla="*/ 540 h 1376"/>
                <a:gd name="T114" fmla="*/ 562 w 1618"/>
                <a:gd name="T115" fmla="*/ 580 h 1376"/>
                <a:gd name="T116" fmla="*/ 599 w 1618"/>
                <a:gd name="T117" fmla="*/ 663 h 1376"/>
                <a:gd name="T118" fmla="*/ 731 w 1618"/>
                <a:gd name="T119" fmla="*/ 667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8" h="1376">
                  <a:moveTo>
                    <a:pt x="1617" y="894"/>
                  </a:moveTo>
                  <a:lnTo>
                    <a:pt x="1608" y="898"/>
                  </a:lnTo>
                  <a:lnTo>
                    <a:pt x="1599" y="902"/>
                  </a:lnTo>
                  <a:lnTo>
                    <a:pt x="1591" y="902"/>
                  </a:lnTo>
                  <a:lnTo>
                    <a:pt x="1582" y="896"/>
                  </a:lnTo>
                  <a:lnTo>
                    <a:pt x="1574" y="893"/>
                  </a:lnTo>
                  <a:lnTo>
                    <a:pt x="1554" y="898"/>
                  </a:lnTo>
                  <a:lnTo>
                    <a:pt x="1543" y="900"/>
                  </a:lnTo>
                  <a:lnTo>
                    <a:pt x="1536" y="906"/>
                  </a:lnTo>
                  <a:lnTo>
                    <a:pt x="1512" y="915"/>
                  </a:lnTo>
                  <a:lnTo>
                    <a:pt x="1507" y="919"/>
                  </a:lnTo>
                  <a:lnTo>
                    <a:pt x="1503" y="926"/>
                  </a:lnTo>
                  <a:lnTo>
                    <a:pt x="1486" y="942"/>
                  </a:lnTo>
                  <a:lnTo>
                    <a:pt x="1479" y="949"/>
                  </a:lnTo>
                  <a:lnTo>
                    <a:pt x="1469" y="971"/>
                  </a:lnTo>
                  <a:lnTo>
                    <a:pt x="1462" y="979"/>
                  </a:lnTo>
                  <a:lnTo>
                    <a:pt x="1434" y="985"/>
                  </a:lnTo>
                  <a:lnTo>
                    <a:pt x="1426" y="986"/>
                  </a:lnTo>
                  <a:lnTo>
                    <a:pt x="1419" y="1009"/>
                  </a:lnTo>
                  <a:lnTo>
                    <a:pt x="1411" y="1017"/>
                  </a:lnTo>
                  <a:lnTo>
                    <a:pt x="1384" y="1028"/>
                  </a:lnTo>
                  <a:lnTo>
                    <a:pt x="1378" y="1034"/>
                  </a:lnTo>
                  <a:lnTo>
                    <a:pt x="1370" y="1044"/>
                  </a:lnTo>
                  <a:lnTo>
                    <a:pt x="1366" y="1051"/>
                  </a:lnTo>
                  <a:lnTo>
                    <a:pt x="1366" y="1058"/>
                  </a:lnTo>
                  <a:lnTo>
                    <a:pt x="1373" y="1060"/>
                  </a:lnTo>
                  <a:lnTo>
                    <a:pt x="1397" y="1064"/>
                  </a:lnTo>
                  <a:lnTo>
                    <a:pt x="1403" y="1066"/>
                  </a:lnTo>
                  <a:lnTo>
                    <a:pt x="1417" y="1076"/>
                  </a:lnTo>
                  <a:lnTo>
                    <a:pt x="1424" y="1078"/>
                  </a:lnTo>
                  <a:lnTo>
                    <a:pt x="1434" y="1076"/>
                  </a:lnTo>
                  <a:lnTo>
                    <a:pt x="1448" y="1066"/>
                  </a:lnTo>
                  <a:lnTo>
                    <a:pt x="1454" y="1064"/>
                  </a:lnTo>
                  <a:lnTo>
                    <a:pt x="1477" y="1064"/>
                  </a:lnTo>
                  <a:lnTo>
                    <a:pt x="1487" y="1063"/>
                  </a:lnTo>
                  <a:lnTo>
                    <a:pt x="1497" y="1060"/>
                  </a:lnTo>
                  <a:lnTo>
                    <a:pt x="1507" y="1053"/>
                  </a:lnTo>
                  <a:lnTo>
                    <a:pt x="1516" y="1044"/>
                  </a:lnTo>
                  <a:lnTo>
                    <a:pt x="1530" y="1023"/>
                  </a:lnTo>
                  <a:lnTo>
                    <a:pt x="1538" y="1004"/>
                  </a:lnTo>
                  <a:lnTo>
                    <a:pt x="1539" y="997"/>
                  </a:lnTo>
                  <a:lnTo>
                    <a:pt x="1543" y="993"/>
                  </a:lnTo>
                  <a:lnTo>
                    <a:pt x="1567" y="986"/>
                  </a:lnTo>
                  <a:lnTo>
                    <a:pt x="1586" y="970"/>
                  </a:lnTo>
                  <a:lnTo>
                    <a:pt x="1606" y="946"/>
                  </a:lnTo>
                  <a:lnTo>
                    <a:pt x="1618" y="919"/>
                  </a:lnTo>
                  <a:lnTo>
                    <a:pt x="1617" y="894"/>
                  </a:lnTo>
                  <a:close/>
                  <a:moveTo>
                    <a:pt x="610" y="66"/>
                  </a:moveTo>
                  <a:lnTo>
                    <a:pt x="621" y="46"/>
                  </a:lnTo>
                  <a:lnTo>
                    <a:pt x="612" y="15"/>
                  </a:lnTo>
                  <a:lnTo>
                    <a:pt x="585" y="0"/>
                  </a:lnTo>
                  <a:lnTo>
                    <a:pt x="580" y="12"/>
                  </a:lnTo>
                  <a:lnTo>
                    <a:pt x="585" y="40"/>
                  </a:lnTo>
                  <a:lnTo>
                    <a:pt x="580" y="54"/>
                  </a:lnTo>
                  <a:lnTo>
                    <a:pt x="610" y="66"/>
                  </a:lnTo>
                  <a:close/>
                  <a:moveTo>
                    <a:pt x="762" y="240"/>
                  </a:moveTo>
                  <a:lnTo>
                    <a:pt x="768" y="245"/>
                  </a:lnTo>
                  <a:lnTo>
                    <a:pt x="775" y="247"/>
                  </a:lnTo>
                  <a:lnTo>
                    <a:pt x="783" y="249"/>
                  </a:lnTo>
                  <a:lnTo>
                    <a:pt x="792" y="258"/>
                  </a:lnTo>
                  <a:lnTo>
                    <a:pt x="801" y="261"/>
                  </a:lnTo>
                  <a:lnTo>
                    <a:pt x="815" y="258"/>
                  </a:lnTo>
                  <a:lnTo>
                    <a:pt x="830" y="249"/>
                  </a:lnTo>
                  <a:lnTo>
                    <a:pt x="842" y="239"/>
                  </a:lnTo>
                  <a:lnTo>
                    <a:pt x="846" y="229"/>
                  </a:lnTo>
                  <a:lnTo>
                    <a:pt x="840" y="216"/>
                  </a:lnTo>
                  <a:lnTo>
                    <a:pt x="827" y="205"/>
                  </a:lnTo>
                  <a:lnTo>
                    <a:pt x="811" y="197"/>
                  </a:lnTo>
                  <a:lnTo>
                    <a:pt x="795" y="193"/>
                  </a:lnTo>
                  <a:lnTo>
                    <a:pt x="781" y="195"/>
                  </a:lnTo>
                  <a:lnTo>
                    <a:pt x="766" y="203"/>
                  </a:lnTo>
                  <a:lnTo>
                    <a:pt x="756" y="214"/>
                  </a:lnTo>
                  <a:lnTo>
                    <a:pt x="754" y="229"/>
                  </a:lnTo>
                  <a:lnTo>
                    <a:pt x="757" y="233"/>
                  </a:lnTo>
                  <a:lnTo>
                    <a:pt x="762" y="240"/>
                  </a:lnTo>
                  <a:close/>
                  <a:moveTo>
                    <a:pt x="128" y="763"/>
                  </a:moveTo>
                  <a:lnTo>
                    <a:pt x="175" y="745"/>
                  </a:lnTo>
                  <a:lnTo>
                    <a:pt x="181" y="740"/>
                  </a:lnTo>
                  <a:lnTo>
                    <a:pt x="181" y="683"/>
                  </a:lnTo>
                  <a:lnTo>
                    <a:pt x="184" y="658"/>
                  </a:lnTo>
                  <a:lnTo>
                    <a:pt x="182" y="644"/>
                  </a:lnTo>
                  <a:lnTo>
                    <a:pt x="174" y="637"/>
                  </a:lnTo>
                  <a:lnTo>
                    <a:pt x="168" y="634"/>
                  </a:lnTo>
                  <a:lnTo>
                    <a:pt x="144" y="610"/>
                  </a:lnTo>
                  <a:lnTo>
                    <a:pt x="137" y="605"/>
                  </a:lnTo>
                  <a:lnTo>
                    <a:pt x="132" y="605"/>
                  </a:lnTo>
                  <a:lnTo>
                    <a:pt x="117" y="610"/>
                  </a:lnTo>
                  <a:lnTo>
                    <a:pt x="86" y="617"/>
                  </a:lnTo>
                  <a:lnTo>
                    <a:pt x="61" y="630"/>
                  </a:lnTo>
                  <a:lnTo>
                    <a:pt x="2" y="629"/>
                  </a:lnTo>
                  <a:lnTo>
                    <a:pt x="0" y="636"/>
                  </a:lnTo>
                  <a:lnTo>
                    <a:pt x="9" y="662"/>
                  </a:lnTo>
                  <a:lnTo>
                    <a:pt x="13" y="693"/>
                  </a:lnTo>
                  <a:lnTo>
                    <a:pt x="19" y="708"/>
                  </a:lnTo>
                  <a:lnTo>
                    <a:pt x="27" y="722"/>
                  </a:lnTo>
                  <a:lnTo>
                    <a:pt x="39" y="734"/>
                  </a:lnTo>
                  <a:lnTo>
                    <a:pt x="40" y="736"/>
                  </a:lnTo>
                  <a:lnTo>
                    <a:pt x="40" y="738"/>
                  </a:lnTo>
                  <a:lnTo>
                    <a:pt x="40" y="740"/>
                  </a:lnTo>
                  <a:lnTo>
                    <a:pt x="44" y="742"/>
                  </a:lnTo>
                  <a:lnTo>
                    <a:pt x="47" y="744"/>
                  </a:lnTo>
                  <a:lnTo>
                    <a:pt x="53" y="742"/>
                  </a:lnTo>
                  <a:lnTo>
                    <a:pt x="57" y="742"/>
                  </a:lnTo>
                  <a:lnTo>
                    <a:pt x="77" y="751"/>
                  </a:lnTo>
                  <a:lnTo>
                    <a:pt x="89" y="754"/>
                  </a:lnTo>
                  <a:lnTo>
                    <a:pt x="103" y="764"/>
                  </a:lnTo>
                  <a:lnTo>
                    <a:pt x="110" y="766"/>
                  </a:lnTo>
                  <a:lnTo>
                    <a:pt x="116" y="765"/>
                  </a:lnTo>
                  <a:lnTo>
                    <a:pt x="128" y="763"/>
                  </a:lnTo>
                  <a:close/>
                  <a:moveTo>
                    <a:pt x="1364" y="1341"/>
                  </a:moveTo>
                  <a:lnTo>
                    <a:pt x="1346" y="1335"/>
                  </a:lnTo>
                  <a:lnTo>
                    <a:pt x="1337" y="1336"/>
                  </a:lnTo>
                  <a:lnTo>
                    <a:pt x="1306" y="1337"/>
                  </a:lnTo>
                  <a:lnTo>
                    <a:pt x="1296" y="1335"/>
                  </a:lnTo>
                  <a:lnTo>
                    <a:pt x="1282" y="1348"/>
                  </a:lnTo>
                  <a:lnTo>
                    <a:pt x="1336" y="1373"/>
                  </a:lnTo>
                  <a:lnTo>
                    <a:pt x="1358" y="1376"/>
                  </a:lnTo>
                  <a:lnTo>
                    <a:pt x="1378" y="1370"/>
                  </a:lnTo>
                  <a:lnTo>
                    <a:pt x="1377" y="1355"/>
                  </a:lnTo>
                  <a:lnTo>
                    <a:pt x="1364" y="1341"/>
                  </a:lnTo>
                  <a:close/>
                  <a:moveTo>
                    <a:pt x="983" y="798"/>
                  </a:moveTo>
                  <a:lnTo>
                    <a:pt x="970" y="794"/>
                  </a:lnTo>
                  <a:lnTo>
                    <a:pt x="963" y="793"/>
                  </a:lnTo>
                  <a:lnTo>
                    <a:pt x="958" y="791"/>
                  </a:lnTo>
                  <a:lnTo>
                    <a:pt x="958" y="785"/>
                  </a:lnTo>
                  <a:lnTo>
                    <a:pt x="958" y="777"/>
                  </a:lnTo>
                  <a:lnTo>
                    <a:pt x="957" y="771"/>
                  </a:lnTo>
                  <a:lnTo>
                    <a:pt x="954" y="767"/>
                  </a:lnTo>
                  <a:lnTo>
                    <a:pt x="950" y="764"/>
                  </a:lnTo>
                  <a:lnTo>
                    <a:pt x="946" y="762"/>
                  </a:lnTo>
                  <a:lnTo>
                    <a:pt x="943" y="761"/>
                  </a:lnTo>
                  <a:lnTo>
                    <a:pt x="928" y="768"/>
                  </a:lnTo>
                  <a:lnTo>
                    <a:pt x="865" y="775"/>
                  </a:lnTo>
                  <a:lnTo>
                    <a:pt x="860" y="777"/>
                  </a:lnTo>
                  <a:lnTo>
                    <a:pt x="853" y="783"/>
                  </a:lnTo>
                  <a:lnTo>
                    <a:pt x="846" y="784"/>
                  </a:lnTo>
                  <a:lnTo>
                    <a:pt x="841" y="784"/>
                  </a:lnTo>
                  <a:lnTo>
                    <a:pt x="826" y="779"/>
                  </a:lnTo>
                  <a:lnTo>
                    <a:pt x="818" y="779"/>
                  </a:lnTo>
                  <a:lnTo>
                    <a:pt x="811" y="781"/>
                  </a:lnTo>
                  <a:lnTo>
                    <a:pt x="792" y="789"/>
                  </a:lnTo>
                  <a:lnTo>
                    <a:pt x="786" y="793"/>
                  </a:lnTo>
                  <a:lnTo>
                    <a:pt x="776" y="805"/>
                  </a:lnTo>
                  <a:lnTo>
                    <a:pt x="766" y="819"/>
                  </a:lnTo>
                  <a:lnTo>
                    <a:pt x="759" y="836"/>
                  </a:lnTo>
                  <a:lnTo>
                    <a:pt x="754" y="853"/>
                  </a:lnTo>
                  <a:lnTo>
                    <a:pt x="753" y="885"/>
                  </a:lnTo>
                  <a:lnTo>
                    <a:pt x="754" y="894"/>
                  </a:lnTo>
                  <a:lnTo>
                    <a:pt x="762" y="901"/>
                  </a:lnTo>
                  <a:lnTo>
                    <a:pt x="774" y="906"/>
                  </a:lnTo>
                  <a:lnTo>
                    <a:pt x="786" y="909"/>
                  </a:lnTo>
                  <a:lnTo>
                    <a:pt x="795" y="908"/>
                  </a:lnTo>
                  <a:lnTo>
                    <a:pt x="802" y="915"/>
                  </a:lnTo>
                  <a:lnTo>
                    <a:pt x="816" y="935"/>
                  </a:lnTo>
                  <a:lnTo>
                    <a:pt x="820" y="940"/>
                  </a:lnTo>
                  <a:lnTo>
                    <a:pt x="825" y="942"/>
                  </a:lnTo>
                  <a:lnTo>
                    <a:pt x="828" y="945"/>
                  </a:lnTo>
                  <a:lnTo>
                    <a:pt x="832" y="948"/>
                  </a:lnTo>
                  <a:lnTo>
                    <a:pt x="846" y="950"/>
                  </a:lnTo>
                  <a:lnTo>
                    <a:pt x="869" y="959"/>
                  </a:lnTo>
                  <a:lnTo>
                    <a:pt x="882" y="959"/>
                  </a:lnTo>
                  <a:lnTo>
                    <a:pt x="893" y="958"/>
                  </a:lnTo>
                  <a:lnTo>
                    <a:pt x="903" y="950"/>
                  </a:lnTo>
                  <a:lnTo>
                    <a:pt x="906" y="937"/>
                  </a:lnTo>
                  <a:lnTo>
                    <a:pt x="909" y="935"/>
                  </a:lnTo>
                  <a:lnTo>
                    <a:pt x="942" y="936"/>
                  </a:lnTo>
                  <a:lnTo>
                    <a:pt x="945" y="935"/>
                  </a:lnTo>
                  <a:lnTo>
                    <a:pt x="951" y="931"/>
                  </a:lnTo>
                  <a:lnTo>
                    <a:pt x="960" y="921"/>
                  </a:lnTo>
                  <a:lnTo>
                    <a:pt x="967" y="908"/>
                  </a:lnTo>
                  <a:lnTo>
                    <a:pt x="975" y="898"/>
                  </a:lnTo>
                  <a:lnTo>
                    <a:pt x="986" y="894"/>
                  </a:lnTo>
                  <a:lnTo>
                    <a:pt x="986" y="890"/>
                  </a:lnTo>
                  <a:lnTo>
                    <a:pt x="991" y="876"/>
                  </a:lnTo>
                  <a:lnTo>
                    <a:pt x="993" y="874"/>
                  </a:lnTo>
                  <a:lnTo>
                    <a:pt x="993" y="866"/>
                  </a:lnTo>
                  <a:lnTo>
                    <a:pt x="988" y="856"/>
                  </a:lnTo>
                  <a:lnTo>
                    <a:pt x="988" y="849"/>
                  </a:lnTo>
                  <a:lnTo>
                    <a:pt x="997" y="820"/>
                  </a:lnTo>
                  <a:lnTo>
                    <a:pt x="998" y="804"/>
                  </a:lnTo>
                  <a:lnTo>
                    <a:pt x="990" y="798"/>
                  </a:lnTo>
                  <a:lnTo>
                    <a:pt x="983" y="798"/>
                  </a:lnTo>
                  <a:close/>
                  <a:moveTo>
                    <a:pt x="869" y="1281"/>
                  </a:moveTo>
                  <a:lnTo>
                    <a:pt x="866" y="1279"/>
                  </a:lnTo>
                  <a:lnTo>
                    <a:pt x="865" y="1278"/>
                  </a:lnTo>
                  <a:lnTo>
                    <a:pt x="857" y="1269"/>
                  </a:lnTo>
                  <a:lnTo>
                    <a:pt x="841" y="1261"/>
                  </a:lnTo>
                  <a:lnTo>
                    <a:pt x="822" y="1258"/>
                  </a:lnTo>
                  <a:lnTo>
                    <a:pt x="809" y="1261"/>
                  </a:lnTo>
                  <a:lnTo>
                    <a:pt x="803" y="1252"/>
                  </a:lnTo>
                  <a:lnTo>
                    <a:pt x="795" y="1256"/>
                  </a:lnTo>
                  <a:lnTo>
                    <a:pt x="789" y="1267"/>
                  </a:lnTo>
                  <a:lnTo>
                    <a:pt x="785" y="1286"/>
                  </a:lnTo>
                  <a:lnTo>
                    <a:pt x="780" y="1296"/>
                  </a:lnTo>
                  <a:lnTo>
                    <a:pt x="775" y="1305"/>
                  </a:lnTo>
                  <a:lnTo>
                    <a:pt x="768" y="1312"/>
                  </a:lnTo>
                  <a:lnTo>
                    <a:pt x="782" y="1320"/>
                  </a:lnTo>
                  <a:lnTo>
                    <a:pt x="791" y="1329"/>
                  </a:lnTo>
                  <a:lnTo>
                    <a:pt x="801" y="1336"/>
                  </a:lnTo>
                  <a:lnTo>
                    <a:pt x="826" y="1339"/>
                  </a:lnTo>
                  <a:lnTo>
                    <a:pt x="830" y="1338"/>
                  </a:lnTo>
                  <a:lnTo>
                    <a:pt x="852" y="1325"/>
                  </a:lnTo>
                  <a:lnTo>
                    <a:pt x="855" y="1321"/>
                  </a:lnTo>
                  <a:lnTo>
                    <a:pt x="856" y="1318"/>
                  </a:lnTo>
                  <a:lnTo>
                    <a:pt x="855" y="1310"/>
                  </a:lnTo>
                  <a:lnTo>
                    <a:pt x="855" y="1307"/>
                  </a:lnTo>
                  <a:lnTo>
                    <a:pt x="858" y="1306"/>
                  </a:lnTo>
                  <a:lnTo>
                    <a:pt x="868" y="1303"/>
                  </a:lnTo>
                  <a:lnTo>
                    <a:pt x="869" y="1300"/>
                  </a:lnTo>
                  <a:lnTo>
                    <a:pt x="870" y="1298"/>
                  </a:lnTo>
                  <a:lnTo>
                    <a:pt x="871" y="1296"/>
                  </a:lnTo>
                  <a:lnTo>
                    <a:pt x="873" y="1294"/>
                  </a:lnTo>
                  <a:lnTo>
                    <a:pt x="873" y="1290"/>
                  </a:lnTo>
                  <a:lnTo>
                    <a:pt x="872" y="1284"/>
                  </a:lnTo>
                  <a:lnTo>
                    <a:pt x="869" y="1281"/>
                  </a:lnTo>
                  <a:close/>
                  <a:moveTo>
                    <a:pt x="586" y="930"/>
                  </a:moveTo>
                  <a:lnTo>
                    <a:pt x="582" y="930"/>
                  </a:lnTo>
                  <a:lnTo>
                    <a:pt x="575" y="927"/>
                  </a:lnTo>
                  <a:lnTo>
                    <a:pt x="553" y="903"/>
                  </a:lnTo>
                  <a:lnTo>
                    <a:pt x="543" y="900"/>
                  </a:lnTo>
                  <a:lnTo>
                    <a:pt x="548" y="890"/>
                  </a:lnTo>
                  <a:lnTo>
                    <a:pt x="544" y="882"/>
                  </a:lnTo>
                  <a:lnTo>
                    <a:pt x="538" y="876"/>
                  </a:lnTo>
                  <a:lnTo>
                    <a:pt x="530" y="872"/>
                  </a:lnTo>
                  <a:lnTo>
                    <a:pt x="520" y="871"/>
                  </a:lnTo>
                  <a:lnTo>
                    <a:pt x="521" y="856"/>
                  </a:lnTo>
                  <a:lnTo>
                    <a:pt x="507" y="849"/>
                  </a:lnTo>
                  <a:lnTo>
                    <a:pt x="479" y="844"/>
                  </a:lnTo>
                  <a:lnTo>
                    <a:pt x="476" y="833"/>
                  </a:lnTo>
                  <a:lnTo>
                    <a:pt x="476" y="822"/>
                  </a:lnTo>
                  <a:lnTo>
                    <a:pt x="471" y="815"/>
                  </a:lnTo>
                  <a:lnTo>
                    <a:pt x="456" y="825"/>
                  </a:lnTo>
                  <a:lnTo>
                    <a:pt x="462" y="815"/>
                  </a:lnTo>
                  <a:lnTo>
                    <a:pt x="480" y="799"/>
                  </a:lnTo>
                  <a:lnTo>
                    <a:pt x="483" y="787"/>
                  </a:lnTo>
                  <a:lnTo>
                    <a:pt x="481" y="759"/>
                  </a:lnTo>
                  <a:lnTo>
                    <a:pt x="475" y="734"/>
                  </a:lnTo>
                  <a:lnTo>
                    <a:pt x="476" y="732"/>
                  </a:lnTo>
                  <a:lnTo>
                    <a:pt x="478" y="728"/>
                  </a:lnTo>
                  <a:lnTo>
                    <a:pt x="479" y="724"/>
                  </a:lnTo>
                  <a:lnTo>
                    <a:pt x="479" y="720"/>
                  </a:lnTo>
                  <a:lnTo>
                    <a:pt x="468" y="718"/>
                  </a:lnTo>
                  <a:lnTo>
                    <a:pt x="465" y="715"/>
                  </a:lnTo>
                  <a:lnTo>
                    <a:pt x="456" y="707"/>
                  </a:lnTo>
                  <a:lnTo>
                    <a:pt x="453" y="701"/>
                  </a:lnTo>
                  <a:lnTo>
                    <a:pt x="451" y="695"/>
                  </a:lnTo>
                  <a:lnTo>
                    <a:pt x="447" y="687"/>
                  </a:lnTo>
                  <a:lnTo>
                    <a:pt x="378" y="644"/>
                  </a:lnTo>
                  <a:lnTo>
                    <a:pt x="376" y="643"/>
                  </a:lnTo>
                  <a:lnTo>
                    <a:pt x="371" y="642"/>
                  </a:lnTo>
                  <a:lnTo>
                    <a:pt x="366" y="638"/>
                  </a:lnTo>
                  <a:lnTo>
                    <a:pt x="364" y="631"/>
                  </a:lnTo>
                  <a:lnTo>
                    <a:pt x="364" y="622"/>
                  </a:lnTo>
                  <a:lnTo>
                    <a:pt x="364" y="619"/>
                  </a:lnTo>
                  <a:lnTo>
                    <a:pt x="361" y="616"/>
                  </a:lnTo>
                  <a:lnTo>
                    <a:pt x="334" y="591"/>
                  </a:lnTo>
                  <a:lnTo>
                    <a:pt x="326" y="579"/>
                  </a:lnTo>
                  <a:lnTo>
                    <a:pt x="313" y="504"/>
                  </a:lnTo>
                  <a:lnTo>
                    <a:pt x="315" y="473"/>
                  </a:lnTo>
                  <a:lnTo>
                    <a:pt x="314" y="456"/>
                  </a:lnTo>
                  <a:lnTo>
                    <a:pt x="310" y="444"/>
                  </a:lnTo>
                  <a:lnTo>
                    <a:pt x="305" y="442"/>
                  </a:lnTo>
                  <a:lnTo>
                    <a:pt x="298" y="440"/>
                  </a:lnTo>
                  <a:lnTo>
                    <a:pt x="284" y="440"/>
                  </a:lnTo>
                  <a:lnTo>
                    <a:pt x="280" y="437"/>
                  </a:lnTo>
                  <a:lnTo>
                    <a:pt x="270" y="425"/>
                  </a:lnTo>
                  <a:lnTo>
                    <a:pt x="266" y="422"/>
                  </a:lnTo>
                  <a:lnTo>
                    <a:pt x="260" y="415"/>
                  </a:lnTo>
                  <a:lnTo>
                    <a:pt x="252" y="387"/>
                  </a:lnTo>
                  <a:lnTo>
                    <a:pt x="243" y="381"/>
                  </a:lnTo>
                  <a:lnTo>
                    <a:pt x="241" y="374"/>
                  </a:lnTo>
                  <a:lnTo>
                    <a:pt x="239" y="360"/>
                  </a:lnTo>
                  <a:lnTo>
                    <a:pt x="233" y="344"/>
                  </a:lnTo>
                  <a:lnTo>
                    <a:pt x="222" y="334"/>
                  </a:lnTo>
                  <a:lnTo>
                    <a:pt x="215" y="337"/>
                  </a:lnTo>
                  <a:lnTo>
                    <a:pt x="203" y="336"/>
                  </a:lnTo>
                  <a:lnTo>
                    <a:pt x="195" y="339"/>
                  </a:lnTo>
                  <a:lnTo>
                    <a:pt x="190" y="344"/>
                  </a:lnTo>
                  <a:lnTo>
                    <a:pt x="185" y="350"/>
                  </a:lnTo>
                  <a:lnTo>
                    <a:pt x="181" y="356"/>
                  </a:lnTo>
                  <a:lnTo>
                    <a:pt x="159" y="361"/>
                  </a:lnTo>
                  <a:lnTo>
                    <a:pt x="146" y="368"/>
                  </a:lnTo>
                  <a:lnTo>
                    <a:pt x="133" y="372"/>
                  </a:lnTo>
                  <a:lnTo>
                    <a:pt x="117" y="366"/>
                  </a:lnTo>
                  <a:lnTo>
                    <a:pt x="112" y="394"/>
                  </a:lnTo>
                  <a:lnTo>
                    <a:pt x="99" y="407"/>
                  </a:lnTo>
                  <a:lnTo>
                    <a:pt x="54" y="431"/>
                  </a:lnTo>
                  <a:lnTo>
                    <a:pt x="49" y="434"/>
                  </a:lnTo>
                  <a:lnTo>
                    <a:pt x="45" y="437"/>
                  </a:lnTo>
                  <a:lnTo>
                    <a:pt x="44" y="442"/>
                  </a:lnTo>
                  <a:lnTo>
                    <a:pt x="46" y="447"/>
                  </a:lnTo>
                  <a:lnTo>
                    <a:pt x="60" y="465"/>
                  </a:lnTo>
                  <a:lnTo>
                    <a:pt x="73" y="472"/>
                  </a:lnTo>
                  <a:lnTo>
                    <a:pt x="85" y="469"/>
                  </a:lnTo>
                  <a:lnTo>
                    <a:pt x="107" y="454"/>
                  </a:lnTo>
                  <a:lnTo>
                    <a:pt x="130" y="444"/>
                  </a:lnTo>
                  <a:lnTo>
                    <a:pt x="152" y="446"/>
                  </a:lnTo>
                  <a:lnTo>
                    <a:pt x="166" y="456"/>
                  </a:lnTo>
                  <a:lnTo>
                    <a:pt x="172" y="479"/>
                  </a:lnTo>
                  <a:lnTo>
                    <a:pt x="172" y="486"/>
                  </a:lnTo>
                  <a:lnTo>
                    <a:pt x="176" y="496"/>
                  </a:lnTo>
                  <a:lnTo>
                    <a:pt x="176" y="502"/>
                  </a:lnTo>
                  <a:lnTo>
                    <a:pt x="176" y="525"/>
                  </a:lnTo>
                  <a:lnTo>
                    <a:pt x="178" y="537"/>
                  </a:lnTo>
                  <a:lnTo>
                    <a:pt x="182" y="546"/>
                  </a:lnTo>
                  <a:lnTo>
                    <a:pt x="195" y="564"/>
                  </a:lnTo>
                  <a:lnTo>
                    <a:pt x="179" y="569"/>
                  </a:lnTo>
                  <a:lnTo>
                    <a:pt x="178" y="582"/>
                  </a:lnTo>
                  <a:lnTo>
                    <a:pt x="187" y="597"/>
                  </a:lnTo>
                  <a:lnTo>
                    <a:pt x="200" y="605"/>
                  </a:lnTo>
                  <a:lnTo>
                    <a:pt x="198" y="627"/>
                  </a:lnTo>
                  <a:lnTo>
                    <a:pt x="214" y="643"/>
                  </a:lnTo>
                  <a:lnTo>
                    <a:pt x="255" y="664"/>
                  </a:lnTo>
                  <a:lnTo>
                    <a:pt x="261" y="675"/>
                  </a:lnTo>
                  <a:lnTo>
                    <a:pt x="263" y="679"/>
                  </a:lnTo>
                  <a:lnTo>
                    <a:pt x="268" y="681"/>
                  </a:lnTo>
                  <a:lnTo>
                    <a:pt x="276" y="682"/>
                  </a:lnTo>
                  <a:lnTo>
                    <a:pt x="282" y="683"/>
                  </a:lnTo>
                  <a:lnTo>
                    <a:pt x="289" y="689"/>
                  </a:lnTo>
                  <a:lnTo>
                    <a:pt x="292" y="696"/>
                  </a:lnTo>
                  <a:lnTo>
                    <a:pt x="291" y="715"/>
                  </a:lnTo>
                  <a:lnTo>
                    <a:pt x="297" y="738"/>
                  </a:lnTo>
                  <a:lnTo>
                    <a:pt x="310" y="762"/>
                  </a:lnTo>
                  <a:lnTo>
                    <a:pt x="325" y="784"/>
                  </a:lnTo>
                  <a:lnTo>
                    <a:pt x="341" y="798"/>
                  </a:lnTo>
                  <a:lnTo>
                    <a:pt x="349" y="801"/>
                  </a:lnTo>
                  <a:lnTo>
                    <a:pt x="370" y="807"/>
                  </a:lnTo>
                  <a:lnTo>
                    <a:pt x="378" y="812"/>
                  </a:lnTo>
                  <a:lnTo>
                    <a:pt x="387" y="818"/>
                  </a:lnTo>
                  <a:lnTo>
                    <a:pt x="391" y="827"/>
                  </a:lnTo>
                  <a:lnTo>
                    <a:pt x="391" y="838"/>
                  </a:lnTo>
                  <a:lnTo>
                    <a:pt x="383" y="849"/>
                  </a:lnTo>
                  <a:lnTo>
                    <a:pt x="373" y="844"/>
                  </a:lnTo>
                  <a:lnTo>
                    <a:pt x="364" y="855"/>
                  </a:lnTo>
                  <a:lnTo>
                    <a:pt x="358" y="869"/>
                  </a:lnTo>
                  <a:lnTo>
                    <a:pt x="358" y="876"/>
                  </a:lnTo>
                  <a:lnTo>
                    <a:pt x="353" y="878"/>
                  </a:lnTo>
                  <a:lnTo>
                    <a:pt x="348" y="888"/>
                  </a:lnTo>
                  <a:lnTo>
                    <a:pt x="344" y="892"/>
                  </a:lnTo>
                  <a:lnTo>
                    <a:pt x="337" y="894"/>
                  </a:lnTo>
                  <a:lnTo>
                    <a:pt x="330" y="894"/>
                  </a:lnTo>
                  <a:lnTo>
                    <a:pt x="319" y="890"/>
                  </a:lnTo>
                  <a:lnTo>
                    <a:pt x="314" y="888"/>
                  </a:lnTo>
                  <a:lnTo>
                    <a:pt x="312" y="885"/>
                  </a:lnTo>
                  <a:lnTo>
                    <a:pt x="308" y="882"/>
                  </a:lnTo>
                  <a:lnTo>
                    <a:pt x="300" y="880"/>
                  </a:lnTo>
                  <a:lnTo>
                    <a:pt x="293" y="881"/>
                  </a:lnTo>
                  <a:lnTo>
                    <a:pt x="269" y="887"/>
                  </a:lnTo>
                  <a:lnTo>
                    <a:pt x="253" y="894"/>
                  </a:lnTo>
                  <a:lnTo>
                    <a:pt x="242" y="895"/>
                  </a:lnTo>
                  <a:lnTo>
                    <a:pt x="240" y="898"/>
                  </a:lnTo>
                  <a:lnTo>
                    <a:pt x="240" y="903"/>
                  </a:lnTo>
                  <a:lnTo>
                    <a:pt x="236" y="908"/>
                  </a:lnTo>
                  <a:lnTo>
                    <a:pt x="158" y="959"/>
                  </a:lnTo>
                  <a:lnTo>
                    <a:pt x="138" y="979"/>
                  </a:lnTo>
                  <a:lnTo>
                    <a:pt x="119" y="1007"/>
                  </a:lnTo>
                  <a:lnTo>
                    <a:pt x="113" y="1037"/>
                  </a:lnTo>
                  <a:lnTo>
                    <a:pt x="130" y="1064"/>
                  </a:lnTo>
                  <a:lnTo>
                    <a:pt x="138" y="1066"/>
                  </a:lnTo>
                  <a:lnTo>
                    <a:pt x="145" y="1066"/>
                  </a:lnTo>
                  <a:lnTo>
                    <a:pt x="151" y="1068"/>
                  </a:lnTo>
                  <a:lnTo>
                    <a:pt x="154" y="1075"/>
                  </a:lnTo>
                  <a:lnTo>
                    <a:pt x="154" y="1091"/>
                  </a:lnTo>
                  <a:lnTo>
                    <a:pt x="155" y="1098"/>
                  </a:lnTo>
                  <a:lnTo>
                    <a:pt x="158" y="1105"/>
                  </a:lnTo>
                  <a:lnTo>
                    <a:pt x="168" y="1115"/>
                  </a:lnTo>
                  <a:lnTo>
                    <a:pt x="182" y="1120"/>
                  </a:lnTo>
                  <a:lnTo>
                    <a:pt x="257" y="1118"/>
                  </a:lnTo>
                  <a:lnTo>
                    <a:pt x="318" y="1127"/>
                  </a:lnTo>
                  <a:lnTo>
                    <a:pt x="327" y="1124"/>
                  </a:lnTo>
                  <a:lnTo>
                    <a:pt x="343" y="1127"/>
                  </a:lnTo>
                  <a:lnTo>
                    <a:pt x="419" y="1102"/>
                  </a:lnTo>
                  <a:lnTo>
                    <a:pt x="441" y="1086"/>
                  </a:lnTo>
                  <a:lnTo>
                    <a:pt x="454" y="1083"/>
                  </a:lnTo>
                  <a:lnTo>
                    <a:pt x="475" y="1081"/>
                  </a:lnTo>
                  <a:lnTo>
                    <a:pt x="486" y="1082"/>
                  </a:lnTo>
                  <a:lnTo>
                    <a:pt x="497" y="1087"/>
                  </a:lnTo>
                  <a:lnTo>
                    <a:pt x="505" y="1076"/>
                  </a:lnTo>
                  <a:lnTo>
                    <a:pt x="522" y="1057"/>
                  </a:lnTo>
                  <a:lnTo>
                    <a:pt x="530" y="1046"/>
                  </a:lnTo>
                  <a:lnTo>
                    <a:pt x="544" y="1050"/>
                  </a:lnTo>
                  <a:lnTo>
                    <a:pt x="545" y="1038"/>
                  </a:lnTo>
                  <a:lnTo>
                    <a:pt x="543" y="1022"/>
                  </a:lnTo>
                  <a:lnTo>
                    <a:pt x="564" y="956"/>
                  </a:lnTo>
                  <a:lnTo>
                    <a:pt x="570" y="953"/>
                  </a:lnTo>
                  <a:lnTo>
                    <a:pt x="586" y="946"/>
                  </a:lnTo>
                  <a:lnTo>
                    <a:pt x="590" y="942"/>
                  </a:lnTo>
                  <a:lnTo>
                    <a:pt x="588" y="932"/>
                  </a:lnTo>
                  <a:lnTo>
                    <a:pt x="586" y="930"/>
                  </a:lnTo>
                  <a:close/>
                  <a:moveTo>
                    <a:pt x="744" y="625"/>
                  </a:moveTo>
                  <a:lnTo>
                    <a:pt x="747" y="624"/>
                  </a:lnTo>
                  <a:lnTo>
                    <a:pt x="750" y="623"/>
                  </a:lnTo>
                  <a:lnTo>
                    <a:pt x="730" y="611"/>
                  </a:lnTo>
                  <a:lnTo>
                    <a:pt x="696" y="572"/>
                  </a:lnTo>
                  <a:lnTo>
                    <a:pt x="674" y="564"/>
                  </a:lnTo>
                  <a:lnTo>
                    <a:pt x="658" y="561"/>
                  </a:lnTo>
                  <a:lnTo>
                    <a:pt x="612" y="545"/>
                  </a:lnTo>
                  <a:lnTo>
                    <a:pt x="598" y="537"/>
                  </a:lnTo>
                  <a:lnTo>
                    <a:pt x="596" y="540"/>
                  </a:lnTo>
                  <a:lnTo>
                    <a:pt x="594" y="540"/>
                  </a:lnTo>
                  <a:lnTo>
                    <a:pt x="590" y="537"/>
                  </a:lnTo>
                  <a:lnTo>
                    <a:pt x="577" y="539"/>
                  </a:lnTo>
                  <a:lnTo>
                    <a:pt x="566" y="547"/>
                  </a:lnTo>
                  <a:lnTo>
                    <a:pt x="560" y="559"/>
                  </a:lnTo>
                  <a:lnTo>
                    <a:pt x="564" y="571"/>
                  </a:lnTo>
                  <a:lnTo>
                    <a:pt x="562" y="580"/>
                  </a:lnTo>
                  <a:lnTo>
                    <a:pt x="534" y="619"/>
                  </a:lnTo>
                  <a:lnTo>
                    <a:pt x="551" y="622"/>
                  </a:lnTo>
                  <a:lnTo>
                    <a:pt x="558" y="636"/>
                  </a:lnTo>
                  <a:lnTo>
                    <a:pt x="562" y="654"/>
                  </a:lnTo>
                  <a:lnTo>
                    <a:pt x="571" y="664"/>
                  </a:lnTo>
                  <a:lnTo>
                    <a:pt x="586" y="659"/>
                  </a:lnTo>
                  <a:lnTo>
                    <a:pt x="599" y="663"/>
                  </a:lnTo>
                  <a:lnTo>
                    <a:pt x="611" y="670"/>
                  </a:lnTo>
                  <a:lnTo>
                    <a:pt x="623" y="674"/>
                  </a:lnTo>
                  <a:lnTo>
                    <a:pt x="671" y="674"/>
                  </a:lnTo>
                  <a:lnTo>
                    <a:pt x="699" y="683"/>
                  </a:lnTo>
                  <a:lnTo>
                    <a:pt x="714" y="685"/>
                  </a:lnTo>
                  <a:lnTo>
                    <a:pt x="726" y="681"/>
                  </a:lnTo>
                  <a:lnTo>
                    <a:pt x="731" y="667"/>
                  </a:lnTo>
                  <a:lnTo>
                    <a:pt x="746" y="646"/>
                  </a:lnTo>
                  <a:lnTo>
                    <a:pt x="750" y="633"/>
                  </a:lnTo>
                  <a:lnTo>
                    <a:pt x="741" y="629"/>
                  </a:lnTo>
                  <a:lnTo>
                    <a:pt x="744" y="62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5BDD3058-99F8-19CA-F624-3A2D96B220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647" y="250388"/>
              <a:ext cx="1657702" cy="1460602"/>
            </a:xfrm>
            <a:custGeom>
              <a:avLst/>
              <a:gdLst>
                <a:gd name="T0" fmla="*/ 812 w 1127"/>
                <a:gd name="T1" fmla="*/ 81 h 993"/>
                <a:gd name="T2" fmla="*/ 747 w 1127"/>
                <a:gd name="T3" fmla="*/ 111 h 993"/>
                <a:gd name="T4" fmla="*/ 1092 w 1127"/>
                <a:gd name="T5" fmla="*/ 500 h 993"/>
                <a:gd name="T6" fmla="*/ 1094 w 1127"/>
                <a:gd name="T7" fmla="*/ 442 h 993"/>
                <a:gd name="T8" fmla="*/ 1115 w 1127"/>
                <a:gd name="T9" fmla="*/ 377 h 993"/>
                <a:gd name="T10" fmla="*/ 1061 w 1127"/>
                <a:gd name="T11" fmla="*/ 339 h 993"/>
                <a:gd name="T12" fmla="*/ 1080 w 1127"/>
                <a:gd name="T13" fmla="*/ 203 h 993"/>
                <a:gd name="T14" fmla="*/ 1049 w 1127"/>
                <a:gd name="T15" fmla="*/ 154 h 993"/>
                <a:gd name="T16" fmla="*/ 1002 w 1127"/>
                <a:gd name="T17" fmla="*/ 113 h 993"/>
                <a:gd name="T18" fmla="*/ 929 w 1127"/>
                <a:gd name="T19" fmla="*/ 63 h 993"/>
                <a:gd name="T20" fmla="*/ 858 w 1127"/>
                <a:gd name="T21" fmla="*/ 27 h 993"/>
                <a:gd name="T22" fmla="*/ 850 w 1127"/>
                <a:gd name="T23" fmla="*/ 92 h 993"/>
                <a:gd name="T24" fmla="*/ 814 w 1127"/>
                <a:gd name="T25" fmla="*/ 122 h 993"/>
                <a:gd name="T26" fmla="*/ 782 w 1127"/>
                <a:gd name="T27" fmla="*/ 139 h 993"/>
                <a:gd name="T28" fmla="*/ 746 w 1127"/>
                <a:gd name="T29" fmla="*/ 192 h 993"/>
                <a:gd name="T30" fmla="*/ 631 w 1127"/>
                <a:gd name="T31" fmla="*/ 224 h 993"/>
                <a:gd name="T32" fmla="*/ 525 w 1127"/>
                <a:gd name="T33" fmla="*/ 234 h 993"/>
                <a:gd name="T34" fmla="*/ 359 w 1127"/>
                <a:gd name="T35" fmla="*/ 302 h 993"/>
                <a:gd name="T36" fmla="*/ 307 w 1127"/>
                <a:gd name="T37" fmla="*/ 349 h 993"/>
                <a:gd name="T38" fmla="*/ 308 w 1127"/>
                <a:gd name="T39" fmla="*/ 364 h 993"/>
                <a:gd name="T40" fmla="*/ 286 w 1127"/>
                <a:gd name="T41" fmla="*/ 301 h 993"/>
                <a:gd name="T42" fmla="*/ 186 w 1127"/>
                <a:gd name="T43" fmla="*/ 362 h 993"/>
                <a:gd name="T44" fmla="*/ 95 w 1127"/>
                <a:gd name="T45" fmla="*/ 401 h 993"/>
                <a:gd name="T46" fmla="*/ 0 w 1127"/>
                <a:gd name="T47" fmla="*/ 466 h 993"/>
                <a:gd name="T48" fmla="*/ 42 w 1127"/>
                <a:gd name="T49" fmla="*/ 534 h 993"/>
                <a:gd name="T50" fmla="*/ 48 w 1127"/>
                <a:gd name="T51" fmla="*/ 617 h 993"/>
                <a:gd name="T52" fmla="*/ 76 w 1127"/>
                <a:gd name="T53" fmla="*/ 707 h 993"/>
                <a:gd name="T54" fmla="*/ 102 w 1127"/>
                <a:gd name="T55" fmla="*/ 784 h 993"/>
                <a:gd name="T56" fmla="*/ 128 w 1127"/>
                <a:gd name="T57" fmla="*/ 779 h 993"/>
                <a:gd name="T58" fmla="*/ 144 w 1127"/>
                <a:gd name="T59" fmla="*/ 750 h 993"/>
                <a:gd name="T60" fmla="*/ 197 w 1127"/>
                <a:gd name="T61" fmla="*/ 744 h 993"/>
                <a:gd name="T62" fmla="*/ 245 w 1127"/>
                <a:gd name="T63" fmla="*/ 710 h 993"/>
                <a:gd name="T64" fmla="*/ 275 w 1127"/>
                <a:gd name="T65" fmla="*/ 725 h 993"/>
                <a:gd name="T66" fmla="*/ 266 w 1127"/>
                <a:gd name="T67" fmla="*/ 743 h 993"/>
                <a:gd name="T68" fmla="*/ 267 w 1127"/>
                <a:gd name="T69" fmla="*/ 759 h 993"/>
                <a:gd name="T70" fmla="*/ 304 w 1127"/>
                <a:gd name="T71" fmla="*/ 790 h 993"/>
                <a:gd name="T72" fmla="*/ 271 w 1127"/>
                <a:gd name="T73" fmla="*/ 831 h 993"/>
                <a:gd name="T74" fmla="*/ 291 w 1127"/>
                <a:gd name="T75" fmla="*/ 846 h 993"/>
                <a:gd name="T76" fmla="*/ 304 w 1127"/>
                <a:gd name="T77" fmla="*/ 858 h 993"/>
                <a:gd name="T78" fmla="*/ 321 w 1127"/>
                <a:gd name="T79" fmla="*/ 857 h 993"/>
                <a:gd name="T80" fmla="*/ 358 w 1127"/>
                <a:gd name="T81" fmla="*/ 881 h 993"/>
                <a:gd name="T82" fmla="*/ 341 w 1127"/>
                <a:gd name="T83" fmla="*/ 909 h 993"/>
                <a:gd name="T84" fmla="*/ 334 w 1127"/>
                <a:gd name="T85" fmla="*/ 922 h 993"/>
                <a:gd name="T86" fmla="*/ 328 w 1127"/>
                <a:gd name="T87" fmla="*/ 935 h 993"/>
                <a:gd name="T88" fmla="*/ 371 w 1127"/>
                <a:gd name="T89" fmla="*/ 973 h 993"/>
                <a:gd name="T90" fmla="*/ 453 w 1127"/>
                <a:gd name="T91" fmla="*/ 991 h 993"/>
                <a:gd name="T92" fmla="*/ 451 w 1127"/>
                <a:gd name="T93" fmla="*/ 980 h 993"/>
                <a:gd name="T94" fmla="*/ 458 w 1127"/>
                <a:gd name="T95" fmla="*/ 953 h 993"/>
                <a:gd name="T96" fmla="*/ 528 w 1127"/>
                <a:gd name="T97" fmla="*/ 860 h 993"/>
                <a:gd name="T98" fmla="*/ 508 w 1127"/>
                <a:gd name="T99" fmla="*/ 814 h 993"/>
                <a:gd name="T100" fmla="*/ 553 w 1127"/>
                <a:gd name="T101" fmla="*/ 772 h 993"/>
                <a:gd name="T102" fmla="*/ 627 w 1127"/>
                <a:gd name="T103" fmla="*/ 749 h 993"/>
                <a:gd name="T104" fmla="*/ 750 w 1127"/>
                <a:gd name="T105" fmla="*/ 781 h 993"/>
                <a:gd name="T106" fmla="*/ 801 w 1127"/>
                <a:gd name="T107" fmla="*/ 714 h 993"/>
                <a:gd name="T108" fmla="*/ 843 w 1127"/>
                <a:gd name="T109" fmla="*/ 675 h 993"/>
                <a:gd name="T110" fmla="*/ 929 w 1127"/>
                <a:gd name="T111" fmla="*/ 691 h 993"/>
                <a:gd name="T112" fmla="*/ 969 w 1127"/>
                <a:gd name="T113" fmla="*/ 709 h 993"/>
                <a:gd name="T114" fmla="*/ 1072 w 1127"/>
                <a:gd name="T115" fmla="*/ 600 h 993"/>
                <a:gd name="T116" fmla="*/ 1123 w 1127"/>
                <a:gd name="T117" fmla="*/ 59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7" h="993">
                  <a:moveTo>
                    <a:pt x="757" y="122"/>
                  </a:moveTo>
                  <a:lnTo>
                    <a:pt x="771" y="132"/>
                  </a:lnTo>
                  <a:lnTo>
                    <a:pt x="777" y="127"/>
                  </a:lnTo>
                  <a:lnTo>
                    <a:pt x="784" y="119"/>
                  </a:lnTo>
                  <a:lnTo>
                    <a:pt x="800" y="127"/>
                  </a:lnTo>
                  <a:lnTo>
                    <a:pt x="809" y="109"/>
                  </a:lnTo>
                  <a:lnTo>
                    <a:pt x="812" y="81"/>
                  </a:lnTo>
                  <a:lnTo>
                    <a:pt x="812" y="59"/>
                  </a:lnTo>
                  <a:lnTo>
                    <a:pt x="809" y="51"/>
                  </a:lnTo>
                  <a:lnTo>
                    <a:pt x="808" y="46"/>
                  </a:lnTo>
                  <a:lnTo>
                    <a:pt x="808" y="40"/>
                  </a:lnTo>
                  <a:lnTo>
                    <a:pt x="755" y="84"/>
                  </a:lnTo>
                  <a:lnTo>
                    <a:pt x="745" y="98"/>
                  </a:lnTo>
                  <a:lnTo>
                    <a:pt x="747" y="111"/>
                  </a:lnTo>
                  <a:lnTo>
                    <a:pt x="757" y="122"/>
                  </a:lnTo>
                  <a:close/>
                  <a:moveTo>
                    <a:pt x="1127" y="568"/>
                  </a:moveTo>
                  <a:lnTo>
                    <a:pt x="1122" y="557"/>
                  </a:lnTo>
                  <a:lnTo>
                    <a:pt x="1103" y="535"/>
                  </a:lnTo>
                  <a:lnTo>
                    <a:pt x="1100" y="529"/>
                  </a:lnTo>
                  <a:lnTo>
                    <a:pt x="1097" y="521"/>
                  </a:lnTo>
                  <a:lnTo>
                    <a:pt x="1092" y="500"/>
                  </a:lnTo>
                  <a:lnTo>
                    <a:pt x="1089" y="494"/>
                  </a:lnTo>
                  <a:lnTo>
                    <a:pt x="1069" y="458"/>
                  </a:lnTo>
                  <a:lnTo>
                    <a:pt x="1068" y="452"/>
                  </a:lnTo>
                  <a:lnTo>
                    <a:pt x="1069" y="447"/>
                  </a:lnTo>
                  <a:lnTo>
                    <a:pt x="1075" y="444"/>
                  </a:lnTo>
                  <a:lnTo>
                    <a:pt x="1082" y="442"/>
                  </a:lnTo>
                  <a:lnTo>
                    <a:pt x="1094" y="442"/>
                  </a:lnTo>
                  <a:lnTo>
                    <a:pt x="1099" y="440"/>
                  </a:lnTo>
                  <a:lnTo>
                    <a:pt x="1103" y="438"/>
                  </a:lnTo>
                  <a:lnTo>
                    <a:pt x="1110" y="432"/>
                  </a:lnTo>
                  <a:lnTo>
                    <a:pt x="1113" y="424"/>
                  </a:lnTo>
                  <a:lnTo>
                    <a:pt x="1115" y="414"/>
                  </a:lnTo>
                  <a:lnTo>
                    <a:pt x="1114" y="402"/>
                  </a:lnTo>
                  <a:lnTo>
                    <a:pt x="1115" y="377"/>
                  </a:lnTo>
                  <a:lnTo>
                    <a:pt x="1112" y="375"/>
                  </a:lnTo>
                  <a:lnTo>
                    <a:pt x="1101" y="367"/>
                  </a:lnTo>
                  <a:lnTo>
                    <a:pt x="1088" y="354"/>
                  </a:lnTo>
                  <a:lnTo>
                    <a:pt x="1079" y="349"/>
                  </a:lnTo>
                  <a:lnTo>
                    <a:pt x="1071" y="349"/>
                  </a:lnTo>
                  <a:lnTo>
                    <a:pt x="1063" y="341"/>
                  </a:lnTo>
                  <a:lnTo>
                    <a:pt x="1061" y="339"/>
                  </a:lnTo>
                  <a:lnTo>
                    <a:pt x="1055" y="327"/>
                  </a:lnTo>
                  <a:lnTo>
                    <a:pt x="1054" y="315"/>
                  </a:lnTo>
                  <a:lnTo>
                    <a:pt x="1056" y="276"/>
                  </a:lnTo>
                  <a:lnTo>
                    <a:pt x="1060" y="263"/>
                  </a:lnTo>
                  <a:lnTo>
                    <a:pt x="1076" y="238"/>
                  </a:lnTo>
                  <a:lnTo>
                    <a:pt x="1081" y="223"/>
                  </a:lnTo>
                  <a:lnTo>
                    <a:pt x="1080" y="203"/>
                  </a:lnTo>
                  <a:lnTo>
                    <a:pt x="1079" y="191"/>
                  </a:lnTo>
                  <a:lnTo>
                    <a:pt x="1079" y="181"/>
                  </a:lnTo>
                  <a:lnTo>
                    <a:pt x="1080" y="177"/>
                  </a:lnTo>
                  <a:lnTo>
                    <a:pt x="1090" y="166"/>
                  </a:lnTo>
                  <a:lnTo>
                    <a:pt x="1092" y="166"/>
                  </a:lnTo>
                  <a:lnTo>
                    <a:pt x="1086" y="161"/>
                  </a:lnTo>
                  <a:lnTo>
                    <a:pt x="1049" y="154"/>
                  </a:lnTo>
                  <a:lnTo>
                    <a:pt x="1040" y="154"/>
                  </a:lnTo>
                  <a:lnTo>
                    <a:pt x="1030" y="159"/>
                  </a:lnTo>
                  <a:lnTo>
                    <a:pt x="1025" y="149"/>
                  </a:lnTo>
                  <a:lnTo>
                    <a:pt x="1011" y="134"/>
                  </a:lnTo>
                  <a:lnTo>
                    <a:pt x="1009" y="127"/>
                  </a:lnTo>
                  <a:lnTo>
                    <a:pt x="1008" y="115"/>
                  </a:lnTo>
                  <a:lnTo>
                    <a:pt x="1002" y="113"/>
                  </a:lnTo>
                  <a:lnTo>
                    <a:pt x="992" y="116"/>
                  </a:lnTo>
                  <a:lnTo>
                    <a:pt x="982" y="117"/>
                  </a:lnTo>
                  <a:lnTo>
                    <a:pt x="966" y="113"/>
                  </a:lnTo>
                  <a:lnTo>
                    <a:pt x="953" y="102"/>
                  </a:lnTo>
                  <a:lnTo>
                    <a:pt x="943" y="89"/>
                  </a:lnTo>
                  <a:lnTo>
                    <a:pt x="937" y="74"/>
                  </a:lnTo>
                  <a:lnTo>
                    <a:pt x="929" y="63"/>
                  </a:lnTo>
                  <a:lnTo>
                    <a:pt x="910" y="46"/>
                  </a:lnTo>
                  <a:lnTo>
                    <a:pt x="895" y="27"/>
                  </a:lnTo>
                  <a:lnTo>
                    <a:pt x="856" y="0"/>
                  </a:lnTo>
                  <a:lnTo>
                    <a:pt x="856" y="0"/>
                  </a:lnTo>
                  <a:lnTo>
                    <a:pt x="855" y="7"/>
                  </a:lnTo>
                  <a:lnTo>
                    <a:pt x="858" y="16"/>
                  </a:lnTo>
                  <a:lnTo>
                    <a:pt x="858" y="27"/>
                  </a:lnTo>
                  <a:lnTo>
                    <a:pt x="854" y="36"/>
                  </a:lnTo>
                  <a:lnTo>
                    <a:pt x="829" y="61"/>
                  </a:lnTo>
                  <a:lnTo>
                    <a:pt x="823" y="68"/>
                  </a:lnTo>
                  <a:lnTo>
                    <a:pt x="821" y="77"/>
                  </a:lnTo>
                  <a:lnTo>
                    <a:pt x="825" y="87"/>
                  </a:lnTo>
                  <a:lnTo>
                    <a:pt x="836" y="91"/>
                  </a:lnTo>
                  <a:lnTo>
                    <a:pt x="850" y="92"/>
                  </a:lnTo>
                  <a:lnTo>
                    <a:pt x="862" y="95"/>
                  </a:lnTo>
                  <a:lnTo>
                    <a:pt x="867" y="105"/>
                  </a:lnTo>
                  <a:lnTo>
                    <a:pt x="839" y="95"/>
                  </a:lnTo>
                  <a:lnTo>
                    <a:pt x="827" y="97"/>
                  </a:lnTo>
                  <a:lnTo>
                    <a:pt x="816" y="109"/>
                  </a:lnTo>
                  <a:lnTo>
                    <a:pt x="814" y="117"/>
                  </a:lnTo>
                  <a:lnTo>
                    <a:pt x="814" y="122"/>
                  </a:lnTo>
                  <a:lnTo>
                    <a:pt x="813" y="127"/>
                  </a:lnTo>
                  <a:lnTo>
                    <a:pt x="808" y="132"/>
                  </a:lnTo>
                  <a:lnTo>
                    <a:pt x="801" y="136"/>
                  </a:lnTo>
                  <a:lnTo>
                    <a:pt x="796" y="136"/>
                  </a:lnTo>
                  <a:lnTo>
                    <a:pt x="791" y="134"/>
                  </a:lnTo>
                  <a:lnTo>
                    <a:pt x="789" y="128"/>
                  </a:lnTo>
                  <a:lnTo>
                    <a:pt x="782" y="139"/>
                  </a:lnTo>
                  <a:lnTo>
                    <a:pt x="776" y="144"/>
                  </a:lnTo>
                  <a:lnTo>
                    <a:pt x="772" y="152"/>
                  </a:lnTo>
                  <a:lnTo>
                    <a:pt x="770" y="182"/>
                  </a:lnTo>
                  <a:lnTo>
                    <a:pt x="767" y="194"/>
                  </a:lnTo>
                  <a:lnTo>
                    <a:pt x="760" y="204"/>
                  </a:lnTo>
                  <a:lnTo>
                    <a:pt x="747" y="211"/>
                  </a:lnTo>
                  <a:lnTo>
                    <a:pt x="746" y="192"/>
                  </a:lnTo>
                  <a:lnTo>
                    <a:pt x="742" y="175"/>
                  </a:lnTo>
                  <a:lnTo>
                    <a:pt x="733" y="161"/>
                  </a:lnTo>
                  <a:lnTo>
                    <a:pt x="720" y="150"/>
                  </a:lnTo>
                  <a:lnTo>
                    <a:pt x="704" y="145"/>
                  </a:lnTo>
                  <a:lnTo>
                    <a:pt x="694" y="150"/>
                  </a:lnTo>
                  <a:lnTo>
                    <a:pt x="643" y="218"/>
                  </a:lnTo>
                  <a:lnTo>
                    <a:pt x="631" y="224"/>
                  </a:lnTo>
                  <a:lnTo>
                    <a:pt x="614" y="227"/>
                  </a:lnTo>
                  <a:lnTo>
                    <a:pt x="594" y="234"/>
                  </a:lnTo>
                  <a:lnTo>
                    <a:pt x="576" y="237"/>
                  </a:lnTo>
                  <a:lnTo>
                    <a:pt x="560" y="229"/>
                  </a:lnTo>
                  <a:lnTo>
                    <a:pt x="552" y="233"/>
                  </a:lnTo>
                  <a:lnTo>
                    <a:pt x="543" y="234"/>
                  </a:lnTo>
                  <a:lnTo>
                    <a:pt x="525" y="234"/>
                  </a:lnTo>
                  <a:lnTo>
                    <a:pt x="518" y="235"/>
                  </a:lnTo>
                  <a:lnTo>
                    <a:pt x="503" y="240"/>
                  </a:lnTo>
                  <a:lnTo>
                    <a:pt x="498" y="243"/>
                  </a:lnTo>
                  <a:lnTo>
                    <a:pt x="450" y="238"/>
                  </a:lnTo>
                  <a:lnTo>
                    <a:pt x="436" y="243"/>
                  </a:lnTo>
                  <a:lnTo>
                    <a:pt x="391" y="284"/>
                  </a:lnTo>
                  <a:lnTo>
                    <a:pt x="359" y="302"/>
                  </a:lnTo>
                  <a:lnTo>
                    <a:pt x="330" y="294"/>
                  </a:lnTo>
                  <a:lnTo>
                    <a:pt x="318" y="300"/>
                  </a:lnTo>
                  <a:lnTo>
                    <a:pt x="313" y="310"/>
                  </a:lnTo>
                  <a:lnTo>
                    <a:pt x="310" y="323"/>
                  </a:lnTo>
                  <a:lnTo>
                    <a:pt x="312" y="339"/>
                  </a:lnTo>
                  <a:lnTo>
                    <a:pt x="312" y="343"/>
                  </a:lnTo>
                  <a:lnTo>
                    <a:pt x="307" y="349"/>
                  </a:lnTo>
                  <a:lnTo>
                    <a:pt x="307" y="353"/>
                  </a:lnTo>
                  <a:lnTo>
                    <a:pt x="310" y="357"/>
                  </a:lnTo>
                  <a:lnTo>
                    <a:pt x="319" y="364"/>
                  </a:lnTo>
                  <a:lnTo>
                    <a:pt x="330" y="394"/>
                  </a:lnTo>
                  <a:lnTo>
                    <a:pt x="326" y="389"/>
                  </a:lnTo>
                  <a:lnTo>
                    <a:pt x="316" y="372"/>
                  </a:lnTo>
                  <a:lnTo>
                    <a:pt x="308" y="364"/>
                  </a:lnTo>
                  <a:lnTo>
                    <a:pt x="302" y="360"/>
                  </a:lnTo>
                  <a:lnTo>
                    <a:pt x="296" y="353"/>
                  </a:lnTo>
                  <a:lnTo>
                    <a:pt x="293" y="343"/>
                  </a:lnTo>
                  <a:lnTo>
                    <a:pt x="306" y="301"/>
                  </a:lnTo>
                  <a:lnTo>
                    <a:pt x="306" y="296"/>
                  </a:lnTo>
                  <a:lnTo>
                    <a:pt x="303" y="288"/>
                  </a:lnTo>
                  <a:lnTo>
                    <a:pt x="286" y="301"/>
                  </a:lnTo>
                  <a:lnTo>
                    <a:pt x="245" y="314"/>
                  </a:lnTo>
                  <a:lnTo>
                    <a:pt x="229" y="321"/>
                  </a:lnTo>
                  <a:lnTo>
                    <a:pt x="224" y="326"/>
                  </a:lnTo>
                  <a:lnTo>
                    <a:pt x="216" y="338"/>
                  </a:lnTo>
                  <a:lnTo>
                    <a:pt x="211" y="343"/>
                  </a:lnTo>
                  <a:lnTo>
                    <a:pt x="190" y="360"/>
                  </a:lnTo>
                  <a:lnTo>
                    <a:pt x="186" y="362"/>
                  </a:lnTo>
                  <a:lnTo>
                    <a:pt x="177" y="364"/>
                  </a:lnTo>
                  <a:lnTo>
                    <a:pt x="164" y="374"/>
                  </a:lnTo>
                  <a:lnTo>
                    <a:pt x="144" y="377"/>
                  </a:lnTo>
                  <a:lnTo>
                    <a:pt x="126" y="383"/>
                  </a:lnTo>
                  <a:lnTo>
                    <a:pt x="117" y="386"/>
                  </a:lnTo>
                  <a:lnTo>
                    <a:pt x="108" y="388"/>
                  </a:lnTo>
                  <a:lnTo>
                    <a:pt x="95" y="401"/>
                  </a:lnTo>
                  <a:lnTo>
                    <a:pt x="85" y="403"/>
                  </a:lnTo>
                  <a:lnTo>
                    <a:pt x="62" y="405"/>
                  </a:lnTo>
                  <a:lnTo>
                    <a:pt x="53" y="404"/>
                  </a:lnTo>
                  <a:lnTo>
                    <a:pt x="42" y="399"/>
                  </a:lnTo>
                  <a:lnTo>
                    <a:pt x="21" y="414"/>
                  </a:lnTo>
                  <a:lnTo>
                    <a:pt x="7" y="438"/>
                  </a:lnTo>
                  <a:lnTo>
                    <a:pt x="0" y="466"/>
                  </a:lnTo>
                  <a:lnTo>
                    <a:pt x="0" y="495"/>
                  </a:lnTo>
                  <a:lnTo>
                    <a:pt x="2" y="506"/>
                  </a:lnTo>
                  <a:lnTo>
                    <a:pt x="6" y="516"/>
                  </a:lnTo>
                  <a:lnTo>
                    <a:pt x="11" y="523"/>
                  </a:lnTo>
                  <a:lnTo>
                    <a:pt x="20" y="528"/>
                  </a:lnTo>
                  <a:lnTo>
                    <a:pt x="32" y="529"/>
                  </a:lnTo>
                  <a:lnTo>
                    <a:pt x="42" y="534"/>
                  </a:lnTo>
                  <a:lnTo>
                    <a:pt x="48" y="542"/>
                  </a:lnTo>
                  <a:lnTo>
                    <a:pt x="53" y="561"/>
                  </a:lnTo>
                  <a:lnTo>
                    <a:pt x="57" y="573"/>
                  </a:lnTo>
                  <a:lnTo>
                    <a:pt x="61" y="586"/>
                  </a:lnTo>
                  <a:lnTo>
                    <a:pt x="59" y="600"/>
                  </a:lnTo>
                  <a:lnTo>
                    <a:pt x="54" y="611"/>
                  </a:lnTo>
                  <a:lnTo>
                    <a:pt x="48" y="617"/>
                  </a:lnTo>
                  <a:lnTo>
                    <a:pt x="43" y="625"/>
                  </a:lnTo>
                  <a:lnTo>
                    <a:pt x="42" y="639"/>
                  </a:lnTo>
                  <a:lnTo>
                    <a:pt x="43" y="653"/>
                  </a:lnTo>
                  <a:lnTo>
                    <a:pt x="48" y="666"/>
                  </a:lnTo>
                  <a:lnTo>
                    <a:pt x="63" y="692"/>
                  </a:lnTo>
                  <a:lnTo>
                    <a:pt x="73" y="701"/>
                  </a:lnTo>
                  <a:lnTo>
                    <a:pt x="76" y="707"/>
                  </a:lnTo>
                  <a:lnTo>
                    <a:pt x="79" y="716"/>
                  </a:lnTo>
                  <a:lnTo>
                    <a:pt x="76" y="722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89" y="770"/>
                  </a:lnTo>
                  <a:lnTo>
                    <a:pt x="98" y="782"/>
                  </a:lnTo>
                  <a:lnTo>
                    <a:pt x="102" y="784"/>
                  </a:lnTo>
                  <a:lnTo>
                    <a:pt x="108" y="785"/>
                  </a:lnTo>
                  <a:lnTo>
                    <a:pt x="112" y="787"/>
                  </a:lnTo>
                  <a:lnTo>
                    <a:pt x="117" y="787"/>
                  </a:lnTo>
                  <a:lnTo>
                    <a:pt x="120" y="787"/>
                  </a:lnTo>
                  <a:lnTo>
                    <a:pt x="122" y="785"/>
                  </a:lnTo>
                  <a:lnTo>
                    <a:pt x="126" y="781"/>
                  </a:lnTo>
                  <a:lnTo>
                    <a:pt x="128" y="779"/>
                  </a:lnTo>
                  <a:lnTo>
                    <a:pt x="132" y="777"/>
                  </a:lnTo>
                  <a:lnTo>
                    <a:pt x="134" y="775"/>
                  </a:lnTo>
                  <a:lnTo>
                    <a:pt x="136" y="771"/>
                  </a:lnTo>
                  <a:lnTo>
                    <a:pt x="138" y="766"/>
                  </a:lnTo>
                  <a:lnTo>
                    <a:pt x="141" y="758"/>
                  </a:lnTo>
                  <a:lnTo>
                    <a:pt x="144" y="751"/>
                  </a:lnTo>
                  <a:lnTo>
                    <a:pt x="144" y="750"/>
                  </a:lnTo>
                  <a:lnTo>
                    <a:pt x="145" y="748"/>
                  </a:lnTo>
                  <a:lnTo>
                    <a:pt x="146" y="748"/>
                  </a:lnTo>
                  <a:lnTo>
                    <a:pt x="148" y="746"/>
                  </a:lnTo>
                  <a:lnTo>
                    <a:pt x="150" y="746"/>
                  </a:lnTo>
                  <a:lnTo>
                    <a:pt x="173" y="748"/>
                  </a:lnTo>
                  <a:lnTo>
                    <a:pt x="184" y="746"/>
                  </a:lnTo>
                  <a:lnTo>
                    <a:pt x="197" y="744"/>
                  </a:lnTo>
                  <a:lnTo>
                    <a:pt x="205" y="741"/>
                  </a:lnTo>
                  <a:lnTo>
                    <a:pt x="209" y="739"/>
                  </a:lnTo>
                  <a:lnTo>
                    <a:pt x="216" y="733"/>
                  </a:lnTo>
                  <a:lnTo>
                    <a:pt x="230" y="718"/>
                  </a:lnTo>
                  <a:lnTo>
                    <a:pt x="234" y="716"/>
                  </a:lnTo>
                  <a:lnTo>
                    <a:pt x="238" y="713"/>
                  </a:lnTo>
                  <a:lnTo>
                    <a:pt x="245" y="710"/>
                  </a:lnTo>
                  <a:lnTo>
                    <a:pt x="251" y="710"/>
                  </a:lnTo>
                  <a:lnTo>
                    <a:pt x="255" y="710"/>
                  </a:lnTo>
                  <a:lnTo>
                    <a:pt x="258" y="711"/>
                  </a:lnTo>
                  <a:lnTo>
                    <a:pt x="262" y="712"/>
                  </a:lnTo>
                  <a:lnTo>
                    <a:pt x="268" y="717"/>
                  </a:lnTo>
                  <a:lnTo>
                    <a:pt x="274" y="723"/>
                  </a:lnTo>
                  <a:lnTo>
                    <a:pt x="275" y="725"/>
                  </a:lnTo>
                  <a:lnTo>
                    <a:pt x="276" y="727"/>
                  </a:lnTo>
                  <a:lnTo>
                    <a:pt x="276" y="728"/>
                  </a:lnTo>
                  <a:lnTo>
                    <a:pt x="276" y="729"/>
                  </a:lnTo>
                  <a:lnTo>
                    <a:pt x="276" y="730"/>
                  </a:lnTo>
                  <a:lnTo>
                    <a:pt x="275" y="731"/>
                  </a:lnTo>
                  <a:lnTo>
                    <a:pt x="268" y="739"/>
                  </a:lnTo>
                  <a:lnTo>
                    <a:pt x="266" y="743"/>
                  </a:lnTo>
                  <a:lnTo>
                    <a:pt x="264" y="745"/>
                  </a:lnTo>
                  <a:lnTo>
                    <a:pt x="264" y="748"/>
                  </a:lnTo>
                  <a:lnTo>
                    <a:pt x="263" y="750"/>
                  </a:lnTo>
                  <a:lnTo>
                    <a:pt x="263" y="752"/>
                  </a:lnTo>
                  <a:lnTo>
                    <a:pt x="264" y="755"/>
                  </a:lnTo>
                  <a:lnTo>
                    <a:pt x="265" y="757"/>
                  </a:lnTo>
                  <a:lnTo>
                    <a:pt x="267" y="759"/>
                  </a:lnTo>
                  <a:lnTo>
                    <a:pt x="269" y="762"/>
                  </a:lnTo>
                  <a:lnTo>
                    <a:pt x="301" y="781"/>
                  </a:lnTo>
                  <a:lnTo>
                    <a:pt x="303" y="783"/>
                  </a:lnTo>
                  <a:lnTo>
                    <a:pt x="305" y="785"/>
                  </a:lnTo>
                  <a:lnTo>
                    <a:pt x="305" y="787"/>
                  </a:lnTo>
                  <a:lnTo>
                    <a:pt x="305" y="789"/>
                  </a:lnTo>
                  <a:lnTo>
                    <a:pt x="304" y="790"/>
                  </a:lnTo>
                  <a:lnTo>
                    <a:pt x="303" y="792"/>
                  </a:lnTo>
                  <a:lnTo>
                    <a:pt x="299" y="796"/>
                  </a:lnTo>
                  <a:lnTo>
                    <a:pt x="294" y="800"/>
                  </a:lnTo>
                  <a:lnTo>
                    <a:pt x="291" y="803"/>
                  </a:lnTo>
                  <a:lnTo>
                    <a:pt x="287" y="808"/>
                  </a:lnTo>
                  <a:lnTo>
                    <a:pt x="284" y="813"/>
                  </a:lnTo>
                  <a:lnTo>
                    <a:pt x="271" y="831"/>
                  </a:lnTo>
                  <a:lnTo>
                    <a:pt x="270" y="832"/>
                  </a:lnTo>
                  <a:lnTo>
                    <a:pt x="271" y="835"/>
                  </a:lnTo>
                  <a:lnTo>
                    <a:pt x="274" y="837"/>
                  </a:lnTo>
                  <a:lnTo>
                    <a:pt x="281" y="844"/>
                  </a:lnTo>
                  <a:lnTo>
                    <a:pt x="286" y="846"/>
                  </a:lnTo>
                  <a:lnTo>
                    <a:pt x="289" y="847"/>
                  </a:lnTo>
                  <a:lnTo>
                    <a:pt x="291" y="846"/>
                  </a:lnTo>
                  <a:lnTo>
                    <a:pt x="292" y="845"/>
                  </a:lnTo>
                  <a:lnTo>
                    <a:pt x="294" y="844"/>
                  </a:lnTo>
                  <a:lnTo>
                    <a:pt x="296" y="843"/>
                  </a:lnTo>
                  <a:lnTo>
                    <a:pt x="300" y="843"/>
                  </a:lnTo>
                  <a:lnTo>
                    <a:pt x="302" y="844"/>
                  </a:lnTo>
                  <a:lnTo>
                    <a:pt x="303" y="846"/>
                  </a:lnTo>
                  <a:lnTo>
                    <a:pt x="304" y="858"/>
                  </a:lnTo>
                  <a:lnTo>
                    <a:pt x="305" y="861"/>
                  </a:lnTo>
                  <a:lnTo>
                    <a:pt x="306" y="862"/>
                  </a:lnTo>
                  <a:lnTo>
                    <a:pt x="308" y="863"/>
                  </a:lnTo>
                  <a:lnTo>
                    <a:pt x="310" y="863"/>
                  </a:lnTo>
                  <a:lnTo>
                    <a:pt x="312" y="862"/>
                  </a:lnTo>
                  <a:lnTo>
                    <a:pt x="317" y="858"/>
                  </a:lnTo>
                  <a:lnTo>
                    <a:pt x="321" y="857"/>
                  </a:lnTo>
                  <a:lnTo>
                    <a:pt x="325" y="857"/>
                  </a:lnTo>
                  <a:lnTo>
                    <a:pt x="327" y="860"/>
                  </a:lnTo>
                  <a:lnTo>
                    <a:pt x="331" y="865"/>
                  </a:lnTo>
                  <a:lnTo>
                    <a:pt x="344" y="876"/>
                  </a:lnTo>
                  <a:lnTo>
                    <a:pt x="349" y="880"/>
                  </a:lnTo>
                  <a:lnTo>
                    <a:pt x="354" y="881"/>
                  </a:lnTo>
                  <a:lnTo>
                    <a:pt x="358" y="881"/>
                  </a:lnTo>
                  <a:lnTo>
                    <a:pt x="360" y="882"/>
                  </a:lnTo>
                  <a:lnTo>
                    <a:pt x="361" y="882"/>
                  </a:lnTo>
                  <a:lnTo>
                    <a:pt x="361" y="884"/>
                  </a:lnTo>
                  <a:lnTo>
                    <a:pt x="361" y="885"/>
                  </a:lnTo>
                  <a:lnTo>
                    <a:pt x="344" y="904"/>
                  </a:lnTo>
                  <a:lnTo>
                    <a:pt x="342" y="907"/>
                  </a:lnTo>
                  <a:lnTo>
                    <a:pt x="341" y="909"/>
                  </a:lnTo>
                  <a:lnTo>
                    <a:pt x="341" y="913"/>
                  </a:lnTo>
                  <a:lnTo>
                    <a:pt x="340" y="917"/>
                  </a:lnTo>
                  <a:lnTo>
                    <a:pt x="340" y="919"/>
                  </a:lnTo>
                  <a:lnTo>
                    <a:pt x="339" y="920"/>
                  </a:lnTo>
                  <a:lnTo>
                    <a:pt x="338" y="920"/>
                  </a:lnTo>
                  <a:lnTo>
                    <a:pt x="336" y="921"/>
                  </a:lnTo>
                  <a:lnTo>
                    <a:pt x="334" y="922"/>
                  </a:lnTo>
                  <a:lnTo>
                    <a:pt x="332" y="922"/>
                  </a:lnTo>
                  <a:lnTo>
                    <a:pt x="331" y="924"/>
                  </a:lnTo>
                  <a:lnTo>
                    <a:pt x="330" y="925"/>
                  </a:lnTo>
                  <a:lnTo>
                    <a:pt x="329" y="927"/>
                  </a:lnTo>
                  <a:lnTo>
                    <a:pt x="328" y="930"/>
                  </a:lnTo>
                  <a:lnTo>
                    <a:pt x="328" y="932"/>
                  </a:lnTo>
                  <a:lnTo>
                    <a:pt x="328" y="935"/>
                  </a:lnTo>
                  <a:lnTo>
                    <a:pt x="330" y="940"/>
                  </a:lnTo>
                  <a:lnTo>
                    <a:pt x="330" y="943"/>
                  </a:lnTo>
                  <a:lnTo>
                    <a:pt x="330" y="948"/>
                  </a:lnTo>
                  <a:lnTo>
                    <a:pt x="332" y="952"/>
                  </a:lnTo>
                  <a:lnTo>
                    <a:pt x="343" y="970"/>
                  </a:lnTo>
                  <a:lnTo>
                    <a:pt x="357" y="969"/>
                  </a:lnTo>
                  <a:lnTo>
                    <a:pt x="371" y="973"/>
                  </a:lnTo>
                  <a:lnTo>
                    <a:pt x="411" y="977"/>
                  </a:lnTo>
                  <a:lnTo>
                    <a:pt x="431" y="983"/>
                  </a:lnTo>
                  <a:lnTo>
                    <a:pt x="438" y="986"/>
                  </a:lnTo>
                  <a:lnTo>
                    <a:pt x="444" y="989"/>
                  </a:lnTo>
                  <a:lnTo>
                    <a:pt x="450" y="993"/>
                  </a:lnTo>
                  <a:lnTo>
                    <a:pt x="451" y="993"/>
                  </a:lnTo>
                  <a:lnTo>
                    <a:pt x="453" y="991"/>
                  </a:lnTo>
                  <a:lnTo>
                    <a:pt x="456" y="989"/>
                  </a:lnTo>
                  <a:lnTo>
                    <a:pt x="459" y="987"/>
                  </a:lnTo>
                  <a:lnTo>
                    <a:pt x="460" y="983"/>
                  </a:lnTo>
                  <a:lnTo>
                    <a:pt x="459" y="980"/>
                  </a:lnTo>
                  <a:lnTo>
                    <a:pt x="456" y="979"/>
                  </a:lnTo>
                  <a:lnTo>
                    <a:pt x="453" y="979"/>
                  </a:lnTo>
                  <a:lnTo>
                    <a:pt x="451" y="980"/>
                  </a:lnTo>
                  <a:lnTo>
                    <a:pt x="450" y="979"/>
                  </a:lnTo>
                  <a:lnTo>
                    <a:pt x="448" y="978"/>
                  </a:lnTo>
                  <a:lnTo>
                    <a:pt x="440" y="969"/>
                  </a:lnTo>
                  <a:lnTo>
                    <a:pt x="439" y="964"/>
                  </a:lnTo>
                  <a:lnTo>
                    <a:pt x="440" y="961"/>
                  </a:lnTo>
                  <a:lnTo>
                    <a:pt x="452" y="957"/>
                  </a:lnTo>
                  <a:lnTo>
                    <a:pt x="458" y="953"/>
                  </a:lnTo>
                  <a:lnTo>
                    <a:pt x="476" y="949"/>
                  </a:lnTo>
                  <a:lnTo>
                    <a:pt x="485" y="946"/>
                  </a:lnTo>
                  <a:lnTo>
                    <a:pt x="495" y="936"/>
                  </a:lnTo>
                  <a:lnTo>
                    <a:pt x="498" y="930"/>
                  </a:lnTo>
                  <a:lnTo>
                    <a:pt x="511" y="896"/>
                  </a:lnTo>
                  <a:lnTo>
                    <a:pt x="520" y="881"/>
                  </a:lnTo>
                  <a:lnTo>
                    <a:pt x="528" y="860"/>
                  </a:lnTo>
                  <a:lnTo>
                    <a:pt x="537" y="848"/>
                  </a:lnTo>
                  <a:lnTo>
                    <a:pt x="538" y="844"/>
                  </a:lnTo>
                  <a:lnTo>
                    <a:pt x="538" y="841"/>
                  </a:lnTo>
                  <a:lnTo>
                    <a:pt x="536" y="836"/>
                  </a:lnTo>
                  <a:lnTo>
                    <a:pt x="531" y="831"/>
                  </a:lnTo>
                  <a:lnTo>
                    <a:pt x="525" y="826"/>
                  </a:lnTo>
                  <a:lnTo>
                    <a:pt x="508" y="814"/>
                  </a:lnTo>
                  <a:lnTo>
                    <a:pt x="507" y="810"/>
                  </a:lnTo>
                  <a:lnTo>
                    <a:pt x="505" y="805"/>
                  </a:lnTo>
                  <a:lnTo>
                    <a:pt x="510" y="801"/>
                  </a:lnTo>
                  <a:lnTo>
                    <a:pt x="516" y="796"/>
                  </a:lnTo>
                  <a:lnTo>
                    <a:pt x="529" y="790"/>
                  </a:lnTo>
                  <a:lnTo>
                    <a:pt x="539" y="784"/>
                  </a:lnTo>
                  <a:lnTo>
                    <a:pt x="553" y="772"/>
                  </a:lnTo>
                  <a:lnTo>
                    <a:pt x="559" y="769"/>
                  </a:lnTo>
                  <a:lnTo>
                    <a:pt x="567" y="765"/>
                  </a:lnTo>
                  <a:lnTo>
                    <a:pt x="574" y="762"/>
                  </a:lnTo>
                  <a:lnTo>
                    <a:pt x="593" y="749"/>
                  </a:lnTo>
                  <a:lnTo>
                    <a:pt x="601" y="748"/>
                  </a:lnTo>
                  <a:lnTo>
                    <a:pt x="611" y="746"/>
                  </a:lnTo>
                  <a:lnTo>
                    <a:pt x="627" y="749"/>
                  </a:lnTo>
                  <a:lnTo>
                    <a:pt x="644" y="748"/>
                  </a:lnTo>
                  <a:lnTo>
                    <a:pt x="715" y="763"/>
                  </a:lnTo>
                  <a:lnTo>
                    <a:pt x="720" y="766"/>
                  </a:lnTo>
                  <a:lnTo>
                    <a:pt x="724" y="768"/>
                  </a:lnTo>
                  <a:lnTo>
                    <a:pt x="734" y="781"/>
                  </a:lnTo>
                  <a:lnTo>
                    <a:pt x="746" y="782"/>
                  </a:lnTo>
                  <a:lnTo>
                    <a:pt x="750" y="781"/>
                  </a:lnTo>
                  <a:lnTo>
                    <a:pt x="754" y="779"/>
                  </a:lnTo>
                  <a:lnTo>
                    <a:pt x="757" y="775"/>
                  </a:lnTo>
                  <a:lnTo>
                    <a:pt x="778" y="740"/>
                  </a:lnTo>
                  <a:lnTo>
                    <a:pt x="793" y="725"/>
                  </a:lnTo>
                  <a:lnTo>
                    <a:pt x="800" y="720"/>
                  </a:lnTo>
                  <a:lnTo>
                    <a:pt x="801" y="718"/>
                  </a:lnTo>
                  <a:lnTo>
                    <a:pt x="801" y="714"/>
                  </a:lnTo>
                  <a:lnTo>
                    <a:pt x="801" y="711"/>
                  </a:lnTo>
                  <a:lnTo>
                    <a:pt x="803" y="706"/>
                  </a:lnTo>
                  <a:lnTo>
                    <a:pt x="807" y="702"/>
                  </a:lnTo>
                  <a:lnTo>
                    <a:pt x="815" y="692"/>
                  </a:lnTo>
                  <a:lnTo>
                    <a:pt x="823" y="686"/>
                  </a:lnTo>
                  <a:lnTo>
                    <a:pt x="836" y="677"/>
                  </a:lnTo>
                  <a:lnTo>
                    <a:pt x="843" y="675"/>
                  </a:lnTo>
                  <a:lnTo>
                    <a:pt x="851" y="675"/>
                  </a:lnTo>
                  <a:lnTo>
                    <a:pt x="872" y="681"/>
                  </a:lnTo>
                  <a:lnTo>
                    <a:pt x="894" y="684"/>
                  </a:lnTo>
                  <a:lnTo>
                    <a:pt x="903" y="687"/>
                  </a:lnTo>
                  <a:lnTo>
                    <a:pt x="916" y="690"/>
                  </a:lnTo>
                  <a:lnTo>
                    <a:pt x="924" y="690"/>
                  </a:lnTo>
                  <a:lnTo>
                    <a:pt x="929" y="691"/>
                  </a:lnTo>
                  <a:lnTo>
                    <a:pt x="936" y="693"/>
                  </a:lnTo>
                  <a:lnTo>
                    <a:pt x="940" y="697"/>
                  </a:lnTo>
                  <a:lnTo>
                    <a:pt x="950" y="706"/>
                  </a:lnTo>
                  <a:lnTo>
                    <a:pt x="955" y="710"/>
                  </a:lnTo>
                  <a:lnTo>
                    <a:pt x="959" y="712"/>
                  </a:lnTo>
                  <a:lnTo>
                    <a:pt x="965" y="711"/>
                  </a:lnTo>
                  <a:lnTo>
                    <a:pt x="969" y="709"/>
                  </a:lnTo>
                  <a:lnTo>
                    <a:pt x="980" y="700"/>
                  </a:lnTo>
                  <a:lnTo>
                    <a:pt x="991" y="688"/>
                  </a:lnTo>
                  <a:lnTo>
                    <a:pt x="1014" y="659"/>
                  </a:lnTo>
                  <a:lnTo>
                    <a:pt x="1035" y="635"/>
                  </a:lnTo>
                  <a:lnTo>
                    <a:pt x="1045" y="621"/>
                  </a:lnTo>
                  <a:lnTo>
                    <a:pt x="1050" y="615"/>
                  </a:lnTo>
                  <a:lnTo>
                    <a:pt x="1072" y="600"/>
                  </a:lnTo>
                  <a:lnTo>
                    <a:pt x="1079" y="598"/>
                  </a:lnTo>
                  <a:lnTo>
                    <a:pt x="1084" y="597"/>
                  </a:lnTo>
                  <a:lnTo>
                    <a:pt x="1095" y="599"/>
                  </a:lnTo>
                  <a:lnTo>
                    <a:pt x="1101" y="599"/>
                  </a:lnTo>
                  <a:lnTo>
                    <a:pt x="1111" y="598"/>
                  </a:lnTo>
                  <a:lnTo>
                    <a:pt x="1118" y="595"/>
                  </a:lnTo>
                  <a:lnTo>
                    <a:pt x="1123" y="591"/>
                  </a:lnTo>
                  <a:lnTo>
                    <a:pt x="1126" y="586"/>
                  </a:lnTo>
                  <a:lnTo>
                    <a:pt x="1127" y="577"/>
                  </a:lnTo>
                  <a:lnTo>
                    <a:pt x="1127" y="56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10EE79EF-2FAD-E451-C729-DECB32AC9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303" y="4661612"/>
              <a:ext cx="964909" cy="823703"/>
            </a:xfrm>
            <a:custGeom>
              <a:avLst/>
              <a:gdLst>
                <a:gd name="T0" fmla="*/ 499 w 656"/>
                <a:gd name="T1" fmla="*/ 78 h 560"/>
                <a:gd name="T2" fmla="*/ 503 w 656"/>
                <a:gd name="T3" fmla="*/ 107 h 560"/>
                <a:gd name="T4" fmla="*/ 481 w 656"/>
                <a:gd name="T5" fmla="*/ 158 h 560"/>
                <a:gd name="T6" fmla="*/ 458 w 656"/>
                <a:gd name="T7" fmla="*/ 176 h 560"/>
                <a:gd name="T8" fmla="*/ 458 w 656"/>
                <a:gd name="T9" fmla="*/ 188 h 560"/>
                <a:gd name="T10" fmla="*/ 527 w 656"/>
                <a:gd name="T11" fmla="*/ 182 h 560"/>
                <a:gd name="T12" fmla="*/ 572 w 656"/>
                <a:gd name="T13" fmla="*/ 182 h 560"/>
                <a:gd name="T14" fmla="*/ 592 w 656"/>
                <a:gd name="T15" fmla="*/ 237 h 560"/>
                <a:gd name="T16" fmla="*/ 602 w 656"/>
                <a:gd name="T17" fmla="*/ 258 h 560"/>
                <a:gd name="T18" fmla="*/ 615 w 656"/>
                <a:gd name="T19" fmla="*/ 263 h 560"/>
                <a:gd name="T20" fmla="*/ 617 w 656"/>
                <a:gd name="T21" fmla="*/ 275 h 560"/>
                <a:gd name="T22" fmla="*/ 588 w 656"/>
                <a:gd name="T23" fmla="*/ 313 h 560"/>
                <a:gd name="T24" fmla="*/ 585 w 656"/>
                <a:gd name="T25" fmla="*/ 346 h 560"/>
                <a:gd name="T26" fmla="*/ 576 w 656"/>
                <a:gd name="T27" fmla="*/ 391 h 560"/>
                <a:gd name="T28" fmla="*/ 588 w 656"/>
                <a:gd name="T29" fmla="*/ 390 h 560"/>
                <a:gd name="T30" fmla="*/ 608 w 656"/>
                <a:gd name="T31" fmla="*/ 367 h 560"/>
                <a:gd name="T32" fmla="*/ 627 w 656"/>
                <a:gd name="T33" fmla="*/ 371 h 560"/>
                <a:gd name="T34" fmla="*/ 646 w 656"/>
                <a:gd name="T35" fmla="*/ 386 h 560"/>
                <a:gd name="T36" fmla="*/ 656 w 656"/>
                <a:gd name="T37" fmla="*/ 409 h 560"/>
                <a:gd name="T38" fmla="*/ 648 w 656"/>
                <a:gd name="T39" fmla="*/ 436 h 560"/>
                <a:gd name="T40" fmla="*/ 631 w 656"/>
                <a:gd name="T41" fmla="*/ 454 h 560"/>
                <a:gd name="T42" fmla="*/ 635 w 656"/>
                <a:gd name="T43" fmla="*/ 483 h 560"/>
                <a:gd name="T44" fmla="*/ 622 w 656"/>
                <a:gd name="T45" fmla="*/ 502 h 560"/>
                <a:gd name="T46" fmla="*/ 590 w 656"/>
                <a:gd name="T47" fmla="*/ 509 h 560"/>
                <a:gd name="T48" fmla="*/ 560 w 656"/>
                <a:gd name="T49" fmla="*/ 501 h 560"/>
                <a:gd name="T50" fmla="*/ 518 w 656"/>
                <a:gd name="T51" fmla="*/ 500 h 560"/>
                <a:gd name="T52" fmla="*/ 499 w 656"/>
                <a:gd name="T53" fmla="*/ 476 h 560"/>
                <a:gd name="T54" fmla="*/ 482 w 656"/>
                <a:gd name="T55" fmla="*/ 479 h 560"/>
                <a:gd name="T56" fmla="*/ 446 w 656"/>
                <a:gd name="T57" fmla="*/ 501 h 560"/>
                <a:gd name="T58" fmla="*/ 404 w 656"/>
                <a:gd name="T59" fmla="*/ 529 h 560"/>
                <a:gd name="T60" fmla="*/ 336 w 656"/>
                <a:gd name="T61" fmla="*/ 525 h 560"/>
                <a:gd name="T62" fmla="*/ 274 w 656"/>
                <a:gd name="T63" fmla="*/ 527 h 560"/>
                <a:gd name="T64" fmla="*/ 180 w 656"/>
                <a:gd name="T65" fmla="*/ 557 h 560"/>
                <a:gd name="T66" fmla="*/ 121 w 656"/>
                <a:gd name="T67" fmla="*/ 560 h 560"/>
                <a:gd name="T68" fmla="*/ 104 w 656"/>
                <a:gd name="T69" fmla="*/ 545 h 560"/>
                <a:gd name="T70" fmla="*/ 102 w 656"/>
                <a:gd name="T71" fmla="*/ 521 h 560"/>
                <a:gd name="T72" fmla="*/ 79 w 656"/>
                <a:gd name="T73" fmla="*/ 473 h 560"/>
                <a:gd name="T74" fmla="*/ 86 w 656"/>
                <a:gd name="T75" fmla="*/ 457 h 560"/>
                <a:gd name="T76" fmla="*/ 80 w 656"/>
                <a:gd name="T77" fmla="*/ 434 h 560"/>
                <a:gd name="T78" fmla="*/ 86 w 656"/>
                <a:gd name="T79" fmla="*/ 408 h 560"/>
                <a:gd name="T80" fmla="*/ 83 w 656"/>
                <a:gd name="T81" fmla="*/ 380 h 560"/>
                <a:gd name="T82" fmla="*/ 75 w 656"/>
                <a:gd name="T83" fmla="*/ 364 h 560"/>
                <a:gd name="T84" fmla="*/ 64 w 656"/>
                <a:gd name="T85" fmla="*/ 352 h 560"/>
                <a:gd name="T86" fmla="*/ 71 w 656"/>
                <a:gd name="T87" fmla="*/ 314 h 560"/>
                <a:gd name="T88" fmla="*/ 53 w 656"/>
                <a:gd name="T89" fmla="*/ 299 h 560"/>
                <a:gd name="T90" fmla="*/ 52 w 656"/>
                <a:gd name="T91" fmla="*/ 268 h 560"/>
                <a:gd name="T92" fmla="*/ 19 w 656"/>
                <a:gd name="T93" fmla="*/ 242 h 560"/>
                <a:gd name="T94" fmla="*/ 4 w 656"/>
                <a:gd name="T95" fmla="*/ 234 h 560"/>
                <a:gd name="T96" fmla="*/ 2 w 656"/>
                <a:gd name="T97" fmla="*/ 217 h 560"/>
                <a:gd name="T98" fmla="*/ 20 w 656"/>
                <a:gd name="T99" fmla="*/ 194 h 560"/>
                <a:gd name="T100" fmla="*/ 17 w 656"/>
                <a:gd name="T101" fmla="*/ 208 h 560"/>
                <a:gd name="T102" fmla="*/ 33 w 656"/>
                <a:gd name="T103" fmla="*/ 195 h 560"/>
                <a:gd name="T104" fmla="*/ 66 w 656"/>
                <a:gd name="T105" fmla="*/ 200 h 560"/>
                <a:gd name="T106" fmla="*/ 129 w 656"/>
                <a:gd name="T107" fmla="*/ 192 h 560"/>
                <a:gd name="T108" fmla="*/ 155 w 656"/>
                <a:gd name="T109" fmla="*/ 171 h 560"/>
                <a:gd name="T110" fmla="*/ 191 w 656"/>
                <a:gd name="T111" fmla="*/ 106 h 560"/>
                <a:gd name="T112" fmla="*/ 204 w 656"/>
                <a:gd name="T113" fmla="*/ 157 h 560"/>
                <a:gd name="T114" fmla="*/ 220 w 656"/>
                <a:gd name="T115" fmla="*/ 140 h 560"/>
                <a:gd name="T116" fmla="*/ 253 w 656"/>
                <a:gd name="T117" fmla="*/ 114 h 560"/>
                <a:gd name="T118" fmla="*/ 272 w 656"/>
                <a:gd name="T119" fmla="*/ 73 h 560"/>
                <a:gd name="T120" fmla="*/ 300 w 656"/>
                <a:gd name="T121" fmla="*/ 0 h 560"/>
                <a:gd name="T122" fmla="*/ 358 w 656"/>
                <a:gd name="T123" fmla="*/ 3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6" h="560">
                  <a:moveTo>
                    <a:pt x="391" y="13"/>
                  </a:moveTo>
                  <a:lnTo>
                    <a:pt x="474" y="57"/>
                  </a:lnTo>
                  <a:lnTo>
                    <a:pt x="499" y="78"/>
                  </a:lnTo>
                  <a:lnTo>
                    <a:pt x="502" y="87"/>
                  </a:lnTo>
                  <a:lnTo>
                    <a:pt x="504" y="98"/>
                  </a:lnTo>
                  <a:lnTo>
                    <a:pt x="503" y="107"/>
                  </a:lnTo>
                  <a:lnTo>
                    <a:pt x="500" y="116"/>
                  </a:lnTo>
                  <a:lnTo>
                    <a:pt x="485" y="144"/>
                  </a:lnTo>
                  <a:lnTo>
                    <a:pt x="481" y="158"/>
                  </a:lnTo>
                  <a:lnTo>
                    <a:pt x="477" y="165"/>
                  </a:lnTo>
                  <a:lnTo>
                    <a:pt x="471" y="169"/>
                  </a:lnTo>
                  <a:lnTo>
                    <a:pt x="458" y="176"/>
                  </a:lnTo>
                  <a:lnTo>
                    <a:pt x="455" y="179"/>
                  </a:lnTo>
                  <a:lnTo>
                    <a:pt x="453" y="184"/>
                  </a:lnTo>
                  <a:lnTo>
                    <a:pt x="458" y="188"/>
                  </a:lnTo>
                  <a:lnTo>
                    <a:pt x="465" y="191"/>
                  </a:lnTo>
                  <a:lnTo>
                    <a:pt x="489" y="191"/>
                  </a:lnTo>
                  <a:lnTo>
                    <a:pt x="527" y="182"/>
                  </a:lnTo>
                  <a:lnTo>
                    <a:pt x="552" y="180"/>
                  </a:lnTo>
                  <a:lnTo>
                    <a:pt x="560" y="180"/>
                  </a:lnTo>
                  <a:lnTo>
                    <a:pt x="572" y="182"/>
                  </a:lnTo>
                  <a:lnTo>
                    <a:pt x="594" y="190"/>
                  </a:lnTo>
                  <a:lnTo>
                    <a:pt x="591" y="226"/>
                  </a:lnTo>
                  <a:lnTo>
                    <a:pt x="592" y="237"/>
                  </a:lnTo>
                  <a:lnTo>
                    <a:pt x="595" y="248"/>
                  </a:lnTo>
                  <a:lnTo>
                    <a:pt x="598" y="255"/>
                  </a:lnTo>
                  <a:lnTo>
                    <a:pt x="602" y="258"/>
                  </a:lnTo>
                  <a:lnTo>
                    <a:pt x="607" y="259"/>
                  </a:lnTo>
                  <a:lnTo>
                    <a:pt x="611" y="260"/>
                  </a:lnTo>
                  <a:lnTo>
                    <a:pt x="615" y="263"/>
                  </a:lnTo>
                  <a:lnTo>
                    <a:pt x="618" y="268"/>
                  </a:lnTo>
                  <a:lnTo>
                    <a:pt x="618" y="271"/>
                  </a:lnTo>
                  <a:lnTo>
                    <a:pt x="617" y="275"/>
                  </a:lnTo>
                  <a:lnTo>
                    <a:pt x="615" y="280"/>
                  </a:lnTo>
                  <a:lnTo>
                    <a:pt x="592" y="306"/>
                  </a:lnTo>
                  <a:lnTo>
                    <a:pt x="588" y="313"/>
                  </a:lnTo>
                  <a:lnTo>
                    <a:pt x="585" y="321"/>
                  </a:lnTo>
                  <a:lnTo>
                    <a:pt x="584" y="337"/>
                  </a:lnTo>
                  <a:lnTo>
                    <a:pt x="585" y="346"/>
                  </a:lnTo>
                  <a:lnTo>
                    <a:pt x="576" y="376"/>
                  </a:lnTo>
                  <a:lnTo>
                    <a:pt x="575" y="385"/>
                  </a:lnTo>
                  <a:lnTo>
                    <a:pt x="576" y="391"/>
                  </a:lnTo>
                  <a:lnTo>
                    <a:pt x="579" y="396"/>
                  </a:lnTo>
                  <a:lnTo>
                    <a:pt x="583" y="395"/>
                  </a:lnTo>
                  <a:lnTo>
                    <a:pt x="588" y="390"/>
                  </a:lnTo>
                  <a:lnTo>
                    <a:pt x="596" y="382"/>
                  </a:lnTo>
                  <a:lnTo>
                    <a:pt x="604" y="372"/>
                  </a:lnTo>
                  <a:lnTo>
                    <a:pt x="608" y="367"/>
                  </a:lnTo>
                  <a:lnTo>
                    <a:pt x="615" y="365"/>
                  </a:lnTo>
                  <a:lnTo>
                    <a:pt x="621" y="367"/>
                  </a:lnTo>
                  <a:lnTo>
                    <a:pt x="627" y="371"/>
                  </a:lnTo>
                  <a:lnTo>
                    <a:pt x="634" y="377"/>
                  </a:lnTo>
                  <a:lnTo>
                    <a:pt x="642" y="383"/>
                  </a:lnTo>
                  <a:lnTo>
                    <a:pt x="646" y="386"/>
                  </a:lnTo>
                  <a:lnTo>
                    <a:pt x="651" y="391"/>
                  </a:lnTo>
                  <a:lnTo>
                    <a:pt x="654" y="399"/>
                  </a:lnTo>
                  <a:lnTo>
                    <a:pt x="656" y="409"/>
                  </a:lnTo>
                  <a:lnTo>
                    <a:pt x="654" y="418"/>
                  </a:lnTo>
                  <a:lnTo>
                    <a:pt x="651" y="429"/>
                  </a:lnTo>
                  <a:lnTo>
                    <a:pt x="648" y="436"/>
                  </a:lnTo>
                  <a:lnTo>
                    <a:pt x="645" y="440"/>
                  </a:lnTo>
                  <a:lnTo>
                    <a:pt x="634" y="450"/>
                  </a:lnTo>
                  <a:lnTo>
                    <a:pt x="631" y="454"/>
                  </a:lnTo>
                  <a:lnTo>
                    <a:pt x="631" y="459"/>
                  </a:lnTo>
                  <a:lnTo>
                    <a:pt x="635" y="477"/>
                  </a:lnTo>
                  <a:lnTo>
                    <a:pt x="635" y="483"/>
                  </a:lnTo>
                  <a:lnTo>
                    <a:pt x="633" y="490"/>
                  </a:lnTo>
                  <a:lnTo>
                    <a:pt x="628" y="496"/>
                  </a:lnTo>
                  <a:lnTo>
                    <a:pt x="622" y="502"/>
                  </a:lnTo>
                  <a:lnTo>
                    <a:pt x="614" y="507"/>
                  </a:lnTo>
                  <a:lnTo>
                    <a:pt x="602" y="511"/>
                  </a:lnTo>
                  <a:lnTo>
                    <a:pt x="590" y="509"/>
                  </a:lnTo>
                  <a:lnTo>
                    <a:pt x="581" y="507"/>
                  </a:lnTo>
                  <a:lnTo>
                    <a:pt x="569" y="503"/>
                  </a:lnTo>
                  <a:lnTo>
                    <a:pt x="560" y="501"/>
                  </a:lnTo>
                  <a:lnTo>
                    <a:pt x="537" y="504"/>
                  </a:lnTo>
                  <a:lnTo>
                    <a:pt x="526" y="503"/>
                  </a:lnTo>
                  <a:lnTo>
                    <a:pt x="518" y="500"/>
                  </a:lnTo>
                  <a:lnTo>
                    <a:pt x="507" y="490"/>
                  </a:lnTo>
                  <a:lnTo>
                    <a:pt x="503" y="485"/>
                  </a:lnTo>
                  <a:lnTo>
                    <a:pt x="499" y="476"/>
                  </a:lnTo>
                  <a:lnTo>
                    <a:pt x="494" y="475"/>
                  </a:lnTo>
                  <a:lnTo>
                    <a:pt x="489" y="475"/>
                  </a:lnTo>
                  <a:lnTo>
                    <a:pt x="482" y="479"/>
                  </a:lnTo>
                  <a:lnTo>
                    <a:pt x="473" y="483"/>
                  </a:lnTo>
                  <a:lnTo>
                    <a:pt x="452" y="494"/>
                  </a:lnTo>
                  <a:lnTo>
                    <a:pt x="446" y="501"/>
                  </a:lnTo>
                  <a:lnTo>
                    <a:pt x="428" y="520"/>
                  </a:lnTo>
                  <a:lnTo>
                    <a:pt x="419" y="526"/>
                  </a:lnTo>
                  <a:lnTo>
                    <a:pt x="404" y="529"/>
                  </a:lnTo>
                  <a:lnTo>
                    <a:pt x="361" y="531"/>
                  </a:lnTo>
                  <a:lnTo>
                    <a:pt x="349" y="530"/>
                  </a:lnTo>
                  <a:lnTo>
                    <a:pt x="336" y="525"/>
                  </a:lnTo>
                  <a:lnTo>
                    <a:pt x="325" y="522"/>
                  </a:lnTo>
                  <a:lnTo>
                    <a:pt x="313" y="522"/>
                  </a:lnTo>
                  <a:lnTo>
                    <a:pt x="274" y="527"/>
                  </a:lnTo>
                  <a:lnTo>
                    <a:pt x="261" y="529"/>
                  </a:lnTo>
                  <a:lnTo>
                    <a:pt x="222" y="548"/>
                  </a:lnTo>
                  <a:lnTo>
                    <a:pt x="180" y="557"/>
                  </a:lnTo>
                  <a:lnTo>
                    <a:pt x="130" y="560"/>
                  </a:lnTo>
                  <a:lnTo>
                    <a:pt x="121" y="560"/>
                  </a:lnTo>
                  <a:lnTo>
                    <a:pt x="121" y="560"/>
                  </a:lnTo>
                  <a:lnTo>
                    <a:pt x="116" y="556"/>
                  </a:lnTo>
                  <a:lnTo>
                    <a:pt x="111" y="552"/>
                  </a:lnTo>
                  <a:lnTo>
                    <a:pt x="104" y="545"/>
                  </a:lnTo>
                  <a:lnTo>
                    <a:pt x="103" y="540"/>
                  </a:lnTo>
                  <a:lnTo>
                    <a:pt x="103" y="527"/>
                  </a:lnTo>
                  <a:lnTo>
                    <a:pt x="102" y="521"/>
                  </a:lnTo>
                  <a:lnTo>
                    <a:pt x="97" y="507"/>
                  </a:lnTo>
                  <a:lnTo>
                    <a:pt x="83" y="486"/>
                  </a:lnTo>
                  <a:lnTo>
                    <a:pt x="79" y="473"/>
                  </a:lnTo>
                  <a:lnTo>
                    <a:pt x="80" y="467"/>
                  </a:lnTo>
                  <a:lnTo>
                    <a:pt x="84" y="463"/>
                  </a:lnTo>
                  <a:lnTo>
                    <a:pt x="86" y="457"/>
                  </a:lnTo>
                  <a:lnTo>
                    <a:pt x="86" y="451"/>
                  </a:lnTo>
                  <a:lnTo>
                    <a:pt x="82" y="438"/>
                  </a:lnTo>
                  <a:lnTo>
                    <a:pt x="80" y="434"/>
                  </a:lnTo>
                  <a:lnTo>
                    <a:pt x="80" y="426"/>
                  </a:lnTo>
                  <a:lnTo>
                    <a:pt x="82" y="421"/>
                  </a:lnTo>
                  <a:lnTo>
                    <a:pt x="86" y="408"/>
                  </a:lnTo>
                  <a:lnTo>
                    <a:pt x="87" y="401"/>
                  </a:lnTo>
                  <a:lnTo>
                    <a:pt x="86" y="393"/>
                  </a:lnTo>
                  <a:lnTo>
                    <a:pt x="83" y="380"/>
                  </a:lnTo>
                  <a:lnTo>
                    <a:pt x="83" y="373"/>
                  </a:lnTo>
                  <a:lnTo>
                    <a:pt x="80" y="367"/>
                  </a:lnTo>
                  <a:lnTo>
                    <a:pt x="75" y="364"/>
                  </a:lnTo>
                  <a:lnTo>
                    <a:pt x="69" y="362"/>
                  </a:lnTo>
                  <a:lnTo>
                    <a:pt x="64" y="358"/>
                  </a:lnTo>
                  <a:lnTo>
                    <a:pt x="64" y="352"/>
                  </a:lnTo>
                  <a:lnTo>
                    <a:pt x="70" y="334"/>
                  </a:lnTo>
                  <a:lnTo>
                    <a:pt x="71" y="321"/>
                  </a:lnTo>
                  <a:lnTo>
                    <a:pt x="71" y="314"/>
                  </a:lnTo>
                  <a:lnTo>
                    <a:pt x="69" y="309"/>
                  </a:lnTo>
                  <a:lnTo>
                    <a:pt x="64" y="304"/>
                  </a:lnTo>
                  <a:lnTo>
                    <a:pt x="53" y="299"/>
                  </a:lnTo>
                  <a:lnTo>
                    <a:pt x="49" y="296"/>
                  </a:lnTo>
                  <a:lnTo>
                    <a:pt x="48" y="282"/>
                  </a:lnTo>
                  <a:lnTo>
                    <a:pt x="52" y="268"/>
                  </a:lnTo>
                  <a:lnTo>
                    <a:pt x="53" y="256"/>
                  </a:lnTo>
                  <a:lnTo>
                    <a:pt x="44" y="248"/>
                  </a:lnTo>
                  <a:lnTo>
                    <a:pt x="19" y="242"/>
                  </a:lnTo>
                  <a:lnTo>
                    <a:pt x="8" y="236"/>
                  </a:lnTo>
                  <a:lnTo>
                    <a:pt x="4" y="234"/>
                  </a:lnTo>
                  <a:lnTo>
                    <a:pt x="4" y="234"/>
                  </a:lnTo>
                  <a:lnTo>
                    <a:pt x="1" y="229"/>
                  </a:lnTo>
                  <a:lnTo>
                    <a:pt x="0" y="224"/>
                  </a:lnTo>
                  <a:lnTo>
                    <a:pt x="2" y="217"/>
                  </a:lnTo>
                  <a:lnTo>
                    <a:pt x="12" y="211"/>
                  </a:lnTo>
                  <a:lnTo>
                    <a:pt x="17" y="204"/>
                  </a:lnTo>
                  <a:lnTo>
                    <a:pt x="20" y="194"/>
                  </a:lnTo>
                  <a:lnTo>
                    <a:pt x="25" y="185"/>
                  </a:lnTo>
                  <a:lnTo>
                    <a:pt x="19" y="204"/>
                  </a:lnTo>
                  <a:lnTo>
                    <a:pt x="17" y="208"/>
                  </a:lnTo>
                  <a:lnTo>
                    <a:pt x="21" y="222"/>
                  </a:lnTo>
                  <a:lnTo>
                    <a:pt x="28" y="216"/>
                  </a:lnTo>
                  <a:lnTo>
                    <a:pt x="33" y="195"/>
                  </a:lnTo>
                  <a:lnTo>
                    <a:pt x="39" y="185"/>
                  </a:lnTo>
                  <a:lnTo>
                    <a:pt x="58" y="204"/>
                  </a:lnTo>
                  <a:lnTo>
                    <a:pt x="66" y="200"/>
                  </a:lnTo>
                  <a:lnTo>
                    <a:pt x="115" y="190"/>
                  </a:lnTo>
                  <a:lnTo>
                    <a:pt x="124" y="191"/>
                  </a:lnTo>
                  <a:lnTo>
                    <a:pt x="129" y="192"/>
                  </a:lnTo>
                  <a:lnTo>
                    <a:pt x="134" y="192"/>
                  </a:lnTo>
                  <a:lnTo>
                    <a:pt x="140" y="190"/>
                  </a:lnTo>
                  <a:lnTo>
                    <a:pt x="155" y="171"/>
                  </a:lnTo>
                  <a:lnTo>
                    <a:pt x="159" y="169"/>
                  </a:lnTo>
                  <a:lnTo>
                    <a:pt x="185" y="116"/>
                  </a:lnTo>
                  <a:lnTo>
                    <a:pt x="191" y="106"/>
                  </a:lnTo>
                  <a:lnTo>
                    <a:pt x="206" y="110"/>
                  </a:lnTo>
                  <a:lnTo>
                    <a:pt x="209" y="126"/>
                  </a:lnTo>
                  <a:lnTo>
                    <a:pt x="204" y="157"/>
                  </a:lnTo>
                  <a:lnTo>
                    <a:pt x="212" y="153"/>
                  </a:lnTo>
                  <a:lnTo>
                    <a:pt x="216" y="146"/>
                  </a:lnTo>
                  <a:lnTo>
                    <a:pt x="220" y="140"/>
                  </a:lnTo>
                  <a:lnTo>
                    <a:pt x="226" y="132"/>
                  </a:lnTo>
                  <a:lnTo>
                    <a:pt x="231" y="127"/>
                  </a:lnTo>
                  <a:lnTo>
                    <a:pt x="253" y="114"/>
                  </a:lnTo>
                  <a:lnTo>
                    <a:pt x="263" y="102"/>
                  </a:lnTo>
                  <a:lnTo>
                    <a:pt x="269" y="88"/>
                  </a:lnTo>
                  <a:lnTo>
                    <a:pt x="272" y="73"/>
                  </a:lnTo>
                  <a:lnTo>
                    <a:pt x="276" y="48"/>
                  </a:lnTo>
                  <a:lnTo>
                    <a:pt x="286" y="23"/>
                  </a:lnTo>
                  <a:lnTo>
                    <a:pt x="300" y="0"/>
                  </a:lnTo>
                  <a:lnTo>
                    <a:pt x="302" y="0"/>
                  </a:lnTo>
                  <a:lnTo>
                    <a:pt x="306" y="1"/>
                  </a:lnTo>
                  <a:lnTo>
                    <a:pt x="358" y="3"/>
                  </a:lnTo>
                  <a:lnTo>
                    <a:pt x="364" y="6"/>
                  </a:lnTo>
                  <a:lnTo>
                    <a:pt x="391" y="1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72C4B693-2589-9A15-56C0-0901F7E74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397" y="2002228"/>
              <a:ext cx="920782" cy="850179"/>
            </a:xfrm>
            <a:custGeom>
              <a:avLst/>
              <a:gdLst>
                <a:gd name="T0" fmla="*/ 437 w 626"/>
                <a:gd name="T1" fmla="*/ 194 h 578"/>
                <a:gd name="T2" fmla="*/ 453 w 626"/>
                <a:gd name="T3" fmla="*/ 187 h 578"/>
                <a:gd name="T4" fmla="*/ 472 w 626"/>
                <a:gd name="T5" fmla="*/ 174 h 578"/>
                <a:gd name="T6" fmla="*/ 487 w 626"/>
                <a:gd name="T7" fmla="*/ 183 h 578"/>
                <a:gd name="T8" fmla="*/ 517 w 626"/>
                <a:gd name="T9" fmla="*/ 172 h 578"/>
                <a:gd name="T10" fmla="*/ 549 w 626"/>
                <a:gd name="T11" fmla="*/ 174 h 578"/>
                <a:gd name="T12" fmla="*/ 621 w 626"/>
                <a:gd name="T13" fmla="*/ 226 h 578"/>
                <a:gd name="T14" fmla="*/ 622 w 626"/>
                <a:gd name="T15" fmla="*/ 275 h 578"/>
                <a:gd name="T16" fmla="*/ 624 w 626"/>
                <a:gd name="T17" fmla="*/ 326 h 578"/>
                <a:gd name="T18" fmla="*/ 607 w 626"/>
                <a:gd name="T19" fmla="*/ 359 h 578"/>
                <a:gd name="T20" fmla="*/ 603 w 626"/>
                <a:gd name="T21" fmla="*/ 381 h 578"/>
                <a:gd name="T22" fmla="*/ 593 w 626"/>
                <a:gd name="T23" fmla="*/ 392 h 578"/>
                <a:gd name="T24" fmla="*/ 598 w 626"/>
                <a:gd name="T25" fmla="*/ 405 h 578"/>
                <a:gd name="T26" fmla="*/ 604 w 626"/>
                <a:gd name="T27" fmla="*/ 430 h 578"/>
                <a:gd name="T28" fmla="*/ 596 w 626"/>
                <a:gd name="T29" fmla="*/ 449 h 578"/>
                <a:gd name="T30" fmla="*/ 587 w 626"/>
                <a:gd name="T31" fmla="*/ 481 h 578"/>
                <a:gd name="T32" fmla="*/ 557 w 626"/>
                <a:gd name="T33" fmla="*/ 493 h 578"/>
                <a:gd name="T34" fmla="*/ 539 w 626"/>
                <a:gd name="T35" fmla="*/ 482 h 578"/>
                <a:gd name="T36" fmla="*/ 522 w 626"/>
                <a:gd name="T37" fmla="*/ 478 h 578"/>
                <a:gd name="T38" fmla="*/ 508 w 626"/>
                <a:gd name="T39" fmla="*/ 488 h 578"/>
                <a:gd name="T40" fmla="*/ 502 w 626"/>
                <a:gd name="T41" fmla="*/ 507 h 578"/>
                <a:gd name="T42" fmla="*/ 470 w 626"/>
                <a:gd name="T43" fmla="*/ 512 h 578"/>
                <a:gd name="T44" fmla="*/ 432 w 626"/>
                <a:gd name="T45" fmla="*/ 534 h 578"/>
                <a:gd name="T46" fmla="*/ 373 w 626"/>
                <a:gd name="T47" fmla="*/ 526 h 578"/>
                <a:gd name="T48" fmla="*/ 325 w 626"/>
                <a:gd name="T49" fmla="*/ 550 h 578"/>
                <a:gd name="T50" fmla="*/ 279 w 626"/>
                <a:gd name="T51" fmla="*/ 553 h 578"/>
                <a:gd name="T52" fmla="*/ 238 w 626"/>
                <a:gd name="T53" fmla="*/ 577 h 578"/>
                <a:gd name="T54" fmla="*/ 194 w 626"/>
                <a:gd name="T55" fmla="*/ 568 h 578"/>
                <a:gd name="T56" fmla="*/ 166 w 626"/>
                <a:gd name="T57" fmla="*/ 545 h 578"/>
                <a:gd name="T58" fmla="*/ 143 w 626"/>
                <a:gd name="T59" fmla="*/ 540 h 578"/>
                <a:gd name="T60" fmla="*/ 60 w 626"/>
                <a:gd name="T61" fmla="*/ 572 h 578"/>
                <a:gd name="T62" fmla="*/ 6 w 626"/>
                <a:gd name="T63" fmla="*/ 530 h 578"/>
                <a:gd name="T64" fmla="*/ 2 w 626"/>
                <a:gd name="T65" fmla="*/ 486 h 578"/>
                <a:gd name="T66" fmla="*/ 12 w 626"/>
                <a:gd name="T67" fmla="*/ 416 h 578"/>
                <a:gd name="T68" fmla="*/ 28 w 626"/>
                <a:gd name="T69" fmla="*/ 370 h 578"/>
                <a:gd name="T70" fmla="*/ 51 w 626"/>
                <a:gd name="T71" fmla="*/ 351 h 578"/>
                <a:gd name="T72" fmla="*/ 80 w 626"/>
                <a:gd name="T73" fmla="*/ 306 h 578"/>
                <a:gd name="T74" fmla="*/ 95 w 626"/>
                <a:gd name="T75" fmla="*/ 294 h 578"/>
                <a:gd name="T76" fmla="*/ 158 w 626"/>
                <a:gd name="T77" fmla="*/ 138 h 578"/>
                <a:gd name="T78" fmla="*/ 175 w 626"/>
                <a:gd name="T79" fmla="*/ 158 h 578"/>
                <a:gd name="T80" fmla="*/ 192 w 626"/>
                <a:gd name="T81" fmla="*/ 157 h 578"/>
                <a:gd name="T82" fmla="*/ 200 w 626"/>
                <a:gd name="T83" fmla="*/ 137 h 578"/>
                <a:gd name="T84" fmla="*/ 216 w 626"/>
                <a:gd name="T85" fmla="*/ 129 h 578"/>
                <a:gd name="T86" fmla="*/ 223 w 626"/>
                <a:gd name="T87" fmla="*/ 121 h 578"/>
                <a:gd name="T88" fmla="*/ 216 w 626"/>
                <a:gd name="T89" fmla="*/ 105 h 578"/>
                <a:gd name="T90" fmla="*/ 196 w 626"/>
                <a:gd name="T91" fmla="*/ 93 h 578"/>
                <a:gd name="T92" fmla="*/ 198 w 626"/>
                <a:gd name="T93" fmla="*/ 83 h 578"/>
                <a:gd name="T94" fmla="*/ 214 w 626"/>
                <a:gd name="T95" fmla="*/ 49 h 578"/>
                <a:gd name="T96" fmla="*/ 232 w 626"/>
                <a:gd name="T97" fmla="*/ 39 h 578"/>
                <a:gd name="T98" fmla="*/ 238 w 626"/>
                <a:gd name="T99" fmla="*/ 29 h 578"/>
                <a:gd name="T100" fmla="*/ 245 w 626"/>
                <a:gd name="T101" fmla="*/ 14 h 578"/>
                <a:gd name="T102" fmla="*/ 259 w 626"/>
                <a:gd name="T103" fmla="*/ 8 h 578"/>
                <a:gd name="T104" fmla="*/ 265 w 626"/>
                <a:gd name="T105" fmla="*/ 1 h 578"/>
                <a:gd name="T106" fmla="*/ 277 w 626"/>
                <a:gd name="T107" fmla="*/ 8 h 578"/>
                <a:gd name="T108" fmla="*/ 304 w 626"/>
                <a:gd name="T109" fmla="*/ 53 h 578"/>
                <a:gd name="T110" fmla="*/ 324 w 626"/>
                <a:gd name="T111" fmla="*/ 90 h 578"/>
                <a:gd name="T112" fmla="*/ 340 w 626"/>
                <a:gd name="T113" fmla="*/ 121 h 578"/>
                <a:gd name="T114" fmla="*/ 400 w 626"/>
                <a:gd name="T115" fmla="*/ 182 h 578"/>
                <a:gd name="T116" fmla="*/ 408 w 626"/>
                <a:gd name="T117" fmla="*/ 206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6" h="578">
                  <a:moveTo>
                    <a:pt x="413" y="208"/>
                  </a:moveTo>
                  <a:lnTo>
                    <a:pt x="419" y="206"/>
                  </a:lnTo>
                  <a:lnTo>
                    <a:pt x="437" y="194"/>
                  </a:lnTo>
                  <a:lnTo>
                    <a:pt x="443" y="190"/>
                  </a:lnTo>
                  <a:lnTo>
                    <a:pt x="447" y="189"/>
                  </a:lnTo>
                  <a:lnTo>
                    <a:pt x="453" y="187"/>
                  </a:lnTo>
                  <a:lnTo>
                    <a:pt x="457" y="184"/>
                  </a:lnTo>
                  <a:lnTo>
                    <a:pt x="465" y="179"/>
                  </a:lnTo>
                  <a:lnTo>
                    <a:pt x="472" y="174"/>
                  </a:lnTo>
                  <a:lnTo>
                    <a:pt x="479" y="174"/>
                  </a:lnTo>
                  <a:lnTo>
                    <a:pt x="484" y="179"/>
                  </a:lnTo>
                  <a:lnTo>
                    <a:pt x="487" y="183"/>
                  </a:lnTo>
                  <a:lnTo>
                    <a:pt x="491" y="185"/>
                  </a:lnTo>
                  <a:lnTo>
                    <a:pt x="499" y="182"/>
                  </a:lnTo>
                  <a:lnTo>
                    <a:pt x="517" y="172"/>
                  </a:lnTo>
                  <a:lnTo>
                    <a:pt x="523" y="171"/>
                  </a:lnTo>
                  <a:lnTo>
                    <a:pt x="533" y="172"/>
                  </a:lnTo>
                  <a:lnTo>
                    <a:pt x="549" y="174"/>
                  </a:lnTo>
                  <a:lnTo>
                    <a:pt x="558" y="173"/>
                  </a:lnTo>
                  <a:lnTo>
                    <a:pt x="576" y="181"/>
                  </a:lnTo>
                  <a:lnTo>
                    <a:pt x="621" y="226"/>
                  </a:lnTo>
                  <a:lnTo>
                    <a:pt x="615" y="244"/>
                  </a:lnTo>
                  <a:lnTo>
                    <a:pt x="615" y="251"/>
                  </a:lnTo>
                  <a:lnTo>
                    <a:pt x="622" y="275"/>
                  </a:lnTo>
                  <a:lnTo>
                    <a:pt x="626" y="299"/>
                  </a:lnTo>
                  <a:lnTo>
                    <a:pt x="626" y="313"/>
                  </a:lnTo>
                  <a:lnTo>
                    <a:pt x="624" y="326"/>
                  </a:lnTo>
                  <a:lnTo>
                    <a:pt x="616" y="340"/>
                  </a:lnTo>
                  <a:lnTo>
                    <a:pt x="610" y="351"/>
                  </a:lnTo>
                  <a:lnTo>
                    <a:pt x="607" y="359"/>
                  </a:lnTo>
                  <a:lnTo>
                    <a:pt x="606" y="366"/>
                  </a:lnTo>
                  <a:lnTo>
                    <a:pt x="606" y="376"/>
                  </a:lnTo>
                  <a:lnTo>
                    <a:pt x="603" y="381"/>
                  </a:lnTo>
                  <a:lnTo>
                    <a:pt x="600" y="387"/>
                  </a:lnTo>
                  <a:lnTo>
                    <a:pt x="596" y="390"/>
                  </a:lnTo>
                  <a:lnTo>
                    <a:pt x="593" y="392"/>
                  </a:lnTo>
                  <a:lnTo>
                    <a:pt x="590" y="396"/>
                  </a:lnTo>
                  <a:lnTo>
                    <a:pt x="593" y="401"/>
                  </a:lnTo>
                  <a:lnTo>
                    <a:pt x="598" y="405"/>
                  </a:lnTo>
                  <a:lnTo>
                    <a:pt x="613" y="407"/>
                  </a:lnTo>
                  <a:lnTo>
                    <a:pt x="624" y="414"/>
                  </a:lnTo>
                  <a:lnTo>
                    <a:pt x="604" y="430"/>
                  </a:lnTo>
                  <a:lnTo>
                    <a:pt x="602" y="435"/>
                  </a:lnTo>
                  <a:lnTo>
                    <a:pt x="598" y="442"/>
                  </a:lnTo>
                  <a:lnTo>
                    <a:pt x="596" y="449"/>
                  </a:lnTo>
                  <a:lnTo>
                    <a:pt x="596" y="456"/>
                  </a:lnTo>
                  <a:lnTo>
                    <a:pt x="596" y="468"/>
                  </a:lnTo>
                  <a:lnTo>
                    <a:pt x="587" y="481"/>
                  </a:lnTo>
                  <a:lnTo>
                    <a:pt x="582" y="488"/>
                  </a:lnTo>
                  <a:lnTo>
                    <a:pt x="573" y="492"/>
                  </a:lnTo>
                  <a:lnTo>
                    <a:pt x="557" y="493"/>
                  </a:lnTo>
                  <a:lnTo>
                    <a:pt x="548" y="491"/>
                  </a:lnTo>
                  <a:lnTo>
                    <a:pt x="543" y="486"/>
                  </a:lnTo>
                  <a:lnTo>
                    <a:pt x="539" y="482"/>
                  </a:lnTo>
                  <a:lnTo>
                    <a:pt x="534" y="480"/>
                  </a:lnTo>
                  <a:lnTo>
                    <a:pt x="530" y="478"/>
                  </a:lnTo>
                  <a:lnTo>
                    <a:pt x="522" y="478"/>
                  </a:lnTo>
                  <a:lnTo>
                    <a:pt x="516" y="479"/>
                  </a:lnTo>
                  <a:lnTo>
                    <a:pt x="509" y="485"/>
                  </a:lnTo>
                  <a:lnTo>
                    <a:pt x="508" y="488"/>
                  </a:lnTo>
                  <a:lnTo>
                    <a:pt x="508" y="498"/>
                  </a:lnTo>
                  <a:lnTo>
                    <a:pt x="506" y="503"/>
                  </a:lnTo>
                  <a:lnTo>
                    <a:pt x="502" y="507"/>
                  </a:lnTo>
                  <a:lnTo>
                    <a:pt x="495" y="509"/>
                  </a:lnTo>
                  <a:lnTo>
                    <a:pt x="478" y="510"/>
                  </a:lnTo>
                  <a:lnTo>
                    <a:pt x="470" y="512"/>
                  </a:lnTo>
                  <a:lnTo>
                    <a:pt x="455" y="525"/>
                  </a:lnTo>
                  <a:lnTo>
                    <a:pt x="443" y="531"/>
                  </a:lnTo>
                  <a:lnTo>
                    <a:pt x="432" y="534"/>
                  </a:lnTo>
                  <a:lnTo>
                    <a:pt x="416" y="533"/>
                  </a:lnTo>
                  <a:lnTo>
                    <a:pt x="385" y="526"/>
                  </a:lnTo>
                  <a:lnTo>
                    <a:pt x="373" y="526"/>
                  </a:lnTo>
                  <a:lnTo>
                    <a:pt x="360" y="529"/>
                  </a:lnTo>
                  <a:lnTo>
                    <a:pt x="343" y="534"/>
                  </a:lnTo>
                  <a:lnTo>
                    <a:pt x="325" y="550"/>
                  </a:lnTo>
                  <a:lnTo>
                    <a:pt x="307" y="558"/>
                  </a:lnTo>
                  <a:lnTo>
                    <a:pt x="287" y="552"/>
                  </a:lnTo>
                  <a:lnTo>
                    <a:pt x="279" y="553"/>
                  </a:lnTo>
                  <a:lnTo>
                    <a:pt x="268" y="559"/>
                  </a:lnTo>
                  <a:lnTo>
                    <a:pt x="249" y="574"/>
                  </a:lnTo>
                  <a:lnTo>
                    <a:pt x="238" y="577"/>
                  </a:lnTo>
                  <a:lnTo>
                    <a:pt x="223" y="578"/>
                  </a:lnTo>
                  <a:lnTo>
                    <a:pt x="207" y="574"/>
                  </a:lnTo>
                  <a:lnTo>
                    <a:pt x="194" y="568"/>
                  </a:lnTo>
                  <a:lnTo>
                    <a:pt x="173" y="555"/>
                  </a:lnTo>
                  <a:lnTo>
                    <a:pt x="169" y="550"/>
                  </a:lnTo>
                  <a:lnTo>
                    <a:pt x="166" y="545"/>
                  </a:lnTo>
                  <a:lnTo>
                    <a:pt x="161" y="542"/>
                  </a:lnTo>
                  <a:lnTo>
                    <a:pt x="153" y="540"/>
                  </a:lnTo>
                  <a:lnTo>
                    <a:pt x="143" y="540"/>
                  </a:lnTo>
                  <a:lnTo>
                    <a:pt x="125" y="543"/>
                  </a:lnTo>
                  <a:lnTo>
                    <a:pt x="108" y="547"/>
                  </a:lnTo>
                  <a:lnTo>
                    <a:pt x="60" y="572"/>
                  </a:lnTo>
                  <a:lnTo>
                    <a:pt x="29" y="574"/>
                  </a:lnTo>
                  <a:lnTo>
                    <a:pt x="24" y="552"/>
                  </a:lnTo>
                  <a:lnTo>
                    <a:pt x="6" y="530"/>
                  </a:lnTo>
                  <a:lnTo>
                    <a:pt x="0" y="519"/>
                  </a:lnTo>
                  <a:lnTo>
                    <a:pt x="1" y="504"/>
                  </a:lnTo>
                  <a:lnTo>
                    <a:pt x="2" y="486"/>
                  </a:lnTo>
                  <a:lnTo>
                    <a:pt x="13" y="440"/>
                  </a:lnTo>
                  <a:lnTo>
                    <a:pt x="11" y="428"/>
                  </a:lnTo>
                  <a:lnTo>
                    <a:pt x="12" y="416"/>
                  </a:lnTo>
                  <a:lnTo>
                    <a:pt x="13" y="404"/>
                  </a:lnTo>
                  <a:lnTo>
                    <a:pt x="22" y="380"/>
                  </a:lnTo>
                  <a:lnTo>
                    <a:pt x="28" y="370"/>
                  </a:lnTo>
                  <a:lnTo>
                    <a:pt x="35" y="364"/>
                  </a:lnTo>
                  <a:lnTo>
                    <a:pt x="43" y="357"/>
                  </a:lnTo>
                  <a:lnTo>
                    <a:pt x="51" y="351"/>
                  </a:lnTo>
                  <a:lnTo>
                    <a:pt x="68" y="317"/>
                  </a:lnTo>
                  <a:lnTo>
                    <a:pt x="74" y="312"/>
                  </a:lnTo>
                  <a:lnTo>
                    <a:pt x="80" y="306"/>
                  </a:lnTo>
                  <a:lnTo>
                    <a:pt x="86" y="303"/>
                  </a:lnTo>
                  <a:lnTo>
                    <a:pt x="91" y="300"/>
                  </a:lnTo>
                  <a:lnTo>
                    <a:pt x="95" y="294"/>
                  </a:lnTo>
                  <a:lnTo>
                    <a:pt x="105" y="276"/>
                  </a:lnTo>
                  <a:lnTo>
                    <a:pt x="152" y="168"/>
                  </a:lnTo>
                  <a:lnTo>
                    <a:pt x="158" y="138"/>
                  </a:lnTo>
                  <a:lnTo>
                    <a:pt x="169" y="154"/>
                  </a:lnTo>
                  <a:lnTo>
                    <a:pt x="171" y="156"/>
                  </a:lnTo>
                  <a:lnTo>
                    <a:pt x="175" y="158"/>
                  </a:lnTo>
                  <a:lnTo>
                    <a:pt x="180" y="160"/>
                  </a:lnTo>
                  <a:lnTo>
                    <a:pt x="185" y="160"/>
                  </a:lnTo>
                  <a:lnTo>
                    <a:pt x="192" y="157"/>
                  </a:lnTo>
                  <a:lnTo>
                    <a:pt x="196" y="153"/>
                  </a:lnTo>
                  <a:lnTo>
                    <a:pt x="198" y="147"/>
                  </a:lnTo>
                  <a:lnTo>
                    <a:pt x="200" y="137"/>
                  </a:lnTo>
                  <a:lnTo>
                    <a:pt x="204" y="134"/>
                  </a:lnTo>
                  <a:lnTo>
                    <a:pt x="208" y="132"/>
                  </a:lnTo>
                  <a:lnTo>
                    <a:pt x="216" y="129"/>
                  </a:lnTo>
                  <a:lnTo>
                    <a:pt x="220" y="127"/>
                  </a:lnTo>
                  <a:lnTo>
                    <a:pt x="223" y="124"/>
                  </a:lnTo>
                  <a:lnTo>
                    <a:pt x="223" y="121"/>
                  </a:lnTo>
                  <a:lnTo>
                    <a:pt x="221" y="116"/>
                  </a:lnTo>
                  <a:lnTo>
                    <a:pt x="219" y="110"/>
                  </a:lnTo>
                  <a:lnTo>
                    <a:pt x="216" y="105"/>
                  </a:lnTo>
                  <a:lnTo>
                    <a:pt x="211" y="101"/>
                  </a:lnTo>
                  <a:lnTo>
                    <a:pt x="199" y="96"/>
                  </a:lnTo>
                  <a:lnTo>
                    <a:pt x="196" y="93"/>
                  </a:lnTo>
                  <a:lnTo>
                    <a:pt x="194" y="90"/>
                  </a:lnTo>
                  <a:lnTo>
                    <a:pt x="195" y="86"/>
                  </a:lnTo>
                  <a:lnTo>
                    <a:pt x="198" y="83"/>
                  </a:lnTo>
                  <a:lnTo>
                    <a:pt x="204" y="72"/>
                  </a:lnTo>
                  <a:lnTo>
                    <a:pt x="212" y="53"/>
                  </a:lnTo>
                  <a:lnTo>
                    <a:pt x="214" y="49"/>
                  </a:lnTo>
                  <a:lnTo>
                    <a:pt x="218" y="45"/>
                  </a:lnTo>
                  <a:lnTo>
                    <a:pt x="221" y="44"/>
                  </a:lnTo>
                  <a:lnTo>
                    <a:pt x="232" y="39"/>
                  </a:lnTo>
                  <a:lnTo>
                    <a:pt x="235" y="37"/>
                  </a:lnTo>
                  <a:lnTo>
                    <a:pt x="237" y="33"/>
                  </a:lnTo>
                  <a:lnTo>
                    <a:pt x="238" y="29"/>
                  </a:lnTo>
                  <a:lnTo>
                    <a:pt x="239" y="24"/>
                  </a:lnTo>
                  <a:lnTo>
                    <a:pt x="242" y="18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51" y="10"/>
                  </a:lnTo>
                  <a:lnTo>
                    <a:pt x="259" y="8"/>
                  </a:lnTo>
                  <a:lnTo>
                    <a:pt x="261" y="5"/>
                  </a:lnTo>
                  <a:lnTo>
                    <a:pt x="263" y="3"/>
                  </a:lnTo>
                  <a:lnTo>
                    <a:pt x="265" y="1"/>
                  </a:lnTo>
                  <a:lnTo>
                    <a:pt x="270" y="0"/>
                  </a:lnTo>
                  <a:lnTo>
                    <a:pt x="275" y="4"/>
                  </a:lnTo>
                  <a:lnTo>
                    <a:pt x="277" y="8"/>
                  </a:lnTo>
                  <a:lnTo>
                    <a:pt x="277" y="16"/>
                  </a:lnTo>
                  <a:lnTo>
                    <a:pt x="279" y="20"/>
                  </a:lnTo>
                  <a:lnTo>
                    <a:pt x="304" y="53"/>
                  </a:lnTo>
                  <a:lnTo>
                    <a:pt x="314" y="72"/>
                  </a:lnTo>
                  <a:lnTo>
                    <a:pt x="322" y="84"/>
                  </a:lnTo>
                  <a:lnTo>
                    <a:pt x="324" y="90"/>
                  </a:lnTo>
                  <a:lnTo>
                    <a:pt x="328" y="106"/>
                  </a:lnTo>
                  <a:lnTo>
                    <a:pt x="330" y="114"/>
                  </a:lnTo>
                  <a:lnTo>
                    <a:pt x="340" y="121"/>
                  </a:lnTo>
                  <a:lnTo>
                    <a:pt x="382" y="151"/>
                  </a:lnTo>
                  <a:lnTo>
                    <a:pt x="394" y="168"/>
                  </a:lnTo>
                  <a:lnTo>
                    <a:pt x="400" y="182"/>
                  </a:lnTo>
                  <a:lnTo>
                    <a:pt x="401" y="193"/>
                  </a:lnTo>
                  <a:lnTo>
                    <a:pt x="404" y="199"/>
                  </a:lnTo>
                  <a:lnTo>
                    <a:pt x="408" y="206"/>
                  </a:lnTo>
                  <a:lnTo>
                    <a:pt x="413" y="20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C6EDAD64-507D-9A31-AFBB-1AC2BC86F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614" y="3064217"/>
              <a:ext cx="764867" cy="961968"/>
            </a:xfrm>
            <a:custGeom>
              <a:avLst/>
              <a:gdLst>
                <a:gd name="T0" fmla="*/ 369 w 520"/>
                <a:gd name="T1" fmla="*/ 37 h 654"/>
                <a:gd name="T2" fmla="*/ 403 w 520"/>
                <a:gd name="T3" fmla="*/ 39 h 654"/>
                <a:gd name="T4" fmla="*/ 421 w 520"/>
                <a:gd name="T5" fmla="*/ 19 h 654"/>
                <a:gd name="T6" fmla="*/ 443 w 520"/>
                <a:gd name="T7" fmla="*/ 16 h 654"/>
                <a:gd name="T8" fmla="*/ 481 w 520"/>
                <a:gd name="T9" fmla="*/ 33 h 654"/>
                <a:gd name="T10" fmla="*/ 505 w 520"/>
                <a:gd name="T11" fmla="*/ 44 h 654"/>
                <a:gd name="T12" fmla="*/ 515 w 520"/>
                <a:gd name="T13" fmla="*/ 61 h 654"/>
                <a:gd name="T14" fmla="*/ 511 w 520"/>
                <a:gd name="T15" fmla="*/ 84 h 654"/>
                <a:gd name="T16" fmla="*/ 519 w 520"/>
                <a:gd name="T17" fmla="*/ 119 h 654"/>
                <a:gd name="T18" fmla="*/ 510 w 520"/>
                <a:gd name="T19" fmla="*/ 138 h 654"/>
                <a:gd name="T20" fmla="*/ 482 w 520"/>
                <a:gd name="T21" fmla="*/ 158 h 654"/>
                <a:gd name="T22" fmla="*/ 468 w 520"/>
                <a:gd name="T23" fmla="*/ 175 h 654"/>
                <a:gd name="T24" fmla="*/ 456 w 520"/>
                <a:gd name="T25" fmla="*/ 189 h 654"/>
                <a:gd name="T26" fmla="*/ 456 w 520"/>
                <a:gd name="T27" fmla="*/ 223 h 654"/>
                <a:gd name="T28" fmla="*/ 465 w 520"/>
                <a:gd name="T29" fmla="*/ 243 h 654"/>
                <a:gd name="T30" fmla="*/ 473 w 520"/>
                <a:gd name="T31" fmla="*/ 268 h 654"/>
                <a:gd name="T32" fmla="*/ 450 w 520"/>
                <a:gd name="T33" fmla="*/ 327 h 654"/>
                <a:gd name="T34" fmla="*/ 429 w 520"/>
                <a:gd name="T35" fmla="*/ 370 h 654"/>
                <a:gd name="T36" fmla="*/ 441 w 520"/>
                <a:gd name="T37" fmla="*/ 384 h 654"/>
                <a:gd name="T38" fmla="*/ 448 w 520"/>
                <a:gd name="T39" fmla="*/ 415 h 654"/>
                <a:gd name="T40" fmla="*/ 456 w 520"/>
                <a:gd name="T41" fmla="*/ 441 h 654"/>
                <a:gd name="T42" fmla="*/ 428 w 520"/>
                <a:gd name="T43" fmla="*/ 460 h 654"/>
                <a:gd name="T44" fmla="*/ 419 w 520"/>
                <a:gd name="T45" fmla="*/ 516 h 654"/>
                <a:gd name="T46" fmla="*/ 422 w 520"/>
                <a:gd name="T47" fmla="*/ 527 h 654"/>
                <a:gd name="T48" fmla="*/ 401 w 520"/>
                <a:gd name="T49" fmla="*/ 547 h 654"/>
                <a:gd name="T50" fmla="*/ 395 w 520"/>
                <a:gd name="T51" fmla="*/ 572 h 654"/>
                <a:gd name="T52" fmla="*/ 355 w 520"/>
                <a:gd name="T53" fmla="*/ 589 h 654"/>
                <a:gd name="T54" fmla="*/ 229 w 520"/>
                <a:gd name="T55" fmla="*/ 611 h 654"/>
                <a:gd name="T56" fmla="*/ 179 w 520"/>
                <a:gd name="T57" fmla="*/ 647 h 654"/>
                <a:gd name="T58" fmla="*/ 123 w 520"/>
                <a:gd name="T59" fmla="*/ 652 h 654"/>
                <a:gd name="T60" fmla="*/ 88 w 520"/>
                <a:gd name="T61" fmla="*/ 633 h 654"/>
                <a:gd name="T62" fmla="*/ 47 w 520"/>
                <a:gd name="T63" fmla="*/ 587 h 654"/>
                <a:gd name="T64" fmla="*/ 29 w 520"/>
                <a:gd name="T65" fmla="*/ 575 h 654"/>
                <a:gd name="T66" fmla="*/ 19 w 520"/>
                <a:gd name="T67" fmla="*/ 557 h 654"/>
                <a:gd name="T68" fmla="*/ 9 w 520"/>
                <a:gd name="T69" fmla="*/ 550 h 654"/>
                <a:gd name="T70" fmla="*/ 0 w 520"/>
                <a:gd name="T71" fmla="*/ 523 h 654"/>
                <a:gd name="T72" fmla="*/ 73 w 520"/>
                <a:gd name="T73" fmla="*/ 460 h 654"/>
                <a:gd name="T74" fmla="*/ 76 w 520"/>
                <a:gd name="T75" fmla="*/ 438 h 654"/>
                <a:gd name="T76" fmla="*/ 69 w 520"/>
                <a:gd name="T77" fmla="*/ 418 h 654"/>
                <a:gd name="T78" fmla="*/ 82 w 520"/>
                <a:gd name="T79" fmla="*/ 309 h 654"/>
                <a:gd name="T80" fmla="*/ 83 w 520"/>
                <a:gd name="T81" fmla="*/ 246 h 654"/>
                <a:gd name="T82" fmla="*/ 95 w 520"/>
                <a:gd name="T83" fmla="*/ 229 h 654"/>
                <a:gd name="T84" fmla="*/ 136 w 520"/>
                <a:gd name="T85" fmla="*/ 219 h 654"/>
                <a:gd name="T86" fmla="*/ 181 w 520"/>
                <a:gd name="T87" fmla="*/ 161 h 654"/>
                <a:gd name="T88" fmla="*/ 183 w 520"/>
                <a:gd name="T89" fmla="*/ 104 h 654"/>
                <a:gd name="T90" fmla="*/ 182 w 520"/>
                <a:gd name="T91" fmla="*/ 70 h 654"/>
                <a:gd name="T92" fmla="*/ 167 w 520"/>
                <a:gd name="T93" fmla="*/ 37 h 654"/>
                <a:gd name="T94" fmla="*/ 203 w 520"/>
                <a:gd name="T95" fmla="*/ 5 h 654"/>
                <a:gd name="T96" fmla="*/ 230 w 520"/>
                <a:gd name="T97" fmla="*/ 3 h 654"/>
                <a:gd name="T98" fmla="*/ 272 w 520"/>
                <a:gd name="T99" fmla="*/ 30 h 654"/>
                <a:gd name="T100" fmla="*/ 341 w 520"/>
                <a:gd name="T101" fmla="*/ 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0" h="654">
                  <a:moveTo>
                    <a:pt x="341" y="44"/>
                  </a:moveTo>
                  <a:lnTo>
                    <a:pt x="357" y="42"/>
                  </a:lnTo>
                  <a:lnTo>
                    <a:pt x="369" y="37"/>
                  </a:lnTo>
                  <a:lnTo>
                    <a:pt x="381" y="36"/>
                  </a:lnTo>
                  <a:lnTo>
                    <a:pt x="392" y="37"/>
                  </a:lnTo>
                  <a:lnTo>
                    <a:pt x="403" y="39"/>
                  </a:lnTo>
                  <a:lnTo>
                    <a:pt x="412" y="37"/>
                  </a:lnTo>
                  <a:lnTo>
                    <a:pt x="417" y="30"/>
                  </a:lnTo>
                  <a:lnTo>
                    <a:pt x="421" y="19"/>
                  </a:lnTo>
                  <a:lnTo>
                    <a:pt x="428" y="12"/>
                  </a:lnTo>
                  <a:lnTo>
                    <a:pt x="434" y="11"/>
                  </a:lnTo>
                  <a:lnTo>
                    <a:pt x="443" y="16"/>
                  </a:lnTo>
                  <a:lnTo>
                    <a:pt x="459" y="25"/>
                  </a:lnTo>
                  <a:lnTo>
                    <a:pt x="468" y="30"/>
                  </a:lnTo>
                  <a:lnTo>
                    <a:pt x="481" y="33"/>
                  </a:lnTo>
                  <a:lnTo>
                    <a:pt x="489" y="36"/>
                  </a:lnTo>
                  <a:lnTo>
                    <a:pt x="496" y="41"/>
                  </a:lnTo>
                  <a:lnTo>
                    <a:pt x="505" y="44"/>
                  </a:lnTo>
                  <a:lnTo>
                    <a:pt x="509" y="46"/>
                  </a:lnTo>
                  <a:lnTo>
                    <a:pt x="512" y="49"/>
                  </a:lnTo>
                  <a:lnTo>
                    <a:pt x="515" y="61"/>
                  </a:lnTo>
                  <a:lnTo>
                    <a:pt x="520" y="69"/>
                  </a:lnTo>
                  <a:lnTo>
                    <a:pt x="513" y="78"/>
                  </a:lnTo>
                  <a:lnTo>
                    <a:pt x="511" y="84"/>
                  </a:lnTo>
                  <a:lnTo>
                    <a:pt x="511" y="94"/>
                  </a:lnTo>
                  <a:lnTo>
                    <a:pt x="518" y="112"/>
                  </a:lnTo>
                  <a:lnTo>
                    <a:pt x="519" y="119"/>
                  </a:lnTo>
                  <a:lnTo>
                    <a:pt x="518" y="126"/>
                  </a:lnTo>
                  <a:lnTo>
                    <a:pt x="516" y="133"/>
                  </a:lnTo>
                  <a:lnTo>
                    <a:pt x="510" y="138"/>
                  </a:lnTo>
                  <a:lnTo>
                    <a:pt x="504" y="144"/>
                  </a:lnTo>
                  <a:lnTo>
                    <a:pt x="489" y="152"/>
                  </a:lnTo>
                  <a:lnTo>
                    <a:pt x="482" y="158"/>
                  </a:lnTo>
                  <a:lnTo>
                    <a:pt x="478" y="163"/>
                  </a:lnTo>
                  <a:lnTo>
                    <a:pt x="472" y="171"/>
                  </a:lnTo>
                  <a:lnTo>
                    <a:pt x="468" y="175"/>
                  </a:lnTo>
                  <a:lnTo>
                    <a:pt x="464" y="179"/>
                  </a:lnTo>
                  <a:lnTo>
                    <a:pt x="459" y="183"/>
                  </a:lnTo>
                  <a:lnTo>
                    <a:pt x="456" y="189"/>
                  </a:lnTo>
                  <a:lnTo>
                    <a:pt x="455" y="197"/>
                  </a:lnTo>
                  <a:lnTo>
                    <a:pt x="455" y="211"/>
                  </a:lnTo>
                  <a:lnTo>
                    <a:pt x="456" y="223"/>
                  </a:lnTo>
                  <a:lnTo>
                    <a:pt x="458" y="233"/>
                  </a:lnTo>
                  <a:lnTo>
                    <a:pt x="461" y="239"/>
                  </a:lnTo>
                  <a:lnTo>
                    <a:pt x="465" y="243"/>
                  </a:lnTo>
                  <a:lnTo>
                    <a:pt x="469" y="246"/>
                  </a:lnTo>
                  <a:lnTo>
                    <a:pt x="471" y="252"/>
                  </a:lnTo>
                  <a:lnTo>
                    <a:pt x="473" y="268"/>
                  </a:lnTo>
                  <a:lnTo>
                    <a:pt x="478" y="289"/>
                  </a:lnTo>
                  <a:lnTo>
                    <a:pt x="477" y="297"/>
                  </a:lnTo>
                  <a:lnTo>
                    <a:pt x="450" y="327"/>
                  </a:lnTo>
                  <a:lnTo>
                    <a:pt x="431" y="355"/>
                  </a:lnTo>
                  <a:lnTo>
                    <a:pt x="428" y="362"/>
                  </a:lnTo>
                  <a:lnTo>
                    <a:pt x="429" y="370"/>
                  </a:lnTo>
                  <a:lnTo>
                    <a:pt x="431" y="375"/>
                  </a:lnTo>
                  <a:lnTo>
                    <a:pt x="437" y="381"/>
                  </a:lnTo>
                  <a:lnTo>
                    <a:pt x="441" y="384"/>
                  </a:lnTo>
                  <a:lnTo>
                    <a:pt x="446" y="391"/>
                  </a:lnTo>
                  <a:lnTo>
                    <a:pt x="448" y="399"/>
                  </a:lnTo>
                  <a:lnTo>
                    <a:pt x="448" y="415"/>
                  </a:lnTo>
                  <a:lnTo>
                    <a:pt x="451" y="423"/>
                  </a:lnTo>
                  <a:lnTo>
                    <a:pt x="458" y="436"/>
                  </a:lnTo>
                  <a:lnTo>
                    <a:pt x="456" y="441"/>
                  </a:lnTo>
                  <a:lnTo>
                    <a:pt x="447" y="448"/>
                  </a:lnTo>
                  <a:lnTo>
                    <a:pt x="438" y="452"/>
                  </a:lnTo>
                  <a:lnTo>
                    <a:pt x="428" y="460"/>
                  </a:lnTo>
                  <a:lnTo>
                    <a:pt x="421" y="471"/>
                  </a:lnTo>
                  <a:lnTo>
                    <a:pt x="417" y="490"/>
                  </a:lnTo>
                  <a:lnTo>
                    <a:pt x="419" y="516"/>
                  </a:lnTo>
                  <a:lnTo>
                    <a:pt x="420" y="519"/>
                  </a:lnTo>
                  <a:lnTo>
                    <a:pt x="422" y="523"/>
                  </a:lnTo>
                  <a:lnTo>
                    <a:pt x="422" y="527"/>
                  </a:lnTo>
                  <a:lnTo>
                    <a:pt x="419" y="532"/>
                  </a:lnTo>
                  <a:lnTo>
                    <a:pt x="407" y="540"/>
                  </a:lnTo>
                  <a:lnTo>
                    <a:pt x="401" y="547"/>
                  </a:lnTo>
                  <a:lnTo>
                    <a:pt x="399" y="556"/>
                  </a:lnTo>
                  <a:lnTo>
                    <a:pt x="399" y="563"/>
                  </a:lnTo>
                  <a:lnTo>
                    <a:pt x="395" y="572"/>
                  </a:lnTo>
                  <a:lnTo>
                    <a:pt x="391" y="578"/>
                  </a:lnTo>
                  <a:lnTo>
                    <a:pt x="368" y="594"/>
                  </a:lnTo>
                  <a:lnTo>
                    <a:pt x="355" y="589"/>
                  </a:lnTo>
                  <a:lnTo>
                    <a:pt x="271" y="599"/>
                  </a:lnTo>
                  <a:lnTo>
                    <a:pt x="246" y="604"/>
                  </a:lnTo>
                  <a:lnTo>
                    <a:pt x="229" y="611"/>
                  </a:lnTo>
                  <a:lnTo>
                    <a:pt x="213" y="626"/>
                  </a:lnTo>
                  <a:lnTo>
                    <a:pt x="203" y="635"/>
                  </a:lnTo>
                  <a:lnTo>
                    <a:pt x="179" y="647"/>
                  </a:lnTo>
                  <a:lnTo>
                    <a:pt x="158" y="652"/>
                  </a:lnTo>
                  <a:lnTo>
                    <a:pt x="139" y="654"/>
                  </a:lnTo>
                  <a:lnTo>
                    <a:pt x="123" y="652"/>
                  </a:lnTo>
                  <a:lnTo>
                    <a:pt x="115" y="648"/>
                  </a:lnTo>
                  <a:lnTo>
                    <a:pt x="102" y="639"/>
                  </a:lnTo>
                  <a:lnTo>
                    <a:pt x="88" y="633"/>
                  </a:lnTo>
                  <a:lnTo>
                    <a:pt x="78" y="627"/>
                  </a:lnTo>
                  <a:lnTo>
                    <a:pt x="68" y="617"/>
                  </a:lnTo>
                  <a:lnTo>
                    <a:pt x="47" y="587"/>
                  </a:lnTo>
                  <a:lnTo>
                    <a:pt x="40" y="582"/>
                  </a:lnTo>
                  <a:lnTo>
                    <a:pt x="34" y="578"/>
                  </a:lnTo>
                  <a:lnTo>
                    <a:pt x="29" y="575"/>
                  </a:lnTo>
                  <a:lnTo>
                    <a:pt x="26" y="569"/>
                  </a:lnTo>
                  <a:lnTo>
                    <a:pt x="23" y="560"/>
                  </a:lnTo>
                  <a:lnTo>
                    <a:pt x="19" y="557"/>
                  </a:lnTo>
                  <a:lnTo>
                    <a:pt x="16" y="555"/>
                  </a:lnTo>
                  <a:lnTo>
                    <a:pt x="12" y="553"/>
                  </a:lnTo>
                  <a:lnTo>
                    <a:pt x="9" y="550"/>
                  </a:lnTo>
                  <a:lnTo>
                    <a:pt x="4" y="543"/>
                  </a:lnTo>
                  <a:lnTo>
                    <a:pt x="2" y="540"/>
                  </a:lnTo>
                  <a:lnTo>
                    <a:pt x="0" y="523"/>
                  </a:lnTo>
                  <a:lnTo>
                    <a:pt x="36" y="503"/>
                  </a:lnTo>
                  <a:lnTo>
                    <a:pt x="60" y="479"/>
                  </a:lnTo>
                  <a:lnTo>
                    <a:pt x="73" y="460"/>
                  </a:lnTo>
                  <a:lnTo>
                    <a:pt x="76" y="452"/>
                  </a:lnTo>
                  <a:lnTo>
                    <a:pt x="77" y="445"/>
                  </a:lnTo>
                  <a:lnTo>
                    <a:pt x="76" y="438"/>
                  </a:lnTo>
                  <a:lnTo>
                    <a:pt x="73" y="432"/>
                  </a:lnTo>
                  <a:lnTo>
                    <a:pt x="70" y="425"/>
                  </a:lnTo>
                  <a:lnTo>
                    <a:pt x="69" y="418"/>
                  </a:lnTo>
                  <a:lnTo>
                    <a:pt x="87" y="331"/>
                  </a:lnTo>
                  <a:lnTo>
                    <a:pt x="87" y="323"/>
                  </a:lnTo>
                  <a:lnTo>
                    <a:pt x="82" y="309"/>
                  </a:lnTo>
                  <a:lnTo>
                    <a:pt x="81" y="288"/>
                  </a:lnTo>
                  <a:lnTo>
                    <a:pt x="83" y="258"/>
                  </a:lnTo>
                  <a:lnTo>
                    <a:pt x="83" y="246"/>
                  </a:lnTo>
                  <a:lnTo>
                    <a:pt x="86" y="240"/>
                  </a:lnTo>
                  <a:lnTo>
                    <a:pt x="89" y="235"/>
                  </a:lnTo>
                  <a:lnTo>
                    <a:pt x="95" y="229"/>
                  </a:lnTo>
                  <a:lnTo>
                    <a:pt x="103" y="226"/>
                  </a:lnTo>
                  <a:lnTo>
                    <a:pt x="127" y="223"/>
                  </a:lnTo>
                  <a:lnTo>
                    <a:pt x="136" y="219"/>
                  </a:lnTo>
                  <a:lnTo>
                    <a:pt x="160" y="199"/>
                  </a:lnTo>
                  <a:lnTo>
                    <a:pt x="173" y="178"/>
                  </a:lnTo>
                  <a:lnTo>
                    <a:pt x="181" y="161"/>
                  </a:lnTo>
                  <a:lnTo>
                    <a:pt x="183" y="142"/>
                  </a:lnTo>
                  <a:lnTo>
                    <a:pt x="182" y="121"/>
                  </a:lnTo>
                  <a:lnTo>
                    <a:pt x="183" y="104"/>
                  </a:lnTo>
                  <a:lnTo>
                    <a:pt x="185" y="89"/>
                  </a:lnTo>
                  <a:lnTo>
                    <a:pt x="185" y="78"/>
                  </a:lnTo>
                  <a:lnTo>
                    <a:pt x="182" y="70"/>
                  </a:lnTo>
                  <a:lnTo>
                    <a:pt x="171" y="52"/>
                  </a:lnTo>
                  <a:lnTo>
                    <a:pt x="168" y="44"/>
                  </a:lnTo>
                  <a:lnTo>
                    <a:pt x="167" y="37"/>
                  </a:lnTo>
                  <a:lnTo>
                    <a:pt x="167" y="23"/>
                  </a:lnTo>
                  <a:lnTo>
                    <a:pt x="181" y="19"/>
                  </a:lnTo>
                  <a:lnTo>
                    <a:pt x="203" y="5"/>
                  </a:lnTo>
                  <a:lnTo>
                    <a:pt x="211" y="0"/>
                  </a:lnTo>
                  <a:lnTo>
                    <a:pt x="221" y="0"/>
                  </a:lnTo>
                  <a:lnTo>
                    <a:pt x="230" y="3"/>
                  </a:lnTo>
                  <a:lnTo>
                    <a:pt x="238" y="7"/>
                  </a:lnTo>
                  <a:lnTo>
                    <a:pt x="259" y="22"/>
                  </a:lnTo>
                  <a:lnTo>
                    <a:pt x="272" y="30"/>
                  </a:lnTo>
                  <a:lnTo>
                    <a:pt x="288" y="36"/>
                  </a:lnTo>
                  <a:lnTo>
                    <a:pt x="324" y="44"/>
                  </a:lnTo>
                  <a:lnTo>
                    <a:pt x="341" y="44"/>
                  </a:lnTo>
                  <a:close/>
                </a:path>
              </a:pathLst>
            </a:custGeom>
            <a:solidFill>
              <a:srgbClr val="004B8E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4487D8C6-55A9-4E34-3817-15F59E956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502" y="493086"/>
              <a:ext cx="1003153" cy="828116"/>
            </a:xfrm>
            <a:custGeom>
              <a:avLst/>
              <a:gdLst>
                <a:gd name="T0" fmla="*/ 409 w 682"/>
                <a:gd name="T1" fmla="*/ 209 h 563"/>
                <a:gd name="T2" fmla="*/ 419 w 682"/>
                <a:gd name="T3" fmla="*/ 215 h 563"/>
                <a:gd name="T4" fmla="*/ 421 w 682"/>
                <a:gd name="T5" fmla="*/ 230 h 563"/>
                <a:gd name="T6" fmla="*/ 429 w 682"/>
                <a:gd name="T7" fmla="*/ 243 h 563"/>
                <a:gd name="T8" fmla="*/ 459 w 682"/>
                <a:gd name="T9" fmla="*/ 252 h 563"/>
                <a:gd name="T10" fmla="*/ 486 w 682"/>
                <a:gd name="T11" fmla="*/ 250 h 563"/>
                <a:gd name="T12" fmla="*/ 555 w 682"/>
                <a:gd name="T13" fmla="*/ 229 h 563"/>
                <a:gd name="T14" fmla="*/ 580 w 682"/>
                <a:gd name="T15" fmla="*/ 293 h 563"/>
                <a:gd name="T16" fmla="*/ 639 w 682"/>
                <a:gd name="T17" fmla="*/ 345 h 563"/>
                <a:gd name="T18" fmla="*/ 682 w 682"/>
                <a:gd name="T19" fmla="*/ 352 h 563"/>
                <a:gd name="T20" fmla="*/ 656 w 682"/>
                <a:gd name="T21" fmla="*/ 373 h 563"/>
                <a:gd name="T22" fmla="*/ 631 w 682"/>
                <a:gd name="T23" fmla="*/ 370 h 563"/>
                <a:gd name="T24" fmla="*/ 610 w 682"/>
                <a:gd name="T25" fmla="*/ 370 h 563"/>
                <a:gd name="T26" fmla="*/ 593 w 682"/>
                <a:gd name="T27" fmla="*/ 366 h 563"/>
                <a:gd name="T28" fmla="*/ 584 w 682"/>
                <a:gd name="T29" fmla="*/ 365 h 563"/>
                <a:gd name="T30" fmla="*/ 578 w 682"/>
                <a:gd name="T31" fmla="*/ 367 h 563"/>
                <a:gd name="T32" fmla="*/ 575 w 682"/>
                <a:gd name="T33" fmla="*/ 377 h 563"/>
                <a:gd name="T34" fmla="*/ 578 w 682"/>
                <a:gd name="T35" fmla="*/ 384 h 563"/>
                <a:gd name="T36" fmla="*/ 588 w 682"/>
                <a:gd name="T37" fmla="*/ 394 h 563"/>
                <a:gd name="T38" fmla="*/ 591 w 682"/>
                <a:gd name="T39" fmla="*/ 401 h 563"/>
                <a:gd name="T40" fmla="*/ 589 w 682"/>
                <a:gd name="T41" fmla="*/ 407 h 563"/>
                <a:gd name="T42" fmla="*/ 559 w 682"/>
                <a:gd name="T43" fmla="*/ 430 h 563"/>
                <a:gd name="T44" fmla="*/ 508 w 682"/>
                <a:gd name="T45" fmla="*/ 494 h 563"/>
                <a:gd name="T46" fmla="*/ 498 w 682"/>
                <a:gd name="T47" fmla="*/ 511 h 563"/>
                <a:gd name="T48" fmla="*/ 498 w 682"/>
                <a:gd name="T49" fmla="*/ 530 h 563"/>
                <a:gd name="T50" fmla="*/ 497 w 682"/>
                <a:gd name="T51" fmla="*/ 546 h 563"/>
                <a:gd name="T52" fmla="*/ 465 w 682"/>
                <a:gd name="T53" fmla="*/ 554 h 563"/>
                <a:gd name="T54" fmla="*/ 446 w 682"/>
                <a:gd name="T55" fmla="*/ 534 h 563"/>
                <a:gd name="T56" fmla="*/ 387 w 682"/>
                <a:gd name="T57" fmla="*/ 498 h 563"/>
                <a:gd name="T58" fmla="*/ 333 w 682"/>
                <a:gd name="T59" fmla="*/ 475 h 563"/>
                <a:gd name="T60" fmla="*/ 308 w 682"/>
                <a:gd name="T61" fmla="*/ 471 h 563"/>
                <a:gd name="T62" fmla="*/ 295 w 682"/>
                <a:gd name="T63" fmla="*/ 460 h 563"/>
                <a:gd name="T64" fmla="*/ 262 w 682"/>
                <a:gd name="T65" fmla="*/ 446 h 563"/>
                <a:gd name="T66" fmla="*/ 257 w 682"/>
                <a:gd name="T67" fmla="*/ 422 h 563"/>
                <a:gd name="T68" fmla="*/ 259 w 682"/>
                <a:gd name="T69" fmla="*/ 397 h 563"/>
                <a:gd name="T70" fmla="*/ 217 w 682"/>
                <a:gd name="T71" fmla="*/ 325 h 563"/>
                <a:gd name="T72" fmla="*/ 184 w 682"/>
                <a:gd name="T73" fmla="*/ 275 h 563"/>
                <a:gd name="T74" fmla="*/ 133 w 682"/>
                <a:gd name="T75" fmla="*/ 238 h 563"/>
                <a:gd name="T76" fmla="*/ 116 w 682"/>
                <a:gd name="T77" fmla="*/ 223 h 563"/>
                <a:gd name="T78" fmla="*/ 83 w 682"/>
                <a:gd name="T79" fmla="*/ 220 h 563"/>
                <a:gd name="T80" fmla="*/ 61 w 682"/>
                <a:gd name="T81" fmla="*/ 211 h 563"/>
                <a:gd name="T82" fmla="*/ 47 w 682"/>
                <a:gd name="T83" fmla="*/ 201 h 563"/>
                <a:gd name="T84" fmla="*/ 25 w 682"/>
                <a:gd name="T85" fmla="*/ 183 h 563"/>
                <a:gd name="T86" fmla="*/ 9 w 682"/>
                <a:gd name="T87" fmla="*/ 175 h 563"/>
                <a:gd name="T88" fmla="*/ 1 w 682"/>
                <a:gd name="T89" fmla="*/ 161 h 563"/>
                <a:gd name="T90" fmla="*/ 2 w 682"/>
                <a:gd name="T91" fmla="*/ 110 h 563"/>
                <a:gd name="T92" fmla="*/ 22 w 682"/>
                <a:gd name="T93" fmla="*/ 72 h 563"/>
                <a:gd name="T94" fmla="*/ 26 w 682"/>
                <a:gd name="T95" fmla="*/ 37 h 563"/>
                <a:gd name="T96" fmla="*/ 25 w 682"/>
                <a:gd name="T97" fmla="*/ 15 h 563"/>
                <a:gd name="T98" fmla="*/ 36 w 682"/>
                <a:gd name="T99" fmla="*/ 0 h 563"/>
                <a:gd name="T100" fmla="*/ 44 w 682"/>
                <a:gd name="T101" fmla="*/ 5 h 563"/>
                <a:gd name="T102" fmla="*/ 123 w 682"/>
                <a:gd name="T103" fmla="*/ 87 h 563"/>
                <a:gd name="T104" fmla="*/ 176 w 682"/>
                <a:gd name="T105" fmla="*/ 105 h 563"/>
                <a:gd name="T106" fmla="*/ 277 w 682"/>
                <a:gd name="T107" fmla="*/ 177 h 563"/>
                <a:gd name="T108" fmla="*/ 353 w 682"/>
                <a:gd name="T109" fmla="*/ 193 h 563"/>
                <a:gd name="T110" fmla="*/ 405 w 682"/>
                <a:gd name="T111" fmla="*/ 21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563">
                  <a:moveTo>
                    <a:pt x="405" y="210"/>
                  </a:moveTo>
                  <a:lnTo>
                    <a:pt x="409" y="209"/>
                  </a:lnTo>
                  <a:lnTo>
                    <a:pt x="412" y="209"/>
                  </a:lnTo>
                  <a:lnTo>
                    <a:pt x="419" y="215"/>
                  </a:lnTo>
                  <a:lnTo>
                    <a:pt x="421" y="223"/>
                  </a:lnTo>
                  <a:lnTo>
                    <a:pt x="421" y="230"/>
                  </a:lnTo>
                  <a:lnTo>
                    <a:pt x="422" y="237"/>
                  </a:lnTo>
                  <a:lnTo>
                    <a:pt x="429" y="243"/>
                  </a:lnTo>
                  <a:lnTo>
                    <a:pt x="445" y="249"/>
                  </a:lnTo>
                  <a:lnTo>
                    <a:pt x="459" y="252"/>
                  </a:lnTo>
                  <a:lnTo>
                    <a:pt x="472" y="253"/>
                  </a:lnTo>
                  <a:lnTo>
                    <a:pt x="486" y="250"/>
                  </a:lnTo>
                  <a:lnTo>
                    <a:pt x="539" y="229"/>
                  </a:lnTo>
                  <a:lnTo>
                    <a:pt x="555" y="229"/>
                  </a:lnTo>
                  <a:lnTo>
                    <a:pt x="576" y="246"/>
                  </a:lnTo>
                  <a:lnTo>
                    <a:pt x="580" y="293"/>
                  </a:lnTo>
                  <a:lnTo>
                    <a:pt x="594" y="315"/>
                  </a:lnTo>
                  <a:lnTo>
                    <a:pt x="639" y="345"/>
                  </a:lnTo>
                  <a:lnTo>
                    <a:pt x="663" y="355"/>
                  </a:lnTo>
                  <a:lnTo>
                    <a:pt x="682" y="352"/>
                  </a:lnTo>
                  <a:lnTo>
                    <a:pt x="680" y="355"/>
                  </a:lnTo>
                  <a:lnTo>
                    <a:pt x="656" y="373"/>
                  </a:lnTo>
                  <a:lnTo>
                    <a:pt x="645" y="376"/>
                  </a:lnTo>
                  <a:lnTo>
                    <a:pt x="631" y="370"/>
                  </a:lnTo>
                  <a:lnTo>
                    <a:pt x="628" y="370"/>
                  </a:lnTo>
                  <a:lnTo>
                    <a:pt x="610" y="370"/>
                  </a:lnTo>
                  <a:lnTo>
                    <a:pt x="604" y="369"/>
                  </a:lnTo>
                  <a:lnTo>
                    <a:pt x="593" y="366"/>
                  </a:lnTo>
                  <a:lnTo>
                    <a:pt x="588" y="365"/>
                  </a:lnTo>
                  <a:lnTo>
                    <a:pt x="584" y="365"/>
                  </a:lnTo>
                  <a:lnTo>
                    <a:pt x="580" y="365"/>
                  </a:lnTo>
                  <a:lnTo>
                    <a:pt x="578" y="367"/>
                  </a:lnTo>
                  <a:lnTo>
                    <a:pt x="576" y="370"/>
                  </a:lnTo>
                  <a:lnTo>
                    <a:pt x="575" y="377"/>
                  </a:lnTo>
                  <a:lnTo>
                    <a:pt x="576" y="381"/>
                  </a:lnTo>
                  <a:lnTo>
                    <a:pt x="578" y="384"/>
                  </a:lnTo>
                  <a:lnTo>
                    <a:pt x="586" y="391"/>
                  </a:lnTo>
                  <a:lnTo>
                    <a:pt x="588" y="394"/>
                  </a:lnTo>
                  <a:lnTo>
                    <a:pt x="590" y="397"/>
                  </a:lnTo>
                  <a:lnTo>
                    <a:pt x="591" y="401"/>
                  </a:lnTo>
                  <a:lnTo>
                    <a:pt x="591" y="403"/>
                  </a:lnTo>
                  <a:lnTo>
                    <a:pt x="589" y="407"/>
                  </a:lnTo>
                  <a:lnTo>
                    <a:pt x="585" y="411"/>
                  </a:lnTo>
                  <a:lnTo>
                    <a:pt x="559" y="430"/>
                  </a:lnTo>
                  <a:lnTo>
                    <a:pt x="554" y="435"/>
                  </a:lnTo>
                  <a:lnTo>
                    <a:pt x="508" y="494"/>
                  </a:lnTo>
                  <a:lnTo>
                    <a:pt x="502" y="504"/>
                  </a:lnTo>
                  <a:lnTo>
                    <a:pt x="498" y="511"/>
                  </a:lnTo>
                  <a:lnTo>
                    <a:pt x="497" y="523"/>
                  </a:lnTo>
                  <a:lnTo>
                    <a:pt x="498" y="530"/>
                  </a:lnTo>
                  <a:lnTo>
                    <a:pt x="499" y="538"/>
                  </a:lnTo>
                  <a:lnTo>
                    <a:pt x="497" y="546"/>
                  </a:lnTo>
                  <a:lnTo>
                    <a:pt x="482" y="563"/>
                  </a:lnTo>
                  <a:lnTo>
                    <a:pt x="465" y="554"/>
                  </a:lnTo>
                  <a:lnTo>
                    <a:pt x="454" y="540"/>
                  </a:lnTo>
                  <a:lnTo>
                    <a:pt x="446" y="534"/>
                  </a:lnTo>
                  <a:lnTo>
                    <a:pt x="415" y="517"/>
                  </a:lnTo>
                  <a:lnTo>
                    <a:pt x="387" y="498"/>
                  </a:lnTo>
                  <a:lnTo>
                    <a:pt x="357" y="481"/>
                  </a:lnTo>
                  <a:lnTo>
                    <a:pt x="333" y="475"/>
                  </a:lnTo>
                  <a:lnTo>
                    <a:pt x="321" y="474"/>
                  </a:lnTo>
                  <a:lnTo>
                    <a:pt x="308" y="471"/>
                  </a:lnTo>
                  <a:lnTo>
                    <a:pt x="300" y="466"/>
                  </a:lnTo>
                  <a:lnTo>
                    <a:pt x="295" y="460"/>
                  </a:lnTo>
                  <a:lnTo>
                    <a:pt x="269" y="456"/>
                  </a:lnTo>
                  <a:lnTo>
                    <a:pt x="262" y="446"/>
                  </a:lnTo>
                  <a:lnTo>
                    <a:pt x="259" y="434"/>
                  </a:lnTo>
                  <a:lnTo>
                    <a:pt x="257" y="422"/>
                  </a:lnTo>
                  <a:lnTo>
                    <a:pt x="259" y="403"/>
                  </a:lnTo>
                  <a:lnTo>
                    <a:pt x="259" y="397"/>
                  </a:lnTo>
                  <a:lnTo>
                    <a:pt x="244" y="358"/>
                  </a:lnTo>
                  <a:lnTo>
                    <a:pt x="217" y="325"/>
                  </a:lnTo>
                  <a:lnTo>
                    <a:pt x="200" y="294"/>
                  </a:lnTo>
                  <a:lnTo>
                    <a:pt x="184" y="275"/>
                  </a:lnTo>
                  <a:lnTo>
                    <a:pt x="163" y="258"/>
                  </a:lnTo>
                  <a:lnTo>
                    <a:pt x="133" y="238"/>
                  </a:lnTo>
                  <a:lnTo>
                    <a:pt x="122" y="227"/>
                  </a:lnTo>
                  <a:lnTo>
                    <a:pt x="116" y="223"/>
                  </a:lnTo>
                  <a:lnTo>
                    <a:pt x="108" y="222"/>
                  </a:lnTo>
                  <a:lnTo>
                    <a:pt x="83" y="220"/>
                  </a:lnTo>
                  <a:lnTo>
                    <a:pt x="70" y="215"/>
                  </a:lnTo>
                  <a:lnTo>
                    <a:pt x="61" y="211"/>
                  </a:lnTo>
                  <a:lnTo>
                    <a:pt x="58" y="209"/>
                  </a:lnTo>
                  <a:lnTo>
                    <a:pt x="47" y="201"/>
                  </a:lnTo>
                  <a:lnTo>
                    <a:pt x="34" y="188"/>
                  </a:lnTo>
                  <a:lnTo>
                    <a:pt x="25" y="183"/>
                  </a:lnTo>
                  <a:lnTo>
                    <a:pt x="17" y="183"/>
                  </a:lnTo>
                  <a:lnTo>
                    <a:pt x="9" y="175"/>
                  </a:lnTo>
                  <a:lnTo>
                    <a:pt x="7" y="173"/>
                  </a:lnTo>
                  <a:lnTo>
                    <a:pt x="1" y="161"/>
                  </a:lnTo>
                  <a:lnTo>
                    <a:pt x="0" y="149"/>
                  </a:lnTo>
                  <a:lnTo>
                    <a:pt x="2" y="110"/>
                  </a:lnTo>
                  <a:lnTo>
                    <a:pt x="6" y="97"/>
                  </a:lnTo>
                  <a:lnTo>
                    <a:pt x="22" y="72"/>
                  </a:lnTo>
                  <a:lnTo>
                    <a:pt x="27" y="57"/>
                  </a:lnTo>
                  <a:lnTo>
                    <a:pt x="26" y="37"/>
                  </a:lnTo>
                  <a:lnTo>
                    <a:pt x="25" y="25"/>
                  </a:lnTo>
                  <a:lnTo>
                    <a:pt x="25" y="15"/>
                  </a:lnTo>
                  <a:lnTo>
                    <a:pt x="26" y="11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4" y="5"/>
                  </a:lnTo>
                  <a:lnTo>
                    <a:pt x="108" y="76"/>
                  </a:lnTo>
                  <a:lnTo>
                    <a:pt x="123" y="87"/>
                  </a:lnTo>
                  <a:lnTo>
                    <a:pt x="136" y="94"/>
                  </a:lnTo>
                  <a:lnTo>
                    <a:pt x="176" y="105"/>
                  </a:lnTo>
                  <a:lnTo>
                    <a:pt x="189" y="111"/>
                  </a:lnTo>
                  <a:lnTo>
                    <a:pt x="277" y="177"/>
                  </a:lnTo>
                  <a:lnTo>
                    <a:pt x="305" y="191"/>
                  </a:lnTo>
                  <a:lnTo>
                    <a:pt x="353" y="193"/>
                  </a:lnTo>
                  <a:lnTo>
                    <a:pt x="398" y="210"/>
                  </a:lnTo>
                  <a:lnTo>
                    <a:pt x="405" y="2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444BEF2C-8792-FE6A-BEEA-C54A53695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122" y="3833496"/>
              <a:ext cx="1017862" cy="613365"/>
            </a:xfrm>
            <a:custGeom>
              <a:avLst/>
              <a:gdLst>
                <a:gd name="T0" fmla="*/ 437 w 692"/>
                <a:gd name="T1" fmla="*/ 124 h 417"/>
                <a:gd name="T2" fmla="*/ 487 w 692"/>
                <a:gd name="T3" fmla="*/ 88 h 417"/>
                <a:gd name="T4" fmla="*/ 613 w 692"/>
                <a:gd name="T5" fmla="*/ 66 h 417"/>
                <a:gd name="T6" fmla="*/ 636 w 692"/>
                <a:gd name="T7" fmla="*/ 84 h 417"/>
                <a:gd name="T8" fmla="*/ 692 w 692"/>
                <a:gd name="T9" fmla="*/ 118 h 417"/>
                <a:gd name="T10" fmla="*/ 690 w 692"/>
                <a:gd name="T11" fmla="*/ 170 h 417"/>
                <a:gd name="T12" fmla="*/ 687 w 692"/>
                <a:gd name="T13" fmla="*/ 196 h 417"/>
                <a:gd name="T14" fmla="*/ 667 w 692"/>
                <a:gd name="T15" fmla="*/ 232 h 417"/>
                <a:gd name="T16" fmla="*/ 656 w 692"/>
                <a:gd name="T17" fmla="*/ 242 h 417"/>
                <a:gd name="T18" fmla="*/ 647 w 692"/>
                <a:gd name="T19" fmla="*/ 240 h 417"/>
                <a:gd name="T20" fmla="*/ 606 w 692"/>
                <a:gd name="T21" fmla="*/ 263 h 417"/>
                <a:gd name="T22" fmla="*/ 597 w 692"/>
                <a:gd name="T23" fmla="*/ 287 h 417"/>
                <a:gd name="T24" fmla="*/ 563 w 692"/>
                <a:gd name="T25" fmla="*/ 301 h 417"/>
                <a:gd name="T26" fmla="*/ 535 w 692"/>
                <a:gd name="T27" fmla="*/ 323 h 417"/>
                <a:gd name="T28" fmla="*/ 510 w 692"/>
                <a:gd name="T29" fmla="*/ 324 h 417"/>
                <a:gd name="T30" fmla="*/ 489 w 692"/>
                <a:gd name="T31" fmla="*/ 331 h 417"/>
                <a:gd name="T32" fmla="*/ 484 w 692"/>
                <a:gd name="T33" fmla="*/ 352 h 417"/>
                <a:gd name="T34" fmla="*/ 485 w 692"/>
                <a:gd name="T35" fmla="*/ 368 h 417"/>
                <a:gd name="T36" fmla="*/ 468 w 692"/>
                <a:gd name="T37" fmla="*/ 393 h 417"/>
                <a:gd name="T38" fmla="*/ 468 w 692"/>
                <a:gd name="T39" fmla="*/ 414 h 417"/>
                <a:gd name="T40" fmla="*/ 455 w 692"/>
                <a:gd name="T41" fmla="*/ 413 h 417"/>
                <a:gd name="T42" fmla="*/ 437 w 692"/>
                <a:gd name="T43" fmla="*/ 416 h 417"/>
                <a:gd name="T44" fmla="*/ 391 w 692"/>
                <a:gd name="T45" fmla="*/ 410 h 417"/>
                <a:gd name="T46" fmla="*/ 381 w 692"/>
                <a:gd name="T47" fmla="*/ 380 h 417"/>
                <a:gd name="T48" fmla="*/ 351 w 692"/>
                <a:gd name="T49" fmla="*/ 350 h 417"/>
                <a:gd name="T50" fmla="*/ 313 w 692"/>
                <a:gd name="T51" fmla="*/ 306 h 417"/>
                <a:gd name="T52" fmla="*/ 292 w 692"/>
                <a:gd name="T53" fmla="*/ 299 h 417"/>
                <a:gd name="T54" fmla="*/ 285 w 692"/>
                <a:gd name="T55" fmla="*/ 312 h 417"/>
                <a:gd name="T56" fmla="*/ 262 w 692"/>
                <a:gd name="T57" fmla="*/ 326 h 417"/>
                <a:gd name="T58" fmla="*/ 253 w 692"/>
                <a:gd name="T59" fmla="*/ 340 h 417"/>
                <a:gd name="T60" fmla="*/ 243 w 692"/>
                <a:gd name="T61" fmla="*/ 355 h 417"/>
                <a:gd name="T62" fmla="*/ 166 w 692"/>
                <a:gd name="T63" fmla="*/ 286 h 417"/>
                <a:gd name="T64" fmla="*/ 154 w 692"/>
                <a:gd name="T65" fmla="*/ 264 h 417"/>
                <a:gd name="T66" fmla="*/ 119 w 692"/>
                <a:gd name="T67" fmla="*/ 248 h 417"/>
                <a:gd name="T68" fmla="*/ 92 w 692"/>
                <a:gd name="T69" fmla="*/ 212 h 417"/>
                <a:gd name="T70" fmla="*/ 52 w 692"/>
                <a:gd name="T71" fmla="*/ 196 h 417"/>
                <a:gd name="T72" fmla="*/ 7 w 692"/>
                <a:gd name="T73" fmla="*/ 209 h 417"/>
                <a:gd name="T74" fmla="*/ 38 w 692"/>
                <a:gd name="T75" fmla="*/ 160 h 417"/>
                <a:gd name="T76" fmla="*/ 59 w 692"/>
                <a:gd name="T77" fmla="*/ 137 h 417"/>
                <a:gd name="T78" fmla="*/ 60 w 692"/>
                <a:gd name="T79" fmla="*/ 121 h 417"/>
                <a:gd name="T80" fmla="*/ 73 w 692"/>
                <a:gd name="T81" fmla="*/ 89 h 417"/>
                <a:gd name="T82" fmla="*/ 108 w 692"/>
                <a:gd name="T83" fmla="*/ 66 h 417"/>
                <a:gd name="T84" fmla="*/ 216 w 692"/>
                <a:gd name="T85" fmla="*/ 42 h 417"/>
                <a:gd name="T86" fmla="*/ 248 w 692"/>
                <a:gd name="T87" fmla="*/ 18 h 417"/>
                <a:gd name="T88" fmla="*/ 260 w 692"/>
                <a:gd name="T89" fmla="*/ 17 h 417"/>
                <a:gd name="T90" fmla="*/ 270 w 692"/>
                <a:gd name="T91" fmla="*/ 30 h 417"/>
                <a:gd name="T92" fmla="*/ 281 w 692"/>
                <a:gd name="T93" fmla="*/ 37 h 417"/>
                <a:gd name="T94" fmla="*/ 292 w 692"/>
                <a:gd name="T95" fmla="*/ 55 h 417"/>
                <a:gd name="T96" fmla="*/ 326 w 692"/>
                <a:gd name="T97" fmla="*/ 94 h 417"/>
                <a:gd name="T98" fmla="*/ 360 w 692"/>
                <a:gd name="T99" fmla="*/ 116 h 417"/>
                <a:gd name="T100" fmla="*/ 397 w 692"/>
                <a:gd name="T101" fmla="*/ 131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2" h="417">
                  <a:moveTo>
                    <a:pt x="397" y="131"/>
                  </a:moveTo>
                  <a:lnTo>
                    <a:pt x="416" y="129"/>
                  </a:lnTo>
                  <a:lnTo>
                    <a:pt x="437" y="124"/>
                  </a:lnTo>
                  <a:lnTo>
                    <a:pt x="461" y="112"/>
                  </a:lnTo>
                  <a:lnTo>
                    <a:pt x="471" y="103"/>
                  </a:lnTo>
                  <a:lnTo>
                    <a:pt x="487" y="88"/>
                  </a:lnTo>
                  <a:lnTo>
                    <a:pt x="504" y="81"/>
                  </a:lnTo>
                  <a:lnTo>
                    <a:pt x="529" y="76"/>
                  </a:lnTo>
                  <a:lnTo>
                    <a:pt x="613" y="66"/>
                  </a:lnTo>
                  <a:lnTo>
                    <a:pt x="626" y="71"/>
                  </a:lnTo>
                  <a:lnTo>
                    <a:pt x="627" y="79"/>
                  </a:lnTo>
                  <a:lnTo>
                    <a:pt x="636" y="84"/>
                  </a:lnTo>
                  <a:lnTo>
                    <a:pt x="677" y="103"/>
                  </a:lnTo>
                  <a:lnTo>
                    <a:pt x="688" y="110"/>
                  </a:lnTo>
                  <a:lnTo>
                    <a:pt x="692" y="118"/>
                  </a:lnTo>
                  <a:lnTo>
                    <a:pt x="690" y="124"/>
                  </a:lnTo>
                  <a:lnTo>
                    <a:pt x="689" y="132"/>
                  </a:lnTo>
                  <a:lnTo>
                    <a:pt x="690" y="170"/>
                  </a:lnTo>
                  <a:lnTo>
                    <a:pt x="688" y="182"/>
                  </a:lnTo>
                  <a:lnTo>
                    <a:pt x="687" y="188"/>
                  </a:lnTo>
                  <a:lnTo>
                    <a:pt x="687" y="196"/>
                  </a:lnTo>
                  <a:lnTo>
                    <a:pt x="686" y="201"/>
                  </a:lnTo>
                  <a:lnTo>
                    <a:pt x="684" y="207"/>
                  </a:lnTo>
                  <a:lnTo>
                    <a:pt x="667" y="232"/>
                  </a:lnTo>
                  <a:lnTo>
                    <a:pt x="661" y="239"/>
                  </a:lnTo>
                  <a:lnTo>
                    <a:pt x="658" y="241"/>
                  </a:lnTo>
                  <a:lnTo>
                    <a:pt x="656" y="242"/>
                  </a:lnTo>
                  <a:lnTo>
                    <a:pt x="653" y="242"/>
                  </a:lnTo>
                  <a:lnTo>
                    <a:pt x="651" y="242"/>
                  </a:lnTo>
                  <a:lnTo>
                    <a:pt x="647" y="240"/>
                  </a:lnTo>
                  <a:lnTo>
                    <a:pt x="636" y="239"/>
                  </a:lnTo>
                  <a:lnTo>
                    <a:pt x="612" y="255"/>
                  </a:lnTo>
                  <a:lnTo>
                    <a:pt x="606" y="263"/>
                  </a:lnTo>
                  <a:lnTo>
                    <a:pt x="602" y="271"/>
                  </a:lnTo>
                  <a:lnTo>
                    <a:pt x="601" y="278"/>
                  </a:lnTo>
                  <a:lnTo>
                    <a:pt x="597" y="287"/>
                  </a:lnTo>
                  <a:lnTo>
                    <a:pt x="587" y="294"/>
                  </a:lnTo>
                  <a:lnTo>
                    <a:pt x="579" y="297"/>
                  </a:lnTo>
                  <a:lnTo>
                    <a:pt x="563" y="301"/>
                  </a:lnTo>
                  <a:lnTo>
                    <a:pt x="557" y="305"/>
                  </a:lnTo>
                  <a:lnTo>
                    <a:pt x="544" y="316"/>
                  </a:lnTo>
                  <a:lnTo>
                    <a:pt x="535" y="323"/>
                  </a:lnTo>
                  <a:lnTo>
                    <a:pt x="529" y="326"/>
                  </a:lnTo>
                  <a:lnTo>
                    <a:pt x="523" y="327"/>
                  </a:lnTo>
                  <a:lnTo>
                    <a:pt x="510" y="324"/>
                  </a:lnTo>
                  <a:lnTo>
                    <a:pt x="502" y="324"/>
                  </a:lnTo>
                  <a:lnTo>
                    <a:pt x="495" y="327"/>
                  </a:lnTo>
                  <a:lnTo>
                    <a:pt x="489" y="331"/>
                  </a:lnTo>
                  <a:lnTo>
                    <a:pt x="484" y="338"/>
                  </a:lnTo>
                  <a:lnTo>
                    <a:pt x="483" y="344"/>
                  </a:lnTo>
                  <a:lnTo>
                    <a:pt x="484" y="352"/>
                  </a:lnTo>
                  <a:lnTo>
                    <a:pt x="487" y="358"/>
                  </a:lnTo>
                  <a:lnTo>
                    <a:pt x="488" y="364"/>
                  </a:lnTo>
                  <a:lnTo>
                    <a:pt x="485" y="368"/>
                  </a:lnTo>
                  <a:lnTo>
                    <a:pt x="483" y="372"/>
                  </a:lnTo>
                  <a:lnTo>
                    <a:pt x="470" y="388"/>
                  </a:lnTo>
                  <a:lnTo>
                    <a:pt x="468" y="393"/>
                  </a:lnTo>
                  <a:lnTo>
                    <a:pt x="467" y="398"/>
                  </a:lnTo>
                  <a:lnTo>
                    <a:pt x="468" y="409"/>
                  </a:lnTo>
                  <a:lnTo>
                    <a:pt x="468" y="414"/>
                  </a:lnTo>
                  <a:lnTo>
                    <a:pt x="465" y="415"/>
                  </a:lnTo>
                  <a:lnTo>
                    <a:pt x="461" y="414"/>
                  </a:lnTo>
                  <a:lnTo>
                    <a:pt x="455" y="413"/>
                  </a:lnTo>
                  <a:lnTo>
                    <a:pt x="450" y="414"/>
                  </a:lnTo>
                  <a:lnTo>
                    <a:pt x="443" y="415"/>
                  </a:lnTo>
                  <a:lnTo>
                    <a:pt x="437" y="416"/>
                  </a:lnTo>
                  <a:lnTo>
                    <a:pt x="426" y="417"/>
                  </a:lnTo>
                  <a:lnTo>
                    <a:pt x="401" y="414"/>
                  </a:lnTo>
                  <a:lnTo>
                    <a:pt x="391" y="410"/>
                  </a:lnTo>
                  <a:lnTo>
                    <a:pt x="388" y="403"/>
                  </a:lnTo>
                  <a:lnTo>
                    <a:pt x="385" y="387"/>
                  </a:lnTo>
                  <a:lnTo>
                    <a:pt x="381" y="380"/>
                  </a:lnTo>
                  <a:lnTo>
                    <a:pt x="377" y="374"/>
                  </a:lnTo>
                  <a:lnTo>
                    <a:pt x="363" y="358"/>
                  </a:lnTo>
                  <a:lnTo>
                    <a:pt x="351" y="350"/>
                  </a:lnTo>
                  <a:lnTo>
                    <a:pt x="332" y="325"/>
                  </a:lnTo>
                  <a:lnTo>
                    <a:pt x="323" y="315"/>
                  </a:lnTo>
                  <a:lnTo>
                    <a:pt x="313" y="306"/>
                  </a:lnTo>
                  <a:lnTo>
                    <a:pt x="305" y="301"/>
                  </a:lnTo>
                  <a:lnTo>
                    <a:pt x="297" y="299"/>
                  </a:lnTo>
                  <a:lnTo>
                    <a:pt x="292" y="299"/>
                  </a:lnTo>
                  <a:lnTo>
                    <a:pt x="288" y="302"/>
                  </a:lnTo>
                  <a:lnTo>
                    <a:pt x="286" y="306"/>
                  </a:lnTo>
                  <a:lnTo>
                    <a:pt x="285" y="312"/>
                  </a:lnTo>
                  <a:lnTo>
                    <a:pt x="281" y="316"/>
                  </a:lnTo>
                  <a:lnTo>
                    <a:pt x="275" y="320"/>
                  </a:lnTo>
                  <a:lnTo>
                    <a:pt x="262" y="326"/>
                  </a:lnTo>
                  <a:lnTo>
                    <a:pt x="256" y="330"/>
                  </a:lnTo>
                  <a:lnTo>
                    <a:pt x="253" y="335"/>
                  </a:lnTo>
                  <a:lnTo>
                    <a:pt x="253" y="340"/>
                  </a:lnTo>
                  <a:lnTo>
                    <a:pt x="251" y="346"/>
                  </a:lnTo>
                  <a:lnTo>
                    <a:pt x="249" y="351"/>
                  </a:lnTo>
                  <a:lnTo>
                    <a:pt x="243" y="355"/>
                  </a:lnTo>
                  <a:lnTo>
                    <a:pt x="235" y="353"/>
                  </a:lnTo>
                  <a:lnTo>
                    <a:pt x="225" y="348"/>
                  </a:lnTo>
                  <a:lnTo>
                    <a:pt x="166" y="286"/>
                  </a:lnTo>
                  <a:lnTo>
                    <a:pt x="160" y="277"/>
                  </a:lnTo>
                  <a:lnTo>
                    <a:pt x="156" y="271"/>
                  </a:lnTo>
                  <a:lnTo>
                    <a:pt x="154" y="264"/>
                  </a:lnTo>
                  <a:lnTo>
                    <a:pt x="147" y="257"/>
                  </a:lnTo>
                  <a:lnTo>
                    <a:pt x="137" y="250"/>
                  </a:lnTo>
                  <a:lnTo>
                    <a:pt x="119" y="248"/>
                  </a:lnTo>
                  <a:lnTo>
                    <a:pt x="111" y="245"/>
                  </a:lnTo>
                  <a:lnTo>
                    <a:pt x="104" y="238"/>
                  </a:lnTo>
                  <a:lnTo>
                    <a:pt x="92" y="212"/>
                  </a:lnTo>
                  <a:lnTo>
                    <a:pt x="85" y="203"/>
                  </a:lnTo>
                  <a:lnTo>
                    <a:pt x="75" y="197"/>
                  </a:lnTo>
                  <a:lnTo>
                    <a:pt x="52" y="196"/>
                  </a:lnTo>
                  <a:lnTo>
                    <a:pt x="33" y="201"/>
                  </a:lnTo>
                  <a:lnTo>
                    <a:pt x="16" y="210"/>
                  </a:lnTo>
                  <a:lnTo>
                    <a:pt x="7" y="209"/>
                  </a:lnTo>
                  <a:lnTo>
                    <a:pt x="1" y="203"/>
                  </a:lnTo>
                  <a:lnTo>
                    <a:pt x="0" y="195"/>
                  </a:lnTo>
                  <a:lnTo>
                    <a:pt x="38" y="160"/>
                  </a:lnTo>
                  <a:lnTo>
                    <a:pt x="60" y="145"/>
                  </a:lnTo>
                  <a:lnTo>
                    <a:pt x="61" y="142"/>
                  </a:lnTo>
                  <a:lnTo>
                    <a:pt x="59" y="137"/>
                  </a:lnTo>
                  <a:lnTo>
                    <a:pt x="56" y="132"/>
                  </a:lnTo>
                  <a:lnTo>
                    <a:pt x="56" y="127"/>
                  </a:lnTo>
                  <a:lnTo>
                    <a:pt x="60" y="121"/>
                  </a:lnTo>
                  <a:lnTo>
                    <a:pt x="60" y="105"/>
                  </a:lnTo>
                  <a:lnTo>
                    <a:pt x="66" y="96"/>
                  </a:lnTo>
                  <a:lnTo>
                    <a:pt x="73" y="89"/>
                  </a:lnTo>
                  <a:lnTo>
                    <a:pt x="91" y="75"/>
                  </a:lnTo>
                  <a:lnTo>
                    <a:pt x="101" y="69"/>
                  </a:lnTo>
                  <a:lnTo>
                    <a:pt x="108" y="66"/>
                  </a:lnTo>
                  <a:lnTo>
                    <a:pt x="188" y="52"/>
                  </a:lnTo>
                  <a:lnTo>
                    <a:pt x="201" y="47"/>
                  </a:lnTo>
                  <a:lnTo>
                    <a:pt x="216" y="42"/>
                  </a:lnTo>
                  <a:lnTo>
                    <a:pt x="232" y="33"/>
                  </a:lnTo>
                  <a:lnTo>
                    <a:pt x="241" y="26"/>
                  </a:lnTo>
                  <a:lnTo>
                    <a:pt x="248" y="18"/>
                  </a:lnTo>
                  <a:lnTo>
                    <a:pt x="251" y="13"/>
                  </a:lnTo>
                  <a:lnTo>
                    <a:pt x="258" y="0"/>
                  </a:lnTo>
                  <a:lnTo>
                    <a:pt x="260" y="17"/>
                  </a:lnTo>
                  <a:lnTo>
                    <a:pt x="262" y="20"/>
                  </a:lnTo>
                  <a:lnTo>
                    <a:pt x="267" y="27"/>
                  </a:lnTo>
                  <a:lnTo>
                    <a:pt x="270" y="30"/>
                  </a:lnTo>
                  <a:lnTo>
                    <a:pt x="274" y="32"/>
                  </a:lnTo>
                  <a:lnTo>
                    <a:pt x="277" y="34"/>
                  </a:lnTo>
                  <a:lnTo>
                    <a:pt x="281" y="37"/>
                  </a:lnTo>
                  <a:lnTo>
                    <a:pt x="284" y="46"/>
                  </a:lnTo>
                  <a:lnTo>
                    <a:pt x="287" y="52"/>
                  </a:lnTo>
                  <a:lnTo>
                    <a:pt x="292" y="55"/>
                  </a:lnTo>
                  <a:lnTo>
                    <a:pt x="298" y="59"/>
                  </a:lnTo>
                  <a:lnTo>
                    <a:pt x="305" y="64"/>
                  </a:lnTo>
                  <a:lnTo>
                    <a:pt x="326" y="94"/>
                  </a:lnTo>
                  <a:lnTo>
                    <a:pt x="336" y="104"/>
                  </a:lnTo>
                  <a:lnTo>
                    <a:pt x="346" y="110"/>
                  </a:lnTo>
                  <a:lnTo>
                    <a:pt x="360" y="116"/>
                  </a:lnTo>
                  <a:lnTo>
                    <a:pt x="373" y="125"/>
                  </a:lnTo>
                  <a:lnTo>
                    <a:pt x="381" y="129"/>
                  </a:lnTo>
                  <a:lnTo>
                    <a:pt x="397" y="1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893CF778-F6A9-146A-688D-071C27AD2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149" y="2796513"/>
              <a:ext cx="526582" cy="1036983"/>
            </a:xfrm>
            <a:custGeom>
              <a:avLst/>
              <a:gdLst>
                <a:gd name="T0" fmla="*/ 292 w 358"/>
                <a:gd name="T1" fmla="*/ 34 h 705"/>
                <a:gd name="T2" fmla="*/ 330 w 358"/>
                <a:gd name="T3" fmla="*/ 12 h 705"/>
                <a:gd name="T4" fmla="*/ 333 w 358"/>
                <a:gd name="T5" fmla="*/ 52 h 705"/>
                <a:gd name="T6" fmla="*/ 320 w 358"/>
                <a:gd name="T7" fmla="*/ 109 h 705"/>
                <a:gd name="T8" fmla="*/ 311 w 358"/>
                <a:gd name="T9" fmla="*/ 164 h 705"/>
                <a:gd name="T10" fmla="*/ 340 w 358"/>
                <a:gd name="T11" fmla="*/ 205 h 705"/>
                <a:gd name="T12" fmla="*/ 344 w 358"/>
                <a:gd name="T13" fmla="*/ 234 h 705"/>
                <a:gd name="T14" fmla="*/ 358 w 358"/>
                <a:gd name="T15" fmla="*/ 271 h 705"/>
                <a:gd name="T16" fmla="*/ 356 w 358"/>
                <a:gd name="T17" fmla="*/ 324 h 705"/>
                <a:gd name="T18" fmla="*/ 333 w 358"/>
                <a:gd name="T19" fmla="*/ 381 h 705"/>
                <a:gd name="T20" fmla="*/ 276 w 358"/>
                <a:gd name="T21" fmla="*/ 408 h 705"/>
                <a:gd name="T22" fmla="*/ 259 w 358"/>
                <a:gd name="T23" fmla="*/ 422 h 705"/>
                <a:gd name="T24" fmla="*/ 254 w 358"/>
                <a:gd name="T25" fmla="*/ 470 h 705"/>
                <a:gd name="T26" fmla="*/ 260 w 358"/>
                <a:gd name="T27" fmla="*/ 513 h 705"/>
                <a:gd name="T28" fmla="*/ 246 w 358"/>
                <a:gd name="T29" fmla="*/ 614 h 705"/>
                <a:gd name="T30" fmla="*/ 249 w 358"/>
                <a:gd name="T31" fmla="*/ 634 h 705"/>
                <a:gd name="T32" fmla="*/ 209 w 358"/>
                <a:gd name="T33" fmla="*/ 685 h 705"/>
                <a:gd name="T34" fmla="*/ 172 w 358"/>
                <a:gd name="T35" fmla="*/ 671 h 705"/>
                <a:gd name="T36" fmla="*/ 153 w 358"/>
                <a:gd name="T37" fmla="*/ 670 h 705"/>
                <a:gd name="T38" fmla="*/ 137 w 358"/>
                <a:gd name="T39" fmla="*/ 677 h 705"/>
                <a:gd name="T40" fmla="*/ 112 w 358"/>
                <a:gd name="T41" fmla="*/ 651 h 705"/>
                <a:gd name="T42" fmla="*/ 122 w 358"/>
                <a:gd name="T43" fmla="*/ 612 h 705"/>
                <a:gd name="T44" fmla="*/ 73 w 358"/>
                <a:gd name="T45" fmla="*/ 537 h 705"/>
                <a:gd name="T46" fmla="*/ 84 w 358"/>
                <a:gd name="T47" fmla="*/ 519 h 705"/>
                <a:gd name="T48" fmla="*/ 105 w 358"/>
                <a:gd name="T49" fmla="*/ 459 h 705"/>
                <a:gd name="T50" fmla="*/ 98 w 358"/>
                <a:gd name="T51" fmla="*/ 435 h 705"/>
                <a:gd name="T52" fmla="*/ 90 w 358"/>
                <a:gd name="T53" fmla="*/ 410 h 705"/>
                <a:gd name="T54" fmla="*/ 72 w 358"/>
                <a:gd name="T55" fmla="*/ 361 h 705"/>
                <a:gd name="T56" fmla="*/ 55 w 358"/>
                <a:gd name="T57" fmla="*/ 337 h 705"/>
                <a:gd name="T58" fmla="*/ 44 w 358"/>
                <a:gd name="T59" fmla="*/ 333 h 705"/>
                <a:gd name="T60" fmla="*/ 32 w 358"/>
                <a:gd name="T61" fmla="*/ 329 h 705"/>
                <a:gd name="T62" fmla="*/ 35 w 358"/>
                <a:gd name="T63" fmla="*/ 319 h 705"/>
                <a:gd name="T64" fmla="*/ 64 w 358"/>
                <a:gd name="T65" fmla="*/ 290 h 705"/>
                <a:gd name="T66" fmla="*/ 75 w 358"/>
                <a:gd name="T67" fmla="*/ 293 h 705"/>
                <a:gd name="T68" fmla="*/ 85 w 358"/>
                <a:gd name="T69" fmla="*/ 284 h 705"/>
                <a:gd name="T70" fmla="*/ 93 w 358"/>
                <a:gd name="T71" fmla="*/ 260 h 705"/>
                <a:gd name="T72" fmla="*/ 61 w 358"/>
                <a:gd name="T73" fmla="*/ 232 h 705"/>
                <a:gd name="T74" fmla="*/ 44 w 358"/>
                <a:gd name="T75" fmla="*/ 198 h 705"/>
                <a:gd name="T76" fmla="*/ 49 w 358"/>
                <a:gd name="T77" fmla="*/ 135 h 705"/>
                <a:gd name="T78" fmla="*/ 59 w 358"/>
                <a:gd name="T79" fmla="*/ 132 h 705"/>
                <a:gd name="T80" fmla="*/ 65 w 358"/>
                <a:gd name="T81" fmla="*/ 122 h 705"/>
                <a:gd name="T82" fmla="*/ 34 w 358"/>
                <a:gd name="T83" fmla="*/ 93 h 705"/>
                <a:gd name="T84" fmla="*/ 17 w 358"/>
                <a:gd name="T85" fmla="*/ 110 h 705"/>
                <a:gd name="T86" fmla="*/ 2 w 358"/>
                <a:gd name="T87" fmla="*/ 115 h 705"/>
                <a:gd name="T88" fmla="*/ 12 w 358"/>
                <a:gd name="T89" fmla="*/ 91 h 705"/>
                <a:gd name="T90" fmla="*/ 72 w 358"/>
                <a:gd name="T91" fmla="*/ 34 h 705"/>
                <a:gd name="T92" fmla="*/ 168 w 358"/>
                <a:gd name="T93" fmla="*/ 3 h 705"/>
                <a:gd name="T94" fmla="*/ 204 w 358"/>
                <a:gd name="T95" fmla="*/ 2 h 705"/>
                <a:gd name="T96" fmla="*/ 216 w 358"/>
                <a:gd name="T97" fmla="*/ 15 h 705"/>
                <a:gd name="T98" fmla="*/ 266 w 358"/>
                <a:gd name="T99" fmla="*/ 38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8" h="705">
                  <a:moveTo>
                    <a:pt x="266" y="38"/>
                  </a:moveTo>
                  <a:lnTo>
                    <a:pt x="281" y="37"/>
                  </a:lnTo>
                  <a:lnTo>
                    <a:pt x="292" y="34"/>
                  </a:lnTo>
                  <a:lnTo>
                    <a:pt x="311" y="19"/>
                  </a:lnTo>
                  <a:lnTo>
                    <a:pt x="322" y="13"/>
                  </a:lnTo>
                  <a:lnTo>
                    <a:pt x="330" y="12"/>
                  </a:lnTo>
                  <a:lnTo>
                    <a:pt x="350" y="18"/>
                  </a:lnTo>
                  <a:lnTo>
                    <a:pt x="334" y="44"/>
                  </a:lnTo>
                  <a:lnTo>
                    <a:pt x="333" y="52"/>
                  </a:lnTo>
                  <a:lnTo>
                    <a:pt x="332" y="78"/>
                  </a:lnTo>
                  <a:lnTo>
                    <a:pt x="329" y="89"/>
                  </a:lnTo>
                  <a:lnTo>
                    <a:pt x="320" y="109"/>
                  </a:lnTo>
                  <a:lnTo>
                    <a:pt x="316" y="121"/>
                  </a:lnTo>
                  <a:lnTo>
                    <a:pt x="308" y="154"/>
                  </a:lnTo>
                  <a:lnTo>
                    <a:pt x="311" y="164"/>
                  </a:lnTo>
                  <a:lnTo>
                    <a:pt x="327" y="188"/>
                  </a:lnTo>
                  <a:lnTo>
                    <a:pt x="334" y="197"/>
                  </a:lnTo>
                  <a:lnTo>
                    <a:pt x="340" y="205"/>
                  </a:lnTo>
                  <a:lnTo>
                    <a:pt x="340" y="219"/>
                  </a:lnTo>
                  <a:lnTo>
                    <a:pt x="341" y="226"/>
                  </a:lnTo>
                  <a:lnTo>
                    <a:pt x="344" y="234"/>
                  </a:lnTo>
                  <a:lnTo>
                    <a:pt x="355" y="252"/>
                  </a:lnTo>
                  <a:lnTo>
                    <a:pt x="358" y="260"/>
                  </a:lnTo>
                  <a:lnTo>
                    <a:pt x="358" y="271"/>
                  </a:lnTo>
                  <a:lnTo>
                    <a:pt x="356" y="286"/>
                  </a:lnTo>
                  <a:lnTo>
                    <a:pt x="355" y="303"/>
                  </a:lnTo>
                  <a:lnTo>
                    <a:pt x="356" y="324"/>
                  </a:lnTo>
                  <a:lnTo>
                    <a:pt x="354" y="343"/>
                  </a:lnTo>
                  <a:lnTo>
                    <a:pt x="346" y="360"/>
                  </a:lnTo>
                  <a:lnTo>
                    <a:pt x="333" y="381"/>
                  </a:lnTo>
                  <a:lnTo>
                    <a:pt x="309" y="401"/>
                  </a:lnTo>
                  <a:lnTo>
                    <a:pt x="300" y="405"/>
                  </a:lnTo>
                  <a:lnTo>
                    <a:pt x="276" y="408"/>
                  </a:lnTo>
                  <a:lnTo>
                    <a:pt x="268" y="411"/>
                  </a:lnTo>
                  <a:lnTo>
                    <a:pt x="262" y="417"/>
                  </a:lnTo>
                  <a:lnTo>
                    <a:pt x="259" y="422"/>
                  </a:lnTo>
                  <a:lnTo>
                    <a:pt x="256" y="428"/>
                  </a:lnTo>
                  <a:lnTo>
                    <a:pt x="256" y="440"/>
                  </a:lnTo>
                  <a:lnTo>
                    <a:pt x="254" y="470"/>
                  </a:lnTo>
                  <a:lnTo>
                    <a:pt x="255" y="491"/>
                  </a:lnTo>
                  <a:lnTo>
                    <a:pt x="260" y="505"/>
                  </a:lnTo>
                  <a:lnTo>
                    <a:pt x="260" y="513"/>
                  </a:lnTo>
                  <a:lnTo>
                    <a:pt x="242" y="600"/>
                  </a:lnTo>
                  <a:lnTo>
                    <a:pt x="243" y="607"/>
                  </a:lnTo>
                  <a:lnTo>
                    <a:pt x="246" y="614"/>
                  </a:lnTo>
                  <a:lnTo>
                    <a:pt x="249" y="620"/>
                  </a:lnTo>
                  <a:lnTo>
                    <a:pt x="250" y="627"/>
                  </a:lnTo>
                  <a:lnTo>
                    <a:pt x="249" y="634"/>
                  </a:lnTo>
                  <a:lnTo>
                    <a:pt x="246" y="642"/>
                  </a:lnTo>
                  <a:lnTo>
                    <a:pt x="233" y="661"/>
                  </a:lnTo>
                  <a:lnTo>
                    <a:pt x="209" y="685"/>
                  </a:lnTo>
                  <a:lnTo>
                    <a:pt x="173" y="705"/>
                  </a:lnTo>
                  <a:lnTo>
                    <a:pt x="174" y="677"/>
                  </a:lnTo>
                  <a:lnTo>
                    <a:pt x="172" y="671"/>
                  </a:lnTo>
                  <a:lnTo>
                    <a:pt x="166" y="666"/>
                  </a:lnTo>
                  <a:lnTo>
                    <a:pt x="160" y="666"/>
                  </a:lnTo>
                  <a:lnTo>
                    <a:pt x="153" y="670"/>
                  </a:lnTo>
                  <a:lnTo>
                    <a:pt x="149" y="673"/>
                  </a:lnTo>
                  <a:lnTo>
                    <a:pt x="145" y="677"/>
                  </a:lnTo>
                  <a:lnTo>
                    <a:pt x="137" y="677"/>
                  </a:lnTo>
                  <a:lnTo>
                    <a:pt x="130" y="677"/>
                  </a:lnTo>
                  <a:lnTo>
                    <a:pt x="103" y="671"/>
                  </a:lnTo>
                  <a:lnTo>
                    <a:pt x="112" y="651"/>
                  </a:lnTo>
                  <a:lnTo>
                    <a:pt x="118" y="628"/>
                  </a:lnTo>
                  <a:lnTo>
                    <a:pt x="122" y="617"/>
                  </a:lnTo>
                  <a:lnTo>
                    <a:pt x="122" y="612"/>
                  </a:lnTo>
                  <a:lnTo>
                    <a:pt x="118" y="602"/>
                  </a:lnTo>
                  <a:lnTo>
                    <a:pt x="95" y="565"/>
                  </a:lnTo>
                  <a:lnTo>
                    <a:pt x="73" y="537"/>
                  </a:lnTo>
                  <a:lnTo>
                    <a:pt x="72" y="531"/>
                  </a:lnTo>
                  <a:lnTo>
                    <a:pt x="75" y="525"/>
                  </a:lnTo>
                  <a:lnTo>
                    <a:pt x="84" y="519"/>
                  </a:lnTo>
                  <a:lnTo>
                    <a:pt x="86" y="516"/>
                  </a:lnTo>
                  <a:lnTo>
                    <a:pt x="98" y="472"/>
                  </a:lnTo>
                  <a:lnTo>
                    <a:pt x="105" y="459"/>
                  </a:lnTo>
                  <a:lnTo>
                    <a:pt x="106" y="449"/>
                  </a:lnTo>
                  <a:lnTo>
                    <a:pt x="103" y="441"/>
                  </a:lnTo>
                  <a:lnTo>
                    <a:pt x="98" y="435"/>
                  </a:lnTo>
                  <a:lnTo>
                    <a:pt x="93" y="425"/>
                  </a:lnTo>
                  <a:lnTo>
                    <a:pt x="91" y="417"/>
                  </a:lnTo>
                  <a:lnTo>
                    <a:pt x="90" y="410"/>
                  </a:lnTo>
                  <a:lnTo>
                    <a:pt x="93" y="397"/>
                  </a:lnTo>
                  <a:lnTo>
                    <a:pt x="92" y="392"/>
                  </a:lnTo>
                  <a:lnTo>
                    <a:pt x="72" y="361"/>
                  </a:lnTo>
                  <a:lnTo>
                    <a:pt x="65" y="347"/>
                  </a:lnTo>
                  <a:lnTo>
                    <a:pt x="59" y="340"/>
                  </a:lnTo>
                  <a:lnTo>
                    <a:pt x="55" y="337"/>
                  </a:lnTo>
                  <a:lnTo>
                    <a:pt x="51" y="339"/>
                  </a:lnTo>
                  <a:lnTo>
                    <a:pt x="47" y="336"/>
                  </a:lnTo>
                  <a:lnTo>
                    <a:pt x="44" y="333"/>
                  </a:lnTo>
                  <a:lnTo>
                    <a:pt x="41" y="331"/>
                  </a:lnTo>
                  <a:lnTo>
                    <a:pt x="35" y="330"/>
                  </a:lnTo>
                  <a:lnTo>
                    <a:pt x="32" y="329"/>
                  </a:lnTo>
                  <a:lnTo>
                    <a:pt x="30" y="326"/>
                  </a:lnTo>
                  <a:lnTo>
                    <a:pt x="31" y="321"/>
                  </a:lnTo>
                  <a:lnTo>
                    <a:pt x="35" y="319"/>
                  </a:lnTo>
                  <a:lnTo>
                    <a:pt x="41" y="316"/>
                  </a:lnTo>
                  <a:lnTo>
                    <a:pt x="45" y="311"/>
                  </a:lnTo>
                  <a:lnTo>
                    <a:pt x="64" y="290"/>
                  </a:lnTo>
                  <a:lnTo>
                    <a:pt x="68" y="289"/>
                  </a:lnTo>
                  <a:lnTo>
                    <a:pt x="71" y="290"/>
                  </a:lnTo>
                  <a:lnTo>
                    <a:pt x="75" y="293"/>
                  </a:lnTo>
                  <a:lnTo>
                    <a:pt x="79" y="293"/>
                  </a:lnTo>
                  <a:lnTo>
                    <a:pt x="81" y="291"/>
                  </a:lnTo>
                  <a:lnTo>
                    <a:pt x="85" y="284"/>
                  </a:lnTo>
                  <a:lnTo>
                    <a:pt x="88" y="279"/>
                  </a:lnTo>
                  <a:lnTo>
                    <a:pt x="92" y="269"/>
                  </a:lnTo>
                  <a:lnTo>
                    <a:pt x="93" y="260"/>
                  </a:lnTo>
                  <a:lnTo>
                    <a:pt x="88" y="252"/>
                  </a:lnTo>
                  <a:lnTo>
                    <a:pt x="83" y="246"/>
                  </a:lnTo>
                  <a:lnTo>
                    <a:pt x="61" y="232"/>
                  </a:lnTo>
                  <a:lnTo>
                    <a:pt x="53" y="223"/>
                  </a:lnTo>
                  <a:lnTo>
                    <a:pt x="46" y="212"/>
                  </a:lnTo>
                  <a:lnTo>
                    <a:pt x="44" y="198"/>
                  </a:lnTo>
                  <a:lnTo>
                    <a:pt x="45" y="146"/>
                  </a:lnTo>
                  <a:lnTo>
                    <a:pt x="46" y="139"/>
                  </a:lnTo>
                  <a:lnTo>
                    <a:pt x="49" y="135"/>
                  </a:lnTo>
                  <a:lnTo>
                    <a:pt x="52" y="134"/>
                  </a:lnTo>
                  <a:lnTo>
                    <a:pt x="56" y="134"/>
                  </a:lnTo>
                  <a:lnTo>
                    <a:pt x="59" y="132"/>
                  </a:lnTo>
                  <a:lnTo>
                    <a:pt x="62" y="129"/>
                  </a:lnTo>
                  <a:lnTo>
                    <a:pt x="65" y="125"/>
                  </a:lnTo>
                  <a:lnTo>
                    <a:pt x="65" y="122"/>
                  </a:lnTo>
                  <a:lnTo>
                    <a:pt x="45" y="108"/>
                  </a:lnTo>
                  <a:lnTo>
                    <a:pt x="39" y="96"/>
                  </a:lnTo>
                  <a:lnTo>
                    <a:pt x="34" y="93"/>
                  </a:lnTo>
                  <a:lnTo>
                    <a:pt x="30" y="93"/>
                  </a:lnTo>
                  <a:lnTo>
                    <a:pt x="26" y="97"/>
                  </a:lnTo>
                  <a:lnTo>
                    <a:pt x="17" y="110"/>
                  </a:lnTo>
                  <a:lnTo>
                    <a:pt x="13" y="114"/>
                  </a:lnTo>
                  <a:lnTo>
                    <a:pt x="7" y="116"/>
                  </a:lnTo>
                  <a:lnTo>
                    <a:pt x="2" y="115"/>
                  </a:lnTo>
                  <a:lnTo>
                    <a:pt x="0" y="111"/>
                  </a:lnTo>
                  <a:lnTo>
                    <a:pt x="2" y="102"/>
                  </a:lnTo>
                  <a:lnTo>
                    <a:pt x="12" y="91"/>
                  </a:lnTo>
                  <a:lnTo>
                    <a:pt x="28" y="65"/>
                  </a:lnTo>
                  <a:lnTo>
                    <a:pt x="40" y="49"/>
                  </a:lnTo>
                  <a:lnTo>
                    <a:pt x="72" y="34"/>
                  </a:lnTo>
                  <a:lnTo>
                    <a:pt x="103" y="32"/>
                  </a:lnTo>
                  <a:lnTo>
                    <a:pt x="151" y="7"/>
                  </a:lnTo>
                  <a:lnTo>
                    <a:pt x="168" y="3"/>
                  </a:lnTo>
                  <a:lnTo>
                    <a:pt x="186" y="0"/>
                  </a:lnTo>
                  <a:lnTo>
                    <a:pt x="196" y="0"/>
                  </a:lnTo>
                  <a:lnTo>
                    <a:pt x="204" y="2"/>
                  </a:lnTo>
                  <a:lnTo>
                    <a:pt x="209" y="5"/>
                  </a:lnTo>
                  <a:lnTo>
                    <a:pt x="212" y="10"/>
                  </a:lnTo>
                  <a:lnTo>
                    <a:pt x="216" y="15"/>
                  </a:lnTo>
                  <a:lnTo>
                    <a:pt x="237" y="28"/>
                  </a:lnTo>
                  <a:lnTo>
                    <a:pt x="250" y="34"/>
                  </a:lnTo>
                  <a:lnTo>
                    <a:pt x="266" y="3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31F05DD2-7EBE-7A9D-39A4-32C66C846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424" y="4121793"/>
              <a:ext cx="1319396" cy="1123766"/>
            </a:xfrm>
            <a:custGeom>
              <a:avLst/>
              <a:gdLst>
                <a:gd name="T0" fmla="*/ 418 w 897"/>
                <a:gd name="T1" fmla="*/ 144 h 764"/>
                <a:gd name="T2" fmla="*/ 440 w 897"/>
                <a:gd name="T3" fmla="*/ 124 h 764"/>
                <a:gd name="T4" fmla="*/ 453 w 897"/>
                <a:gd name="T5" fmla="*/ 106 h 764"/>
                <a:gd name="T6" fmla="*/ 478 w 897"/>
                <a:gd name="T7" fmla="*/ 110 h 764"/>
                <a:gd name="T8" fmla="*/ 528 w 897"/>
                <a:gd name="T9" fmla="*/ 162 h 764"/>
                <a:gd name="T10" fmla="*/ 553 w 897"/>
                <a:gd name="T11" fmla="*/ 207 h 764"/>
                <a:gd name="T12" fmla="*/ 602 w 897"/>
                <a:gd name="T13" fmla="*/ 220 h 764"/>
                <a:gd name="T14" fmla="*/ 626 w 897"/>
                <a:gd name="T15" fmla="*/ 218 h 764"/>
                <a:gd name="T16" fmla="*/ 632 w 897"/>
                <a:gd name="T17" fmla="*/ 202 h 764"/>
                <a:gd name="T18" fmla="*/ 650 w 897"/>
                <a:gd name="T19" fmla="*/ 172 h 764"/>
                <a:gd name="T20" fmla="*/ 648 w 897"/>
                <a:gd name="T21" fmla="*/ 148 h 764"/>
                <a:gd name="T22" fmla="*/ 667 w 897"/>
                <a:gd name="T23" fmla="*/ 128 h 764"/>
                <a:gd name="T24" fmla="*/ 700 w 897"/>
                <a:gd name="T25" fmla="*/ 127 h 764"/>
                <a:gd name="T26" fmla="*/ 744 w 897"/>
                <a:gd name="T27" fmla="*/ 101 h 764"/>
                <a:gd name="T28" fmla="*/ 767 w 897"/>
                <a:gd name="T29" fmla="*/ 75 h 764"/>
                <a:gd name="T30" fmla="*/ 812 w 897"/>
                <a:gd name="T31" fmla="*/ 44 h 764"/>
                <a:gd name="T32" fmla="*/ 816 w 897"/>
                <a:gd name="T33" fmla="*/ 82 h 764"/>
                <a:gd name="T34" fmla="*/ 831 w 897"/>
                <a:gd name="T35" fmla="*/ 74 h 764"/>
                <a:gd name="T36" fmla="*/ 851 w 897"/>
                <a:gd name="T37" fmla="*/ 50 h 764"/>
                <a:gd name="T38" fmla="*/ 888 w 897"/>
                <a:gd name="T39" fmla="*/ 65 h 764"/>
                <a:gd name="T40" fmla="*/ 897 w 897"/>
                <a:gd name="T41" fmla="*/ 87 h 764"/>
                <a:gd name="T42" fmla="*/ 805 w 897"/>
                <a:gd name="T43" fmla="*/ 143 h 764"/>
                <a:gd name="T44" fmla="*/ 780 w 897"/>
                <a:gd name="T45" fmla="*/ 198 h 764"/>
                <a:gd name="T46" fmla="*/ 798 w 897"/>
                <a:gd name="T47" fmla="*/ 223 h 764"/>
                <a:gd name="T48" fmla="*/ 758 w 897"/>
                <a:gd name="T49" fmla="*/ 302 h 764"/>
                <a:gd name="T50" fmla="*/ 737 w 897"/>
                <a:gd name="T51" fmla="*/ 364 h 764"/>
                <a:gd name="T52" fmla="*/ 712 w 897"/>
                <a:gd name="T53" fmla="*/ 417 h 764"/>
                <a:gd name="T54" fmla="*/ 634 w 897"/>
                <a:gd name="T55" fmla="*/ 464 h 764"/>
                <a:gd name="T56" fmla="*/ 551 w 897"/>
                <a:gd name="T57" fmla="*/ 554 h 764"/>
                <a:gd name="T58" fmla="*/ 479 w 897"/>
                <a:gd name="T59" fmla="*/ 604 h 764"/>
                <a:gd name="T60" fmla="*/ 470 w 897"/>
                <a:gd name="T61" fmla="*/ 632 h 764"/>
                <a:gd name="T62" fmla="*/ 478 w 897"/>
                <a:gd name="T63" fmla="*/ 655 h 764"/>
                <a:gd name="T64" fmla="*/ 476 w 897"/>
                <a:gd name="T65" fmla="*/ 707 h 764"/>
                <a:gd name="T66" fmla="*/ 458 w 897"/>
                <a:gd name="T67" fmla="*/ 760 h 764"/>
                <a:gd name="T68" fmla="*/ 427 w 897"/>
                <a:gd name="T69" fmla="*/ 726 h 764"/>
                <a:gd name="T70" fmla="*/ 395 w 897"/>
                <a:gd name="T71" fmla="*/ 651 h 764"/>
                <a:gd name="T72" fmla="*/ 361 w 897"/>
                <a:gd name="T73" fmla="*/ 645 h 764"/>
                <a:gd name="T74" fmla="*/ 314 w 897"/>
                <a:gd name="T75" fmla="*/ 630 h 764"/>
                <a:gd name="T76" fmla="*/ 308 w 897"/>
                <a:gd name="T77" fmla="*/ 587 h 764"/>
                <a:gd name="T78" fmla="*/ 280 w 897"/>
                <a:gd name="T79" fmla="*/ 565 h 764"/>
                <a:gd name="T80" fmla="*/ 203 w 897"/>
                <a:gd name="T81" fmla="*/ 557 h 764"/>
                <a:gd name="T82" fmla="*/ 136 w 897"/>
                <a:gd name="T83" fmla="*/ 549 h 764"/>
                <a:gd name="T84" fmla="*/ 62 w 897"/>
                <a:gd name="T85" fmla="*/ 551 h 764"/>
                <a:gd name="T86" fmla="*/ 86 w 897"/>
                <a:gd name="T87" fmla="*/ 532 h 764"/>
                <a:gd name="T88" fmla="*/ 112 w 897"/>
                <a:gd name="T89" fmla="*/ 474 h 764"/>
                <a:gd name="T90" fmla="*/ 83 w 897"/>
                <a:gd name="T91" fmla="*/ 424 h 764"/>
                <a:gd name="T92" fmla="*/ 8 w 897"/>
                <a:gd name="T93" fmla="*/ 353 h 764"/>
                <a:gd name="T94" fmla="*/ 39 w 897"/>
                <a:gd name="T95" fmla="*/ 265 h 764"/>
                <a:gd name="T96" fmla="*/ 194 w 897"/>
                <a:gd name="T97" fmla="*/ 67 h 764"/>
                <a:gd name="T98" fmla="*/ 211 w 897"/>
                <a:gd name="T99" fmla="*/ 54 h 764"/>
                <a:gd name="T100" fmla="*/ 225 w 897"/>
                <a:gd name="T101" fmla="*/ 17 h 764"/>
                <a:gd name="T102" fmla="*/ 257 w 897"/>
                <a:gd name="T103" fmla="*/ 16 h 764"/>
                <a:gd name="T104" fmla="*/ 302 w 897"/>
                <a:gd name="T105" fmla="*/ 54 h 764"/>
                <a:gd name="T106" fmla="*/ 325 w 897"/>
                <a:gd name="T107" fmla="*/ 81 h 764"/>
                <a:gd name="T108" fmla="*/ 408 w 897"/>
                <a:gd name="T109" fmla="*/ 1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7" h="764">
                  <a:moveTo>
                    <a:pt x="408" y="159"/>
                  </a:moveTo>
                  <a:lnTo>
                    <a:pt x="414" y="155"/>
                  </a:lnTo>
                  <a:lnTo>
                    <a:pt x="416" y="150"/>
                  </a:lnTo>
                  <a:lnTo>
                    <a:pt x="418" y="144"/>
                  </a:lnTo>
                  <a:lnTo>
                    <a:pt x="418" y="139"/>
                  </a:lnTo>
                  <a:lnTo>
                    <a:pt x="421" y="134"/>
                  </a:lnTo>
                  <a:lnTo>
                    <a:pt x="427" y="130"/>
                  </a:lnTo>
                  <a:lnTo>
                    <a:pt x="440" y="124"/>
                  </a:lnTo>
                  <a:lnTo>
                    <a:pt x="446" y="120"/>
                  </a:lnTo>
                  <a:lnTo>
                    <a:pt x="450" y="116"/>
                  </a:lnTo>
                  <a:lnTo>
                    <a:pt x="451" y="110"/>
                  </a:lnTo>
                  <a:lnTo>
                    <a:pt x="453" y="106"/>
                  </a:lnTo>
                  <a:lnTo>
                    <a:pt x="457" y="103"/>
                  </a:lnTo>
                  <a:lnTo>
                    <a:pt x="462" y="103"/>
                  </a:lnTo>
                  <a:lnTo>
                    <a:pt x="470" y="105"/>
                  </a:lnTo>
                  <a:lnTo>
                    <a:pt x="478" y="110"/>
                  </a:lnTo>
                  <a:lnTo>
                    <a:pt x="488" y="119"/>
                  </a:lnTo>
                  <a:lnTo>
                    <a:pt x="497" y="129"/>
                  </a:lnTo>
                  <a:lnTo>
                    <a:pt x="516" y="154"/>
                  </a:lnTo>
                  <a:lnTo>
                    <a:pt x="528" y="162"/>
                  </a:lnTo>
                  <a:lnTo>
                    <a:pt x="542" y="178"/>
                  </a:lnTo>
                  <a:lnTo>
                    <a:pt x="546" y="184"/>
                  </a:lnTo>
                  <a:lnTo>
                    <a:pt x="550" y="191"/>
                  </a:lnTo>
                  <a:lnTo>
                    <a:pt x="553" y="207"/>
                  </a:lnTo>
                  <a:lnTo>
                    <a:pt x="556" y="214"/>
                  </a:lnTo>
                  <a:lnTo>
                    <a:pt x="566" y="218"/>
                  </a:lnTo>
                  <a:lnTo>
                    <a:pt x="591" y="221"/>
                  </a:lnTo>
                  <a:lnTo>
                    <a:pt x="602" y="220"/>
                  </a:lnTo>
                  <a:lnTo>
                    <a:pt x="608" y="219"/>
                  </a:lnTo>
                  <a:lnTo>
                    <a:pt x="615" y="218"/>
                  </a:lnTo>
                  <a:lnTo>
                    <a:pt x="620" y="217"/>
                  </a:lnTo>
                  <a:lnTo>
                    <a:pt x="626" y="218"/>
                  </a:lnTo>
                  <a:lnTo>
                    <a:pt x="630" y="219"/>
                  </a:lnTo>
                  <a:lnTo>
                    <a:pt x="633" y="218"/>
                  </a:lnTo>
                  <a:lnTo>
                    <a:pt x="633" y="213"/>
                  </a:lnTo>
                  <a:lnTo>
                    <a:pt x="632" y="202"/>
                  </a:lnTo>
                  <a:lnTo>
                    <a:pt x="633" y="197"/>
                  </a:lnTo>
                  <a:lnTo>
                    <a:pt x="635" y="192"/>
                  </a:lnTo>
                  <a:lnTo>
                    <a:pt x="648" y="176"/>
                  </a:lnTo>
                  <a:lnTo>
                    <a:pt x="650" y="172"/>
                  </a:lnTo>
                  <a:lnTo>
                    <a:pt x="653" y="168"/>
                  </a:lnTo>
                  <a:lnTo>
                    <a:pt x="652" y="162"/>
                  </a:lnTo>
                  <a:lnTo>
                    <a:pt x="649" y="156"/>
                  </a:lnTo>
                  <a:lnTo>
                    <a:pt x="648" y="148"/>
                  </a:lnTo>
                  <a:lnTo>
                    <a:pt x="649" y="142"/>
                  </a:lnTo>
                  <a:lnTo>
                    <a:pt x="654" y="135"/>
                  </a:lnTo>
                  <a:lnTo>
                    <a:pt x="660" y="131"/>
                  </a:lnTo>
                  <a:lnTo>
                    <a:pt x="667" y="128"/>
                  </a:lnTo>
                  <a:lnTo>
                    <a:pt x="675" y="128"/>
                  </a:lnTo>
                  <a:lnTo>
                    <a:pt x="688" y="131"/>
                  </a:lnTo>
                  <a:lnTo>
                    <a:pt x="694" y="130"/>
                  </a:lnTo>
                  <a:lnTo>
                    <a:pt x="700" y="127"/>
                  </a:lnTo>
                  <a:lnTo>
                    <a:pt x="709" y="120"/>
                  </a:lnTo>
                  <a:lnTo>
                    <a:pt x="722" y="109"/>
                  </a:lnTo>
                  <a:lnTo>
                    <a:pt x="728" y="105"/>
                  </a:lnTo>
                  <a:lnTo>
                    <a:pt x="744" y="101"/>
                  </a:lnTo>
                  <a:lnTo>
                    <a:pt x="752" y="98"/>
                  </a:lnTo>
                  <a:lnTo>
                    <a:pt x="762" y="91"/>
                  </a:lnTo>
                  <a:lnTo>
                    <a:pt x="766" y="82"/>
                  </a:lnTo>
                  <a:lnTo>
                    <a:pt x="767" y="75"/>
                  </a:lnTo>
                  <a:lnTo>
                    <a:pt x="771" y="67"/>
                  </a:lnTo>
                  <a:lnTo>
                    <a:pt x="777" y="59"/>
                  </a:lnTo>
                  <a:lnTo>
                    <a:pt x="801" y="43"/>
                  </a:lnTo>
                  <a:lnTo>
                    <a:pt x="812" y="44"/>
                  </a:lnTo>
                  <a:lnTo>
                    <a:pt x="808" y="64"/>
                  </a:lnTo>
                  <a:lnTo>
                    <a:pt x="809" y="70"/>
                  </a:lnTo>
                  <a:lnTo>
                    <a:pt x="811" y="77"/>
                  </a:lnTo>
                  <a:lnTo>
                    <a:pt x="816" y="82"/>
                  </a:lnTo>
                  <a:lnTo>
                    <a:pt x="822" y="85"/>
                  </a:lnTo>
                  <a:lnTo>
                    <a:pt x="827" y="84"/>
                  </a:lnTo>
                  <a:lnTo>
                    <a:pt x="829" y="80"/>
                  </a:lnTo>
                  <a:lnTo>
                    <a:pt x="831" y="74"/>
                  </a:lnTo>
                  <a:lnTo>
                    <a:pt x="834" y="66"/>
                  </a:lnTo>
                  <a:lnTo>
                    <a:pt x="838" y="59"/>
                  </a:lnTo>
                  <a:lnTo>
                    <a:pt x="844" y="53"/>
                  </a:lnTo>
                  <a:lnTo>
                    <a:pt x="851" y="50"/>
                  </a:lnTo>
                  <a:lnTo>
                    <a:pt x="857" y="48"/>
                  </a:lnTo>
                  <a:lnTo>
                    <a:pt x="863" y="48"/>
                  </a:lnTo>
                  <a:lnTo>
                    <a:pt x="867" y="50"/>
                  </a:lnTo>
                  <a:lnTo>
                    <a:pt x="888" y="65"/>
                  </a:lnTo>
                  <a:lnTo>
                    <a:pt x="893" y="70"/>
                  </a:lnTo>
                  <a:lnTo>
                    <a:pt x="895" y="76"/>
                  </a:lnTo>
                  <a:lnTo>
                    <a:pt x="897" y="81"/>
                  </a:lnTo>
                  <a:lnTo>
                    <a:pt x="897" y="87"/>
                  </a:lnTo>
                  <a:lnTo>
                    <a:pt x="894" y="93"/>
                  </a:lnTo>
                  <a:lnTo>
                    <a:pt x="887" y="100"/>
                  </a:lnTo>
                  <a:lnTo>
                    <a:pt x="813" y="137"/>
                  </a:lnTo>
                  <a:lnTo>
                    <a:pt x="805" y="143"/>
                  </a:lnTo>
                  <a:lnTo>
                    <a:pt x="800" y="149"/>
                  </a:lnTo>
                  <a:lnTo>
                    <a:pt x="779" y="189"/>
                  </a:lnTo>
                  <a:lnTo>
                    <a:pt x="778" y="194"/>
                  </a:lnTo>
                  <a:lnTo>
                    <a:pt x="780" y="198"/>
                  </a:lnTo>
                  <a:lnTo>
                    <a:pt x="785" y="204"/>
                  </a:lnTo>
                  <a:lnTo>
                    <a:pt x="790" y="210"/>
                  </a:lnTo>
                  <a:lnTo>
                    <a:pt x="795" y="217"/>
                  </a:lnTo>
                  <a:lnTo>
                    <a:pt x="798" y="223"/>
                  </a:lnTo>
                  <a:lnTo>
                    <a:pt x="798" y="230"/>
                  </a:lnTo>
                  <a:lnTo>
                    <a:pt x="793" y="239"/>
                  </a:lnTo>
                  <a:lnTo>
                    <a:pt x="762" y="291"/>
                  </a:lnTo>
                  <a:lnTo>
                    <a:pt x="758" y="302"/>
                  </a:lnTo>
                  <a:lnTo>
                    <a:pt x="756" y="309"/>
                  </a:lnTo>
                  <a:lnTo>
                    <a:pt x="740" y="342"/>
                  </a:lnTo>
                  <a:lnTo>
                    <a:pt x="737" y="353"/>
                  </a:lnTo>
                  <a:lnTo>
                    <a:pt x="737" y="364"/>
                  </a:lnTo>
                  <a:lnTo>
                    <a:pt x="738" y="374"/>
                  </a:lnTo>
                  <a:lnTo>
                    <a:pt x="736" y="386"/>
                  </a:lnTo>
                  <a:lnTo>
                    <a:pt x="730" y="398"/>
                  </a:lnTo>
                  <a:lnTo>
                    <a:pt x="712" y="417"/>
                  </a:lnTo>
                  <a:lnTo>
                    <a:pt x="696" y="430"/>
                  </a:lnTo>
                  <a:lnTo>
                    <a:pt x="673" y="443"/>
                  </a:lnTo>
                  <a:lnTo>
                    <a:pt x="647" y="451"/>
                  </a:lnTo>
                  <a:lnTo>
                    <a:pt x="634" y="464"/>
                  </a:lnTo>
                  <a:lnTo>
                    <a:pt x="552" y="530"/>
                  </a:lnTo>
                  <a:lnTo>
                    <a:pt x="549" y="536"/>
                  </a:lnTo>
                  <a:lnTo>
                    <a:pt x="548" y="542"/>
                  </a:lnTo>
                  <a:lnTo>
                    <a:pt x="551" y="554"/>
                  </a:lnTo>
                  <a:lnTo>
                    <a:pt x="537" y="567"/>
                  </a:lnTo>
                  <a:lnTo>
                    <a:pt x="500" y="587"/>
                  </a:lnTo>
                  <a:lnTo>
                    <a:pt x="488" y="596"/>
                  </a:lnTo>
                  <a:lnTo>
                    <a:pt x="479" y="604"/>
                  </a:lnTo>
                  <a:lnTo>
                    <a:pt x="473" y="613"/>
                  </a:lnTo>
                  <a:lnTo>
                    <a:pt x="470" y="621"/>
                  </a:lnTo>
                  <a:lnTo>
                    <a:pt x="468" y="626"/>
                  </a:lnTo>
                  <a:lnTo>
                    <a:pt x="470" y="632"/>
                  </a:lnTo>
                  <a:lnTo>
                    <a:pt x="473" y="641"/>
                  </a:lnTo>
                  <a:lnTo>
                    <a:pt x="476" y="646"/>
                  </a:lnTo>
                  <a:lnTo>
                    <a:pt x="478" y="650"/>
                  </a:lnTo>
                  <a:lnTo>
                    <a:pt x="478" y="655"/>
                  </a:lnTo>
                  <a:lnTo>
                    <a:pt x="474" y="668"/>
                  </a:lnTo>
                  <a:lnTo>
                    <a:pt x="473" y="676"/>
                  </a:lnTo>
                  <a:lnTo>
                    <a:pt x="472" y="684"/>
                  </a:lnTo>
                  <a:lnTo>
                    <a:pt x="476" y="707"/>
                  </a:lnTo>
                  <a:lnTo>
                    <a:pt x="468" y="746"/>
                  </a:lnTo>
                  <a:lnTo>
                    <a:pt x="466" y="753"/>
                  </a:lnTo>
                  <a:lnTo>
                    <a:pt x="462" y="758"/>
                  </a:lnTo>
                  <a:lnTo>
                    <a:pt x="458" y="760"/>
                  </a:lnTo>
                  <a:lnTo>
                    <a:pt x="453" y="762"/>
                  </a:lnTo>
                  <a:lnTo>
                    <a:pt x="441" y="764"/>
                  </a:lnTo>
                  <a:lnTo>
                    <a:pt x="429" y="746"/>
                  </a:lnTo>
                  <a:lnTo>
                    <a:pt x="427" y="726"/>
                  </a:lnTo>
                  <a:lnTo>
                    <a:pt x="427" y="711"/>
                  </a:lnTo>
                  <a:lnTo>
                    <a:pt x="422" y="698"/>
                  </a:lnTo>
                  <a:lnTo>
                    <a:pt x="402" y="665"/>
                  </a:lnTo>
                  <a:lnTo>
                    <a:pt x="395" y="651"/>
                  </a:lnTo>
                  <a:lnTo>
                    <a:pt x="390" y="638"/>
                  </a:lnTo>
                  <a:lnTo>
                    <a:pt x="386" y="634"/>
                  </a:lnTo>
                  <a:lnTo>
                    <a:pt x="380" y="635"/>
                  </a:lnTo>
                  <a:lnTo>
                    <a:pt x="361" y="645"/>
                  </a:lnTo>
                  <a:lnTo>
                    <a:pt x="351" y="646"/>
                  </a:lnTo>
                  <a:lnTo>
                    <a:pt x="338" y="646"/>
                  </a:lnTo>
                  <a:lnTo>
                    <a:pt x="321" y="639"/>
                  </a:lnTo>
                  <a:lnTo>
                    <a:pt x="314" y="630"/>
                  </a:lnTo>
                  <a:lnTo>
                    <a:pt x="309" y="622"/>
                  </a:lnTo>
                  <a:lnTo>
                    <a:pt x="308" y="607"/>
                  </a:lnTo>
                  <a:lnTo>
                    <a:pt x="309" y="594"/>
                  </a:lnTo>
                  <a:lnTo>
                    <a:pt x="308" y="587"/>
                  </a:lnTo>
                  <a:lnTo>
                    <a:pt x="304" y="576"/>
                  </a:lnTo>
                  <a:lnTo>
                    <a:pt x="297" y="570"/>
                  </a:lnTo>
                  <a:lnTo>
                    <a:pt x="289" y="565"/>
                  </a:lnTo>
                  <a:lnTo>
                    <a:pt x="280" y="565"/>
                  </a:lnTo>
                  <a:lnTo>
                    <a:pt x="262" y="567"/>
                  </a:lnTo>
                  <a:lnTo>
                    <a:pt x="239" y="567"/>
                  </a:lnTo>
                  <a:lnTo>
                    <a:pt x="220" y="563"/>
                  </a:lnTo>
                  <a:lnTo>
                    <a:pt x="203" y="557"/>
                  </a:lnTo>
                  <a:lnTo>
                    <a:pt x="181" y="549"/>
                  </a:lnTo>
                  <a:lnTo>
                    <a:pt x="169" y="547"/>
                  </a:lnTo>
                  <a:lnTo>
                    <a:pt x="161" y="547"/>
                  </a:lnTo>
                  <a:lnTo>
                    <a:pt x="136" y="549"/>
                  </a:lnTo>
                  <a:lnTo>
                    <a:pt x="98" y="558"/>
                  </a:lnTo>
                  <a:lnTo>
                    <a:pt x="74" y="558"/>
                  </a:lnTo>
                  <a:lnTo>
                    <a:pt x="67" y="555"/>
                  </a:lnTo>
                  <a:lnTo>
                    <a:pt x="62" y="551"/>
                  </a:lnTo>
                  <a:lnTo>
                    <a:pt x="64" y="546"/>
                  </a:lnTo>
                  <a:lnTo>
                    <a:pt x="67" y="543"/>
                  </a:lnTo>
                  <a:lnTo>
                    <a:pt x="80" y="536"/>
                  </a:lnTo>
                  <a:lnTo>
                    <a:pt x="86" y="532"/>
                  </a:lnTo>
                  <a:lnTo>
                    <a:pt x="90" y="525"/>
                  </a:lnTo>
                  <a:lnTo>
                    <a:pt x="94" y="511"/>
                  </a:lnTo>
                  <a:lnTo>
                    <a:pt x="109" y="483"/>
                  </a:lnTo>
                  <a:lnTo>
                    <a:pt x="112" y="474"/>
                  </a:lnTo>
                  <a:lnTo>
                    <a:pt x="113" y="465"/>
                  </a:lnTo>
                  <a:lnTo>
                    <a:pt x="111" y="454"/>
                  </a:lnTo>
                  <a:lnTo>
                    <a:pt x="108" y="445"/>
                  </a:lnTo>
                  <a:lnTo>
                    <a:pt x="83" y="424"/>
                  </a:lnTo>
                  <a:lnTo>
                    <a:pt x="0" y="380"/>
                  </a:lnTo>
                  <a:lnTo>
                    <a:pt x="2" y="367"/>
                  </a:lnTo>
                  <a:lnTo>
                    <a:pt x="4" y="362"/>
                  </a:lnTo>
                  <a:lnTo>
                    <a:pt x="8" y="353"/>
                  </a:lnTo>
                  <a:lnTo>
                    <a:pt x="45" y="309"/>
                  </a:lnTo>
                  <a:lnTo>
                    <a:pt x="45" y="303"/>
                  </a:lnTo>
                  <a:lnTo>
                    <a:pt x="44" y="284"/>
                  </a:lnTo>
                  <a:lnTo>
                    <a:pt x="39" y="265"/>
                  </a:lnTo>
                  <a:lnTo>
                    <a:pt x="38" y="253"/>
                  </a:lnTo>
                  <a:lnTo>
                    <a:pt x="42" y="236"/>
                  </a:lnTo>
                  <a:lnTo>
                    <a:pt x="47" y="220"/>
                  </a:lnTo>
                  <a:lnTo>
                    <a:pt x="194" y="67"/>
                  </a:lnTo>
                  <a:lnTo>
                    <a:pt x="197" y="65"/>
                  </a:lnTo>
                  <a:lnTo>
                    <a:pt x="201" y="63"/>
                  </a:lnTo>
                  <a:lnTo>
                    <a:pt x="205" y="59"/>
                  </a:lnTo>
                  <a:lnTo>
                    <a:pt x="211" y="54"/>
                  </a:lnTo>
                  <a:lnTo>
                    <a:pt x="226" y="39"/>
                  </a:lnTo>
                  <a:lnTo>
                    <a:pt x="229" y="32"/>
                  </a:lnTo>
                  <a:lnTo>
                    <a:pt x="230" y="25"/>
                  </a:lnTo>
                  <a:lnTo>
                    <a:pt x="225" y="17"/>
                  </a:lnTo>
                  <a:lnTo>
                    <a:pt x="217" y="0"/>
                  </a:lnTo>
                  <a:lnTo>
                    <a:pt x="240" y="1"/>
                  </a:lnTo>
                  <a:lnTo>
                    <a:pt x="250" y="7"/>
                  </a:lnTo>
                  <a:lnTo>
                    <a:pt x="257" y="16"/>
                  </a:lnTo>
                  <a:lnTo>
                    <a:pt x="269" y="42"/>
                  </a:lnTo>
                  <a:lnTo>
                    <a:pt x="276" y="49"/>
                  </a:lnTo>
                  <a:lnTo>
                    <a:pt x="284" y="52"/>
                  </a:lnTo>
                  <a:lnTo>
                    <a:pt x="302" y="54"/>
                  </a:lnTo>
                  <a:lnTo>
                    <a:pt x="312" y="61"/>
                  </a:lnTo>
                  <a:lnTo>
                    <a:pt x="319" y="68"/>
                  </a:lnTo>
                  <a:lnTo>
                    <a:pt x="321" y="75"/>
                  </a:lnTo>
                  <a:lnTo>
                    <a:pt x="325" y="81"/>
                  </a:lnTo>
                  <a:lnTo>
                    <a:pt x="331" y="90"/>
                  </a:lnTo>
                  <a:lnTo>
                    <a:pt x="390" y="152"/>
                  </a:lnTo>
                  <a:lnTo>
                    <a:pt x="400" y="157"/>
                  </a:lnTo>
                  <a:lnTo>
                    <a:pt x="408" y="15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28" name="CuadroTexto 27">
            <a:extLst>
              <a:ext uri="{FF2B5EF4-FFF2-40B4-BE49-F238E27FC236}">
                <a16:creationId xmlns:a16="http://schemas.microsoft.com/office/drawing/2014/main" id="{3D093716-E03E-8AF8-79EE-32AF74C944CB}"/>
              </a:ext>
            </a:extLst>
          </p:cNvPr>
          <p:cNvSpPr txBox="1"/>
          <p:nvPr/>
        </p:nvSpPr>
        <p:spPr>
          <a:xfrm>
            <a:off x="362186" y="432604"/>
            <a:ext cx="49182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100" dirty="0">
                <a:solidFill>
                  <a:srgbClr val="004B8E"/>
                </a:solidFill>
                <a:latin typeface="Montserrat" pitchFamily="2" charset="0"/>
              </a:rPr>
              <a:t>Dirección Regional </a:t>
            </a:r>
            <a:r>
              <a:rPr lang="es-MX" sz="3400" b="1" dirty="0">
                <a:solidFill>
                  <a:srgbClr val="004B8E"/>
                </a:solidFill>
                <a:latin typeface="Montserrat" pitchFamily="2" charset="0"/>
              </a:rPr>
              <a:t>Chimborazo</a:t>
            </a:r>
            <a:endParaRPr lang="es-EC" sz="3400" b="1" dirty="0">
              <a:solidFill>
                <a:srgbClr val="004B8E"/>
              </a:solidFill>
              <a:latin typeface="Montserrat" pitchFamily="2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E7DFDB03-30FD-7B5E-14FF-BB241E003D83}"/>
              </a:ext>
            </a:extLst>
          </p:cNvPr>
          <p:cNvSpPr txBox="1"/>
          <p:nvPr/>
        </p:nvSpPr>
        <p:spPr>
          <a:xfrm>
            <a:off x="362186" y="1642688"/>
            <a:ext cx="3816000" cy="830997"/>
          </a:xfrm>
          <a:prstGeom prst="rect">
            <a:avLst/>
          </a:prstGeom>
          <a:solidFill>
            <a:srgbClr val="004B8E">
              <a:alpha val="12000"/>
            </a:srgbClr>
          </a:solidFill>
        </p:spPr>
        <p:txBody>
          <a:bodyPr wrap="square">
            <a:spAutoFit/>
          </a:bodyPr>
          <a:lstStyle/>
          <a:p>
            <a:r>
              <a:rPr lang="es-EC" sz="1600" dirty="0">
                <a:solidFill>
                  <a:srgbClr val="004B8E"/>
                </a:solidFill>
                <a:latin typeface="Montserrat" pitchFamily="2" charset="0"/>
              </a:rPr>
              <a:t>Remodelación del </a:t>
            </a:r>
          </a:p>
          <a:p>
            <a:r>
              <a:rPr lang="es-EC" sz="1600" b="1" dirty="0">
                <a:solidFill>
                  <a:srgbClr val="004B8E"/>
                </a:solidFill>
                <a:latin typeface="Montserrat" pitchFamily="2" charset="0"/>
              </a:rPr>
              <a:t>Centro de Mediación de Riobamb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FC74F815-EDEF-C287-2E79-2A2D78A54426}"/>
              </a:ext>
            </a:extLst>
          </p:cNvPr>
          <p:cNvSpPr txBox="1"/>
          <p:nvPr/>
        </p:nvSpPr>
        <p:spPr>
          <a:xfrm>
            <a:off x="362186" y="2692479"/>
            <a:ext cx="3816000" cy="3557850"/>
          </a:xfrm>
          <a:prstGeom prst="rect">
            <a:avLst/>
          </a:prstGeom>
          <a:solidFill>
            <a:srgbClr val="004B8E">
              <a:alpha val="12000"/>
            </a:srgbClr>
          </a:solidFill>
        </p:spPr>
        <p:txBody>
          <a:bodyPr wrap="square" anchor="ctr" anchorCtr="0">
            <a:noAutofit/>
          </a:bodyPr>
          <a:lstStyle/>
          <a:p>
            <a:r>
              <a:rPr lang="es-MX" sz="1600" b="1" dirty="0">
                <a:solidFill>
                  <a:srgbClr val="004B8E"/>
                </a:solidFill>
                <a:latin typeface="Montserrat" pitchFamily="2" charset="0"/>
              </a:rPr>
              <a:t>Caso “diezmos”</a:t>
            </a:r>
          </a:p>
          <a:p>
            <a:endParaRPr lang="es-MX" sz="1600" dirty="0">
              <a:solidFill>
                <a:srgbClr val="004B8E"/>
              </a:solidFill>
              <a:latin typeface="Montserrat" pitchFamily="2" charset="0"/>
            </a:endParaRPr>
          </a:p>
          <a:p>
            <a:r>
              <a:rPr lang="es-MX" sz="1600" dirty="0">
                <a:solidFill>
                  <a:srgbClr val="004B8E"/>
                </a:solidFill>
                <a:latin typeface="Montserrat" pitchFamily="2" charset="0"/>
              </a:rPr>
              <a:t>Relacionado con descuentos ilegales a servidores públicos por más de 835 mil dólares. </a:t>
            </a:r>
          </a:p>
          <a:p>
            <a:endParaRPr lang="es-MX" sz="1600" dirty="0">
              <a:solidFill>
                <a:srgbClr val="004B8E"/>
              </a:solidFill>
              <a:latin typeface="Montserrat" pitchFamily="2" charset="0"/>
            </a:endParaRPr>
          </a:p>
          <a:p>
            <a:r>
              <a:rPr lang="es-MX" sz="1600" dirty="0">
                <a:solidFill>
                  <a:srgbClr val="004B8E"/>
                </a:solidFill>
                <a:latin typeface="Montserrat" pitchFamily="2" charset="0"/>
              </a:rPr>
              <a:t>En 2025 se logró la ejecución de la sentencia, tras la inadmisión del recurso extraordinario de protección por parte de la Corte Constitucional, lo que permitió sancionar a los responsables y obtener un resultado favorable para el Estado.</a:t>
            </a:r>
            <a:endParaRPr lang="es-EC" sz="1600" b="1" dirty="0">
              <a:solidFill>
                <a:srgbClr val="004B8E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6928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F98B9C-23B6-79E5-83F2-C179DE2809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uadroTexto 27">
            <a:extLst>
              <a:ext uri="{FF2B5EF4-FFF2-40B4-BE49-F238E27FC236}">
                <a16:creationId xmlns:a16="http://schemas.microsoft.com/office/drawing/2014/main" id="{4DDF819C-4E0F-6FDB-0E94-1B7A48C1F622}"/>
              </a:ext>
            </a:extLst>
          </p:cNvPr>
          <p:cNvSpPr txBox="1"/>
          <p:nvPr/>
        </p:nvSpPr>
        <p:spPr>
          <a:xfrm>
            <a:off x="362186" y="432604"/>
            <a:ext cx="49182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100" dirty="0">
                <a:solidFill>
                  <a:srgbClr val="004B8E"/>
                </a:solidFill>
                <a:latin typeface="Montserrat" pitchFamily="2" charset="0"/>
              </a:rPr>
              <a:t>Dirección Regional</a:t>
            </a:r>
          </a:p>
          <a:p>
            <a:r>
              <a:rPr lang="es-MX" sz="3400" b="1" dirty="0">
                <a:solidFill>
                  <a:srgbClr val="004B8E"/>
                </a:solidFill>
                <a:latin typeface="Montserrat" pitchFamily="2" charset="0"/>
              </a:rPr>
              <a:t>Loja</a:t>
            </a:r>
            <a:endParaRPr lang="es-EC" sz="3400" b="1" dirty="0">
              <a:solidFill>
                <a:srgbClr val="004B8E"/>
              </a:solidFill>
              <a:latin typeface="Montserrat" pitchFamily="2" charset="0"/>
            </a:endParaRP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B08A15B2-998F-E1B8-3001-AF5C89560F9A}"/>
              </a:ext>
            </a:extLst>
          </p:cNvPr>
          <p:cNvGrpSpPr/>
          <p:nvPr/>
        </p:nvGrpSpPr>
        <p:grpSpPr>
          <a:xfrm>
            <a:off x="1803229" y="139351"/>
            <a:ext cx="9570172" cy="6579297"/>
            <a:chOff x="1284243" y="250388"/>
            <a:chExt cx="9231357" cy="6354281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C13365E2-A78D-F41D-B845-7652DB3BCA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84243" y="250388"/>
              <a:ext cx="9231357" cy="6354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271CACE-E7B8-2991-59D3-F2F3FB656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075" y="4936670"/>
              <a:ext cx="1069343" cy="1666528"/>
            </a:xfrm>
            <a:custGeom>
              <a:avLst/>
              <a:gdLst>
                <a:gd name="T0" fmla="*/ 534 w 727"/>
                <a:gd name="T1" fmla="*/ 152 h 1133"/>
                <a:gd name="T2" fmla="*/ 555 w 727"/>
                <a:gd name="T3" fmla="*/ 144 h 1133"/>
                <a:gd name="T4" fmla="*/ 726 w 727"/>
                <a:gd name="T5" fmla="*/ 138 h 1133"/>
                <a:gd name="T6" fmla="*/ 708 w 727"/>
                <a:gd name="T7" fmla="*/ 182 h 1133"/>
                <a:gd name="T8" fmla="*/ 709 w 727"/>
                <a:gd name="T9" fmla="*/ 239 h 1133"/>
                <a:gd name="T10" fmla="*/ 693 w 727"/>
                <a:gd name="T11" fmla="*/ 249 h 1133"/>
                <a:gd name="T12" fmla="*/ 681 w 727"/>
                <a:gd name="T13" fmla="*/ 330 h 1133"/>
                <a:gd name="T14" fmla="*/ 656 w 727"/>
                <a:gd name="T15" fmla="*/ 353 h 1133"/>
                <a:gd name="T16" fmla="*/ 642 w 727"/>
                <a:gd name="T17" fmla="*/ 423 h 1133"/>
                <a:gd name="T18" fmla="*/ 609 w 727"/>
                <a:gd name="T19" fmla="*/ 433 h 1133"/>
                <a:gd name="T20" fmla="*/ 592 w 727"/>
                <a:gd name="T21" fmla="*/ 521 h 1133"/>
                <a:gd name="T22" fmla="*/ 526 w 727"/>
                <a:gd name="T23" fmla="*/ 659 h 1133"/>
                <a:gd name="T24" fmla="*/ 536 w 727"/>
                <a:gd name="T25" fmla="*/ 736 h 1133"/>
                <a:gd name="T26" fmla="*/ 530 w 727"/>
                <a:gd name="T27" fmla="*/ 785 h 1133"/>
                <a:gd name="T28" fmla="*/ 522 w 727"/>
                <a:gd name="T29" fmla="*/ 835 h 1133"/>
                <a:gd name="T30" fmla="*/ 407 w 727"/>
                <a:gd name="T31" fmla="*/ 891 h 1133"/>
                <a:gd name="T32" fmla="*/ 357 w 727"/>
                <a:gd name="T33" fmla="*/ 974 h 1133"/>
                <a:gd name="T34" fmla="*/ 353 w 727"/>
                <a:gd name="T35" fmla="*/ 1038 h 1133"/>
                <a:gd name="T36" fmla="*/ 308 w 727"/>
                <a:gd name="T37" fmla="*/ 1084 h 1133"/>
                <a:gd name="T38" fmla="*/ 253 w 727"/>
                <a:gd name="T39" fmla="*/ 1121 h 1133"/>
                <a:gd name="T40" fmla="*/ 221 w 727"/>
                <a:gd name="T41" fmla="*/ 1113 h 1133"/>
                <a:gd name="T42" fmla="*/ 169 w 727"/>
                <a:gd name="T43" fmla="*/ 1101 h 1133"/>
                <a:gd name="T44" fmla="*/ 96 w 727"/>
                <a:gd name="T45" fmla="*/ 1088 h 1133"/>
                <a:gd name="T46" fmla="*/ 62 w 727"/>
                <a:gd name="T47" fmla="*/ 1053 h 1133"/>
                <a:gd name="T48" fmla="*/ 44 w 727"/>
                <a:gd name="T49" fmla="*/ 1023 h 1133"/>
                <a:gd name="T50" fmla="*/ 2 w 727"/>
                <a:gd name="T51" fmla="*/ 983 h 1133"/>
                <a:gd name="T52" fmla="*/ 57 w 727"/>
                <a:gd name="T53" fmla="*/ 901 h 1133"/>
                <a:gd name="T54" fmla="*/ 94 w 727"/>
                <a:gd name="T55" fmla="*/ 845 h 1133"/>
                <a:gd name="T56" fmla="*/ 95 w 727"/>
                <a:gd name="T57" fmla="*/ 798 h 1133"/>
                <a:gd name="T58" fmla="*/ 118 w 727"/>
                <a:gd name="T59" fmla="*/ 773 h 1133"/>
                <a:gd name="T60" fmla="*/ 147 w 727"/>
                <a:gd name="T61" fmla="*/ 779 h 1133"/>
                <a:gd name="T62" fmla="*/ 171 w 727"/>
                <a:gd name="T63" fmla="*/ 792 h 1133"/>
                <a:gd name="T64" fmla="*/ 188 w 727"/>
                <a:gd name="T65" fmla="*/ 776 h 1133"/>
                <a:gd name="T66" fmla="*/ 210 w 727"/>
                <a:gd name="T67" fmla="*/ 759 h 1133"/>
                <a:gd name="T68" fmla="*/ 233 w 727"/>
                <a:gd name="T69" fmla="*/ 728 h 1133"/>
                <a:gd name="T70" fmla="*/ 236 w 727"/>
                <a:gd name="T71" fmla="*/ 668 h 1133"/>
                <a:gd name="T72" fmla="*/ 240 w 727"/>
                <a:gd name="T73" fmla="*/ 592 h 1133"/>
                <a:gd name="T74" fmla="*/ 228 w 727"/>
                <a:gd name="T75" fmla="*/ 569 h 1133"/>
                <a:gd name="T76" fmla="*/ 212 w 727"/>
                <a:gd name="T77" fmla="*/ 560 h 1133"/>
                <a:gd name="T78" fmla="*/ 205 w 727"/>
                <a:gd name="T79" fmla="*/ 547 h 1133"/>
                <a:gd name="T80" fmla="*/ 218 w 727"/>
                <a:gd name="T81" fmla="*/ 475 h 1133"/>
                <a:gd name="T82" fmla="*/ 220 w 727"/>
                <a:gd name="T83" fmla="*/ 404 h 1133"/>
                <a:gd name="T84" fmla="*/ 227 w 727"/>
                <a:gd name="T85" fmla="*/ 365 h 1133"/>
                <a:gd name="T86" fmla="*/ 198 w 727"/>
                <a:gd name="T87" fmla="*/ 319 h 1133"/>
                <a:gd name="T88" fmla="*/ 179 w 727"/>
                <a:gd name="T89" fmla="*/ 274 h 1133"/>
                <a:gd name="T90" fmla="*/ 189 w 727"/>
                <a:gd name="T91" fmla="*/ 263 h 1133"/>
                <a:gd name="T92" fmla="*/ 207 w 727"/>
                <a:gd name="T93" fmla="*/ 260 h 1133"/>
                <a:gd name="T94" fmla="*/ 212 w 727"/>
                <a:gd name="T95" fmla="*/ 237 h 1133"/>
                <a:gd name="T96" fmla="*/ 252 w 727"/>
                <a:gd name="T97" fmla="*/ 208 h 1133"/>
                <a:gd name="T98" fmla="*/ 267 w 727"/>
                <a:gd name="T99" fmla="*/ 192 h 1133"/>
                <a:gd name="T100" fmla="*/ 273 w 727"/>
                <a:gd name="T101" fmla="*/ 114 h 1133"/>
                <a:gd name="T102" fmla="*/ 272 w 727"/>
                <a:gd name="T103" fmla="*/ 87 h 1133"/>
                <a:gd name="T104" fmla="*/ 272 w 727"/>
                <a:gd name="T105" fmla="*/ 59 h 1133"/>
                <a:gd name="T106" fmla="*/ 336 w 727"/>
                <a:gd name="T107" fmla="*/ 13 h 1133"/>
                <a:gd name="T108" fmla="*/ 412 w 727"/>
                <a:gd name="T109" fmla="*/ 49 h 1133"/>
                <a:gd name="T110" fmla="*/ 400 w 727"/>
                <a:gd name="T111" fmla="*/ 68 h 1133"/>
                <a:gd name="T112" fmla="*/ 393 w 727"/>
                <a:gd name="T113" fmla="*/ 84 h 1133"/>
                <a:gd name="T114" fmla="*/ 400 w 727"/>
                <a:gd name="T115" fmla="*/ 117 h 1133"/>
                <a:gd name="T116" fmla="*/ 414 w 727"/>
                <a:gd name="T117" fmla="*/ 134 h 1133"/>
                <a:gd name="T118" fmla="*/ 428 w 727"/>
                <a:gd name="T119" fmla="*/ 150 h 1133"/>
                <a:gd name="T120" fmla="*/ 504 w 727"/>
                <a:gd name="T121" fmla="*/ 165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7" h="1133">
                  <a:moveTo>
                    <a:pt x="520" y="172"/>
                  </a:moveTo>
                  <a:lnTo>
                    <a:pt x="524" y="169"/>
                  </a:lnTo>
                  <a:lnTo>
                    <a:pt x="527" y="164"/>
                  </a:lnTo>
                  <a:lnTo>
                    <a:pt x="534" y="152"/>
                  </a:lnTo>
                  <a:lnTo>
                    <a:pt x="536" y="149"/>
                  </a:lnTo>
                  <a:lnTo>
                    <a:pt x="540" y="147"/>
                  </a:lnTo>
                  <a:lnTo>
                    <a:pt x="546" y="145"/>
                  </a:lnTo>
                  <a:lnTo>
                    <a:pt x="555" y="144"/>
                  </a:lnTo>
                  <a:lnTo>
                    <a:pt x="581" y="147"/>
                  </a:lnTo>
                  <a:lnTo>
                    <a:pt x="594" y="147"/>
                  </a:lnTo>
                  <a:lnTo>
                    <a:pt x="642" y="137"/>
                  </a:lnTo>
                  <a:lnTo>
                    <a:pt x="726" y="138"/>
                  </a:lnTo>
                  <a:lnTo>
                    <a:pt x="727" y="138"/>
                  </a:lnTo>
                  <a:lnTo>
                    <a:pt x="726" y="140"/>
                  </a:lnTo>
                  <a:lnTo>
                    <a:pt x="713" y="167"/>
                  </a:lnTo>
                  <a:lnTo>
                    <a:pt x="708" y="182"/>
                  </a:lnTo>
                  <a:lnTo>
                    <a:pt x="707" y="195"/>
                  </a:lnTo>
                  <a:lnTo>
                    <a:pt x="707" y="218"/>
                  </a:lnTo>
                  <a:lnTo>
                    <a:pt x="711" y="233"/>
                  </a:lnTo>
                  <a:lnTo>
                    <a:pt x="709" y="239"/>
                  </a:lnTo>
                  <a:lnTo>
                    <a:pt x="705" y="243"/>
                  </a:lnTo>
                  <a:lnTo>
                    <a:pt x="696" y="244"/>
                  </a:lnTo>
                  <a:lnTo>
                    <a:pt x="693" y="246"/>
                  </a:lnTo>
                  <a:lnTo>
                    <a:pt x="693" y="249"/>
                  </a:lnTo>
                  <a:lnTo>
                    <a:pt x="693" y="257"/>
                  </a:lnTo>
                  <a:lnTo>
                    <a:pt x="701" y="301"/>
                  </a:lnTo>
                  <a:lnTo>
                    <a:pt x="698" y="314"/>
                  </a:lnTo>
                  <a:lnTo>
                    <a:pt x="681" y="330"/>
                  </a:lnTo>
                  <a:lnTo>
                    <a:pt x="676" y="333"/>
                  </a:lnTo>
                  <a:lnTo>
                    <a:pt x="667" y="337"/>
                  </a:lnTo>
                  <a:lnTo>
                    <a:pt x="663" y="340"/>
                  </a:lnTo>
                  <a:lnTo>
                    <a:pt x="656" y="353"/>
                  </a:lnTo>
                  <a:lnTo>
                    <a:pt x="652" y="366"/>
                  </a:lnTo>
                  <a:lnTo>
                    <a:pt x="644" y="416"/>
                  </a:lnTo>
                  <a:lnTo>
                    <a:pt x="646" y="420"/>
                  </a:lnTo>
                  <a:lnTo>
                    <a:pt x="642" y="423"/>
                  </a:lnTo>
                  <a:lnTo>
                    <a:pt x="633" y="428"/>
                  </a:lnTo>
                  <a:lnTo>
                    <a:pt x="624" y="431"/>
                  </a:lnTo>
                  <a:lnTo>
                    <a:pt x="616" y="431"/>
                  </a:lnTo>
                  <a:lnTo>
                    <a:pt x="609" y="433"/>
                  </a:lnTo>
                  <a:lnTo>
                    <a:pt x="602" y="441"/>
                  </a:lnTo>
                  <a:lnTo>
                    <a:pt x="599" y="451"/>
                  </a:lnTo>
                  <a:lnTo>
                    <a:pt x="599" y="491"/>
                  </a:lnTo>
                  <a:lnTo>
                    <a:pt x="592" y="521"/>
                  </a:lnTo>
                  <a:lnTo>
                    <a:pt x="551" y="606"/>
                  </a:lnTo>
                  <a:lnTo>
                    <a:pt x="545" y="636"/>
                  </a:lnTo>
                  <a:lnTo>
                    <a:pt x="539" y="649"/>
                  </a:lnTo>
                  <a:lnTo>
                    <a:pt x="526" y="659"/>
                  </a:lnTo>
                  <a:lnTo>
                    <a:pt x="521" y="673"/>
                  </a:lnTo>
                  <a:lnTo>
                    <a:pt x="522" y="698"/>
                  </a:lnTo>
                  <a:lnTo>
                    <a:pt x="527" y="723"/>
                  </a:lnTo>
                  <a:lnTo>
                    <a:pt x="536" y="736"/>
                  </a:lnTo>
                  <a:lnTo>
                    <a:pt x="551" y="746"/>
                  </a:lnTo>
                  <a:lnTo>
                    <a:pt x="550" y="757"/>
                  </a:lnTo>
                  <a:lnTo>
                    <a:pt x="539" y="770"/>
                  </a:lnTo>
                  <a:lnTo>
                    <a:pt x="530" y="785"/>
                  </a:lnTo>
                  <a:lnTo>
                    <a:pt x="529" y="797"/>
                  </a:lnTo>
                  <a:lnTo>
                    <a:pt x="529" y="811"/>
                  </a:lnTo>
                  <a:lnTo>
                    <a:pt x="527" y="824"/>
                  </a:lnTo>
                  <a:lnTo>
                    <a:pt x="522" y="835"/>
                  </a:lnTo>
                  <a:lnTo>
                    <a:pt x="504" y="847"/>
                  </a:lnTo>
                  <a:lnTo>
                    <a:pt x="496" y="851"/>
                  </a:lnTo>
                  <a:lnTo>
                    <a:pt x="435" y="876"/>
                  </a:lnTo>
                  <a:lnTo>
                    <a:pt x="407" y="891"/>
                  </a:lnTo>
                  <a:lnTo>
                    <a:pt x="377" y="921"/>
                  </a:lnTo>
                  <a:lnTo>
                    <a:pt x="364" y="937"/>
                  </a:lnTo>
                  <a:lnTo>
                    <a:pt x="356" y="956"/>
                  </a:lnTo>
                  <a:lnTo>
                    <a:pt x="357" y="974"/>
                  </a:lnTo>
                  <a:lnTo>
                    <a:pt x="373" y="1004"/>
                  </a:lnTo>
                  <a:lnTo>
                    <a:pt x="376" y="1020"/>
                  </a:lnTo>
                  <a:lnTo>
                    <a:pt x="368" y="1033"/>
                  </a:lnTo>
                  <a:lnTo>
                    <a:pt x="353" y="1038"/>
                  </a:lnTo>
                  <a:lnTo>
                    <a:pt x="336" y="1038"/>
                  </a:lnTo>
                  <a:lnTo>
                    <a:pt x="322" y="1041"/>
                  </a:lnTo>
                  <a:lnTo>
                    <a:pt x="315" y="1052"/>
                  </a:lnTo>
                  <a:lnTo>
                    <a:pt x="308" y="1084"/>
                  </a:lnTo>
                  <a:lnTo>
                    <a:pt x="302" y="1098"/>
                  </a:lnTo>
                  <a:lnTo>
                    <a:pt x="285" y="1117"/>
                  </a:lnTo>
                  <a:lnTo>
                    <a:pt x="266" y="1133"/>
                  </a:lnTo>
                  <a:lnTo>
                    <a:pt x="253" y="1121"/>
                  </a:lnTo>
                  <a:lnTo>
                    <a:pt x="246" y="1116"/>
                  </a:lnTo>
                  <a:lnTo>
                    <a:pt x="239" y="1112"/>
                  </a:lnTo>
                  <a:lnTo>
                    <a:pt x="232" y="1111"/>
                  </a:lnTo>
                  <a:lnTo>
                    <a:pt x="221" y="1113"/>
                  </a:lnTo>
                  <a:lnTo>
                    <a:pt x="214" y="1114"/>
                  </a:lnTo>
                  <a:lnTo>
                    <a:pt x="202" y="1111"/>
                  </a:lnTo>
                  <a:lnTo>
                    <a:pt x="181" y="1104"/>
                  </a:lnTo>
                  <a:lnTo>
                    <a:pt x="169" y="1101"/>
                  </a:lnTo>
                  <a:lnTo>
                    <a:pt x="153" y="1103"/>
                  </a:lnTo>
                  <a:lnTo>
                    <a:pt x="121" y="1104"/>
                  </a:lnTo>
                  <a:lnTo>
                    <a:pt x="106" y="1099"/>
                  </a:lnTo>
                  <a:lnTo>
                    <a:pt x="96" y="1088"/>
                  </a:lnTo>
                  <a:lnTo>
                    <a:pt x="89" y="1074"/>
                  </a:lnTo>
                  <a:lnTo>
                    <a:pt x="80" y="1061"/>
                  </a:lnTo>
                  <a:lnTo>
                    <a:pt x="75" y="1057"/>
                  </a:lnTo>
                  <a:lnTo>
                    <a:pt x="62" y="1053"/>
                  </a:lnTo>
                  <a:lnTo>
                    <a:pt x="55" y="1048"/>
                  </a:lnTo>
                  <a:lnTo>
                    <a:pt x="52" y="1042"/>
                  </a:lnTo>
                  <a:lnTo>
                    <a:pt x="48" y="1029"/>
                  </a:lnTo>
                  <a:lnTo>
                    <a:pt x="44" y="1023"/>
                  </a:lnTo>
                  <a:lnTo>
                    <a:pt x="32" y="1015"/>
                  </a:lnTo>
                  <a:lnTo>
                    <a:pt x="18" y="1007"/>
                  </a:lnTo>
                  <a:lnTo>
                    <a:pt x="7" y="997"/>
                  </a:lnTo>
                  <a:lnTo>
                    <a:pt x="2" y="983"/>
                  </a:lnTo>
                  <a:lnTo>
                    <a:pt x="0" y="971"/>
                  </a:lnTo>
                  <a:lnTo>
                    <a:pt x="6" y="968"/>
                  </a:lnTo>
                  <a:lnTo>
                    <a:pt x="35" y="937"/>
                  </a:lnTo>
                  <a:lnTo>
                    <a:pt x="57" y="901"/>
                  </a:lnTo>
                  <a:lnTo>
                    <a:pt x="66" y="892"/>
                  </a:lnTo>
                  <a:lnTo>
                    <a:pt x="87" y="862"/>
                  </a:lnTo>
                  <a:lnTo>
                    <a:pt x="91" y="854"/>
                  </a:lnTo>
                  <a:lnTo>
                    <a:pt x="94" y="845"/>
                  </a:lnTo>
                  <a:lnTo>
                    <a:pt x="95" y="838"/>
                  </a:lnTo>
                  <a:lnTo>
                    <a:pt x="92" y="825"/>
                  </a:lnTo>
                  <a:lnTo>
                    <a:pt x="92" y="819"/>
                  </a:lnTo>
                  <a:lnTo>
                    <a:pt x="95" y="798"/>
                  </a:lnTo>
                  <a:lnTo>
                    <a:pt x="106" y="791"/>
                  </a:lnTo>
                  <a:lnTo>
                    <a:pt x="109" y="785"/>
                  </a:lnTo>
                  <a:lnTo>
                    <a:pt x="114" y="778"/>
                  </a:lnTo>
                  <a:lnTo>
                    <a:pt x="118" y="773"/>
                  </a:lnTo>
                  <a:lnTo>
                    <a:pt x="123" y="773"/>
                  </a:lnTo>
                  <a:lnTo>
                    <a:pt x="130" y="774"/>
                  </a:lnTo>
                  <a:lnTo>
                    <a:pt x="139" y="778"/>
                  </a:lnTo>
                  <a:lnTo>
                    <a:pt x="147" y="779"/>
                  </a:lnTo>
                  <a:lnTo>
                    <a:pt x="153" y="782"/>
                  </a:lnTo>
                  <a:lnTo>
                    <a:pt x="159" y="786"/>
                  </a:lnTo>
                  <a:lnTo>
                    <a:pt x="166" y="792"/>
                  </a:lnTo>
                  <a:lnTo>
                    <a:pt x="171" y="792"/>
                  </a:lnTo>
                  <a:lnTo>
                    <a:pt x="175" y="787"/>
                  </a:lnTo>
                  <a:lnTo>
                    <a:pt x="179" y="782"/>
                  </a:lnTo>
                  <a:lnTo>
                    <a:pt x="183" y="779"/>
                  </a:lnTo>
                  <a:lnTo>
                    <a:pt x="188" y="776"/>
                  </a:lnTo>
                  <a:lnTo>
                    <a:pt x="194" y="775"/>
                  </a:lnTo>
                  <a:lnTo>
                    <a:pt x="200" y="773"/>
                  </a:lnTo>
                  <a:lnTo>
                    <a:pt x="205" y="769"/>
                  </a:lnTo>
                  <a:lnTo>
                    <a:pt x="210" y="759"/>
                  </a:lnTo>
                  <a:lnTo>
                    <a:pt x="220" y="745"/>
                  </a:lnTo>
                  <a:lnTo>
                    <a:pt x="227" y="737"/>
                  </a:lnTo>
                  <a:lnTo>
                    <a:pt x="231" y="733"/>
                  </a:lnTo>
                  <a:lnTo>
                    <a:pt x="233" y="728"/>
                  </a:lnTo>
                  <a:lnTo>
                    <a:pt x="237" y="706"/>
                  </a:lnTo>
                  <a:lnTo>
                    <a:pt x="238" y="692"/>
                  </a:lnTo>
                  <a:lnTo>
                    <a:pt x="237" y="676"/>
                  </a:lnTo>
                  <a:lnTo>
                    <a:pt x="236" y="668"/>
                  </a:lnTo>
                  <a:lnTo>
                    <a:pt x="241" y="630"/>
                  </a:lnTo>
                  <a:lnTo>
                    <a:pt x="239" y="613"/>
                  </a:lnTo>
                  <a:lnTo>
                    <a:pt x="240" y="604"/>
                  </a:lnTo>
                  <a:lnTo>
                    <a:pt x="240" y="592"/>
                  </a:lnTo>
                  <a:lnTo>
                    <a:pt x="239" y="587"/>
                  </a:lnTo>
                  <a:lnTo>
                    <a:pt x="237" y="581"/>
                  </a:lnTo>
                  <a:lnTo>
                    <a:pt x="231" y="573"/>
                  </a:lnTo>
                  <a:lnTo>
                    <a:pt x="228" y="569"/>
                  </a:lnTo>
                  <a:lnTo>
                    <a:pt x="225" y="566"/>
                  </a:lnTo>
                  <a:lnTo>
                    <a:pt x="222" y="564"/>
                  </a:lnTo>
                  <a:lnTo>
                    <a:pt x="215" y="561"/>
                  </a:lnTo>
                  <a:lnTo>
                    <a:pt x="212" y="560"/>
                  </a:lnTo>
                  <a:lnTo>
                    <a:pt x="210" y="558"/>
                  </a:lnTo>
                  <a:lnTo>
                    <a:pt x="209" y="555"/>
                  </a:lnTo>
                  <a:lnTo>
                    <a:pt x="207" y="552"/>
                  </a:lnTo>
                  <a:lnTo>
                    <a:pt x="205" y="547"/>
                  </a:lnTo>
                  <a:lnTo>
                    <a:pt x="206" y="537"/>
                  </a:lnTo>
                  <a:lnTo>
                    <a:pt x="207" y="523"/>
                  </a:lnTo>
                  <a:lnTo>
                    <a:pt x="217" y="485"/>
                  </a:lnTo>
                  <a:lnTo>
                    <a:pt x="218" y="475"/>
                  </a:lnTo>
                  <a:lnTo>
                    <a:pt x="214" y="455"/>
                  </a:lnTo>
                  <a:lnTo>
                    <a:pt x="213" y="439"/>
                  </a:lnTo>
                  <a:lnTo>
                    <a:pt x="215" y="419"/>
                  </a:lnTo>
                  <a:lnTo>
                    <a:pt x="220" y="404"/>
                  </a:lnTo>
                  <a:lnTo>
                    <a:pt x="225" y="390"/>
                  </a:lnTo>
                  <a:lnTo>
                    <a:pt x="228" y="382"/>
                  </a:lnTo>
                  <a:lnTo>
                    <a:pt x="228" y="376"/>
                  </a:lnTo>
                  <a:lnTo>
                    <a:pt x="227" y="365"/>
                  </a:lnTo>
                  <a:lnTo>
                    <a:pt x="225" y="358"/>
                  </a:lnTo>
                  <a:lnTo>
                    <a:pt x="218" y="344"/>
                  </a:lnTo>
                  <a:lnTo>
                    <a:pt x="205" y="329"/>
                  </a:lnTo>
                  <a:lnTo>
                    <a:pt x="198" y="319"/>
                  </a:lnTo>
                  <a:lnTo>
                    <a:pt x="188" y="296"/>
                  </a:lnTo>
                  <a:lnTo>
                    <a:pt x="182" y="285"/>
                  </a:lnTo>
                  <a:lnTo>
                    <a:pt x="181" y="279"/>
                  </a:lnTo>
                  <a:lnTo>
                    <a:pt x="179" y="274"/>
                  </a:lnTo>
                  <a:lnTo>
                    <a:pt x="180" y="268"/>
                  </a:lnTo>
                  <a:lnTo>
                    <a:pt x="182" y="265"/>
                  </a:lnTo>
                  <a:lnTo>
                    <a:pt x="185" y="264"/>
                  </a:lnTo>
                  <a:lnTo>
                    <a:pt x="189" y="263"/>
                  </a:lnTo>
                  <a:lnTo>
                    <a:pt x="193" y="264"/>
                  </a:lnTo>
                  <a:lnTo>
                    <a:pt x="200" y="263"/>
                  </a:lnTo>
                  <a:lnTo>
                    <a:pt x="204" y="262"/>
                  </a:lnTo>
                  <a:lnTo>
                    <a:pt x="207" y="260"/>
                  </a:lnTo>
                  <a:lnTo>
                    <a:pt x="210" y="255"/>
                  </a:lnTo>
                  <a:lnTo>
                    <a:pt x="210" y="251"/>
                  </a:lnTo>
                  <a:lnTo>
                    <a:pt x="210" y="241"/>
                  </a:lnTo>
                  <a:lnTo>
                    <a:pt x="212" y="237"/>
                  </a:lnTo>
                  <a:lnTo>
                    <a:pt x="222" y="228"/>
                  </a:lnTo>
                  <a:lnTo>
                    <a:pt x="227" y="226"/>
                  </a:lnTo>
                  <a:lnTo>
                    <a:pt x="240" y="210"/>
                  </a:lnTo>
                  <a:lnTo>
                    <a:pt x="252" y="208"/>
                  </a:lnTo>
                  <a:lnTo>
                    <a:pt x="257" y="206"/>
                  </a:lnTo>
                  <a:lnTo>
                    <a:pt x="261" y="204"/>
                  </a:lnTo>
                  <a:lnTo>
                    <a:pt x="265" y="199"/>
                  </a:lnTo>
                  <a:lnTo>
                    <a:pt x="267" y="192"/>
                  </a:lnTo>
                  <a:lnTo>
                    <a:pt x="275" y="153"/>
                  </a:lnTo>
                  <a:lnTo>
                    <a:pt x="271" y="130"/>
                  </a:lnTo>
                  <a:lnTo>
                    <a:pt x="272" y="122"/>
                  </a:lnTo>
                  <a:lnTo>
                    <a:pt x="273" y="114"/>
                  </a:lnTo>
                  <a:lnTo>
                    <a:pt x="277" y="101"/>
                  </a:lnTo>
                  <a:lnTo>
                    <a:pt x="277" y="96"/>
                  </a:lnTo>
                  <a:lnTo>
                    <a:pt x="275" y="92"/>
                  </a:lnTo>
                  <a:lnTo>
                    <a:pt x="272" y="87"/>
                  </a:lnTo>
                  <a:lnTo>
                    <a:pt x="269" y="78"/>
                  </a:lnTo>
                  <a:lnTo>
                    <a:pt x="267" y="72"/>
                  </a:lnTo>
                  <a:lnTo>
                    <a:pt x="269" y="67"/>
                  </a:lnTo>
                  <a:lnTo>
                    <a:pt x="272" y="59"/>
                  </a:lnTo>
                  <a:lnTo>
                    <a:pt x="278" y="50"/>
                  </a:lnTo>
                  <a:lnTo>
                    <a:pt x="287" y="42"/>
                  </a:lnTo>
                  <a:lnTo>
                    <a:pt x="299" y="33"/>
                  </a:lnTo>
                  <a:lnTo>
                    <a:pt x="336" y="13"/>
                  </a:lnTo>
                  <a:lnTo>
                    <a:pt x="350" y="0"/>
                  </a:lnTo>
                  <a:lnTo>
                    <a:pt x="405" y="39"/>
                  </a:lnTo>
                  <a:lnTo>
                    <a:pt x="409" y="44"/>
                  </a:lnTo>
                  <a:lnTo>
                    <a:pt x="412" y="49"/>
                  </a:lnTo>
                  <a:lnTo>
                    <a:pt x="412" y="53"/>
                  </a:lnTo>
                  <a:lnTo>
                    <a:pt x="410" y="57"/>
                  </a:lnTo>
                  <a:lnTo>
                    <a:pt x="407" y="60"/>
                  </a:lnTo>
                  <a:lnTo>
                    <a:pt x="400" y="68"/>
                  </a:lnTo>
                  <a:lnTo>
                    <a:pt x="396" y="71"/>
                  </a:lnTo>
                  <a:lnTo>
                    <a:pt x="393" y="75"/>
                  </a:lnTo>
                  <a:lnTo>
                    <a:pt x="393" y="80"/>
                  </a:lnTo>
                  <a:lnTo>
                    <a:pt x="393" y="84"/>
                  </a:lnTo>
                  <a:lnTo>
                    <a:pt x="396" y="94"/>
                  </a:lnTo>
                  <a:lnTo>
                    <a:pt x="397" y="106"/>
                  </a:lnTo>
                  <a:lnTo>
                    <a:pt x="399" y="112"/>
                  </a:lnTo>
                  <a:lnTo>
                    <a:pt x="400" y="117"/>
                  </a:lnTo>
                  <a:lnTo>
                    <a:pt x="403" y="121"/>
                  </a:lnTo>
                  <a:lnTo>
                    <a:pt x="406" y="125"/>
                  </a:lnTo>
                  <a:lnTo>
                    <a:pt x="412" y="130"/>
                  </a:lnTo>
                  <a:lnTo>
                    <a:pt x="414" y="134"/>
                  </a:lnTo>
                  <a:lnTo>
                    <a:pt x="416" y="137"/>
                  </a:lnTo>
                  <a:lnTo>
                    <a:pt x="417" y="143"/>
                  </a:lnTo>
                  <a:lnTo>
                    <a:pt x="420" y="146"/>
                  </a:lnTo>
                  <a:lnTo>
                    <a:pt x="428" y="150"/>
                  </a:lnTo>
                  <a:lnTo>
                    <a:pt x="446" y="152"/>
                  </a:lnTo>
                  <a:lnTo>
                    <a:pt x="474" y="160"/>
                  </a:lnTo>
                  <a:lnTo>
                    <a:pt x="497" y="163"/>
                  </a:lnTo>
                  <a:lnTo>
                    <a:pt x="504" y="165"/>
                  </a:lnTo>
                  <a:lnTo>
                    <a:pt x="516" y="171"/>
                  </a:lnTo>
                  <a:lnTo>
                    <a:pt x="520" y="172"/>
                  </a:lnTo>
                  <a:close/>
                </a:path>
              </a:pathLst>
            </a:custGeom>
            <a:solidFill>
              <a:srgbClr val="004B8E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A46ACB12-3755-3170-CF75-C11A88851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185" y="2611180"/>
              <a:ext cx="800169" cy="554529"/>
            </a:xfrm>
            <a:custGeom>
              <a:avLst/>
              <a:gdLst>
                <a:gd name="T0" fmla="*/ 417 w 544"/>
                <a:gd name="T1" fmla="*/ 120 h 377"/>
                <a:gd name="T2" fmla="*/ 435 w 544"/>
                <a:gd name="T3" fmla="*/ 118 h 377"/>
                <a:gd name="T4" fmla="*/ 454 w 544"/>
                <a:gd name="T5" fmla="*/ 122 h 377"/>
                <a:gd name="T6" fmla="*/ 473 w 544"/>
                <a:gd name="T7" fmla="*/ 118 h 377"/>
                <a:gd name="T8" fmla="*/ 478 w 544"/>
                <a:gd name="T9" fmla="*/ 124 h 377"/>
                <a:gd name="T10" fmla="*/ 482 w 544"/>
                <a:gd name="T11" fmla="*/ 132 h 377"/>
                <a:gd name="T12" fmla="*/ 494 w 544"/>
                <a:gd name="T13" fmla="*/ 131 h 377"/>
                <a:gd name="T14" fmla="*/ 503 w 544"/>
                <a:gd name="T15" fmla="*/ 147 h 377"/>
                <a:gd name="T16" fmla="*/ 537 w 544"/>
                <a:gd name="T17" fmla="*/ 154 h 377"/>
                <a:gd name="T18" fmla="*/ 543 w 544"/>
                <a:gd name="T19" fmla="*/ 164 h 377"/>
                <a:gd name="T20" fmla="*/ 544 w 544"/>
                <a:gd name="T21" fmla="*/ 253 h 377"/>
                <a:gd name="T22" fmla="*/ 540 w 544"/>
                <a:gd name="T23" fmla="*/ 274 h 377"/>
                <a:gd name="T24" fmla="*/ 505 w 544"/>
                <a:gd name="T25" fmla="*/ 324 h 377"/>
                <a:gd name="T26" fmla="*/ 486 w 544"/>
                <a:gd name="T27" fmla="*/ 342 h 377"/>
                <a:gd name="T28" fmla="*/ 465 w 544"/>
                <a:gd name="T29" fmla="*/ 350 h 377"/>
                <a:gd name="T30" fmla="*/ 425 w 544"/>
                <a:gd name="T31" fmla="*/ 346 h 377"/>
                <a:gd name="T32" fmla="*/ 403 w 544"/>
                <a:gd name="T33" fmla="*/ 356 h 377"/>
                <a:gd name="T34" fmla="*/ 385 w 544"/>
                <a:gd name="T35" fmla="*/ 377 h 377"/>
                <a:gd name="T36" fmla="*/ 377 w 544"/>
                <a:gd name="T37" fmla="*/ 357 h 377"/>
                <a:gd name="T38" fmla="*/ 370 w 544"/>
                <a:gd name="T39" fmla="*/ 352 h 377"/>
                <a:gd name="T40" fmla="*/ 354 w 544"/>
                <a:gd name="T41" fmla="*/ 344 h 377"/>
                <a:gd name="T42" fmla="*/ 333 w 544"/>
                <a:gd name="T43" fmla="*/ 338 h 377"/>
                <a:gd name="T44" fmla="*/ 308 w 544"/>
                <a:gd name="T45" fmla="*/ 324 h 377"/>
                <a:gd name="T46" fmla="*/ 293 w 544"/>
                <a:gd name="T47" fmla="*/ 320 h 377"/>
                <a:gd name="T48" fmla="*/ 282 w 544"/>
                <a:gd name="T49" fmla="*/ 338 h 377"/>
                <a:gd name="T50" fmla="*/ 268 w 544"/>
                <a:gd name="T51" fmla="*/ 347 h 377"/>
                <a:gd name="T52" fmla="*/ 246 w 544"/>
                <a:gd name="T53" fmla="*/ 344 h 377"/>
                <a:gd name="T54" fmla="*/ 222 w 544"/>
                <a:gd name="T55" fmla="*/ 350 h 377"/>
                <a:gd name="T56" fmla="*/ 189 w 544"/>
                <a:gd name="T57" fmla="*/ 352 h 377"/>
                <a:gd name="T58" fmla="*/ 137 w 544"/>
                <a:gd name="T59" fmla="*/ 338 h 377"/>
                <a:gd name="T60" fmla="*/ 103 w 544"/>
                <a:gd name="T61" fmla="*/ 315 h 377"/>
                <a:gd name="T62" fmla="*/ 86 w 544"/>
                <a:gd name="T63" fmla="*/ 308 h 377"/>
                <a:gd name="T64" fmla="*/ 68 w 544"/>
                <a:gd name="T65" fmla="*/ 313 h 377"/>
                <a:gd name="T66" fmla="*/ 32 w 544"/>
                <a:gd name="T67" fmla="*/ 331 h 377"/>
                <a:gd name="T68" fmla="*/ 19 w 544"/>
                <a:gd name="T69" fmla="*/ 314 h 377"/>
                <a:gd name="T70" fmla="*/ 0 w 544"/>
                <a:gd name="T71" fmla="*/ 280 h 377"/>
                <a:gd name="T72" fmla="*/ 12 w 544"/>
                <a:gd name="T73" fmla="*/ 235 h 377"/>
                <a:gd name="T74" fmla="*/ 24 w 544"/>
                <a:gd name="T75" fmla="*/ 204 h 377"/>
                <a:gd name="T76" fmla="*/ 26 w 544"/>
                <a:gd name="T77" fmla="*/ 170 h 377"/>
                <a:gd name="T78" fmla="*/ 60 w 544"/>
                <a:gd name="T79" fmla="*/ 136 h 377"/>
                <a:gd name="T80" fmla="*/ 95 w 544"/>
                <a:gd name="T81" fmla="*/ 115 h 377"/>
                <a:gd name="T82" fmla="*/ 120 w 544"/>
                <a:gd name="T83" fmla="*/ 112 h 377"/>
                <a:gd name="T84" fmla="*/ 167 w 544"/>
                <a:gd name="T85" fmla="*/ 120 h 377"/>
                <a:gd name="T86" fmla="*/ 190 w 544"/>
                <a:gd name="T87" fmla="*/ 111 h 377"/>
                <a:gd name="T88" fmla="*/ 213 w 544"/>
                <a:gd name="T89" fmla="*/ 96 h 377"/>
                <a:gd name="T90" fmla="*/ 237 w 544"/>
                <a:gd name="T91" fmla="*/ 93 h 377"/>
                <a:gd name="T92" fmla="*/ 243 w 544"/>
                <a:gd name="T93" fmla="*/ 84 h 377"/>
                <a:gd name="T94" fmla="*/ 244 w 544"/>
                <a:gd name="T95" fmla="*/ 71 h 377"/>
                <a:gd name="T96" fmla="*/ 257 w 544"/>
                <a:gd name="T97" fmla="*/ 64 h 377"/>
                <a:gd name="T98" fmla="*/ 269 w 544"/>
                <a:gd name="T99" fmla="*/ 66 h 377"/>
                <a:gd name="T100" fmla="*/ 278 w 544"/>
                <a:gd name="T101" fmla="*/ 72 h 377"/>
                <a:gd name="T102" fmla="*/ 292 w 544"/>
                <a:gd name="T103" fmla="*/ 79 h 377"/>
                <a:gd name="T104" fmla="*/ 317 w 544"/>
                <a:gd name="T105" fmla="*/ 74 h 377"/>
                <a:gd name="T106" fmla="*/ 331 w 544"/>
                <a:gd name="T107" fmla="*/ 54 h 377"/>
                <a:gd name="T108" fmla="*/ 331 w 544"/>
                <a:gd name="T109" fmla="*/ 35 h 377"/>
                <a:gd name="T110" fmla="*/ 337 w 544"/>
                <a:gd name="T111" fmla="*/ 21 h 377"/>
                <a:gd name="T112" fmla="*/ 359 w 544"/>
                <a:gd name="T113" fmla="*/ 0 h 377"/>
                <a:gd name="T114" fmla="*/ 390 w 544"/>
                <a:gd name="T115" fmla="*/ 43 h 377"/>
                <a:gd name="T116" fmla="*/ 399 w 544"/>
                <a:gd name="T117" fmla="*/ 64 h 377"/>
                <a:gd name="T118" fmla="*/ 398 w 544"/>
                <a:gd name="T119" fmla="*/ 105 h 377"/>
                <a:gd name="T120" fmla="*/ 390 w 544"/>
                <a:gd name="T121" fmla="*/ 123 h 377"/>
                <a:gd name="T122" fmla="*/ 390 w 544"/>
                <a:gd name="T123" fmla="*/ 13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" h="377">
                  <a:moveTo>
                    <a:pt x="395" y="134"/>
                  </a:moveTo>
                  <a:lnTo>
                    <a:pt x="417" y="120"/>
                  </a:lnTo>
                  <a:lnTo>
                    <a:pt x="426" y="118"/>
                  </a:lnTo>
                  <a:lnTo>
                    <a:pt x="435" y="118"/>
                  </a:lnTo>
                  <a:lnTo>
                    <a:pt x="449" y="121"/>
                  </a:lnTo>
                  <a:lnTo>
                    <a:pt x="454" y="122"/>
                  </a:lnTo>
                  <a:lnTo>
                    <a:pt x="466" y="119"/>
                  </a:lnTo>
                  <a:lnTo>
                    <a:pt x="473" y="118"/>
                  </a:lnTo>
                  <a:lnTo>
                    <a:pt x="476" y="120"/>
                  </a:lnTo>
                  <a:lnTo>
                    <a:pt x="478" y="124"/>
                  </a:lnTo>
                  <a:lnTo>
                    <a:pt x="479" y="131"/>
                  </a:lnTo>
                  <a:lnTo>
                    <a:pt x="482" y="132"/>
                  </a:lnTo>
                  <a:lnTo>
                    <a:pt x="490" y="131"/>
                  </a:lnTo>
                  <a:lnTo>
                    <a:pt x="494" y="131"/>
                  </a:lnTo>
                  <a:lnTo>
                    <a:pt x="497" y="134"/>
                  </a:lnTo>
                  <a:lnTo>
                    <a:pt x="503" y="147"/>
                  </a:lnTo>
                  <a:lnTo>
                    <a:pt x="514" y="150"/>
                  </a:lnTo>
                  <a:lnTo>
                    <a:pt x="537" y="154"/>
                  </a:lnTo>
                  <a:lnTo>
                    <a:pt x="541" y="158"/>
                  </a:lnTo>
                  <a:lnTo>
                    <a:pt x="543" y="164"/>
                  </a:lnTo>
                  <a:lnTo>
                    <a:pt x="543" y="181"/>
                  </a:lnTo>
                  <a:lnTo>
                    <a:pt x="544" y="253"/>
                  </a:lnTo>
                  <a:lnTo>
                    <a:pt x="543" y="264"/>
                  </a:lnTo>
                  <a:lnTo>
                    <a:pt x="540" y="274"/>
                  </a:lnTo>
                  <a:lnTo>
                    <a:pt x="521" y="308"/>
                  </a:lnTo>
                  <a:lnTo>
                    <a:pt x="505" y="324"/>
                  </a:lnTo>
                  <a:lnTo>
                    <a:pt x="492" y="337"/>
                  </a:lnTo>
                  <a:lnTo>
                    <a:pt x="486" y="342"/>
                  </a:lnTo>
                  <a:lnTo>
                    <a:pt x="475" y="346"/>
                  </a:lnTo>
                  <a:lnTo>
                    <a:pt x="465" y="350"/>
                  </a:lnTo>
                  <a:lnTo>
                    <a:pt x="448" y="351"/>
                  </a:lnTo>
                  <a:lnTo>
                    <a:pt x="425" y="346"/>
                  </a:lnTo>
                  <a:lnTo>
                    <a:pt x="416" y="349"/>
                  </a:lnTo>
                  <a:lnTo>
                    <a:pt x="403" y="356"/>
                  </a:lnTo>
                  <a:lnTo>
                    <a:pt x="396" y="362"/>
                  </a:lnTo>
                  <a:lnTo>
                    <a:pt x="385" y="377"/>
                  </a:lnTo>
                  <a:lnTo>
                    <a:pt x="380" y="369"/>
                  </a:lnTo>
                  <a:lnTo>
                    <a:pt x="377" y="357"/>
                  </a:lnTo>
                  <a:lnTo>
                    <a:pt x="374" y="354"/>
                  </a:lnTo>
                  <a:lnTo>
                    <a:pt x="370" y="352"/>
                  </a:lnTo>
                  <a:lnTo>
                    <a:pt x="361" y="349"/>
                  </a:lnTo>
                  <a:lnTo>
                    <a:pt x="354" y="344"/>
                  </a:lnTo>
                  <a:lnTo>
                    <a:pt x="346" y="341"/>
                  </a:lnTo>
                  <a:lnTo>
                    <a:pt x="333" y="338"/>
                  </a:lnTo>
                  <a:lnTo>
                    <a:pt x="324" y="333"/>
                  </a:lnTo>
                  <a:lnTo>
                    <a:pt x="308" y="324"/>
                  </a:lnTo>
                  <a:lnTo>
                    <a:pt x="299" y="319"/>
                  </a:lnTo>
                  <a:lnTo>
                    <a:pt x="293" y="320"/>
                  </a:lnTo>
                  <a:lnTo>
                    <a:pt x="286" y="327"/>
                  </a:lnTo>
                  <a:lnTo>
                    <a:pt x="282" y="338"/>
                  </a:lnTo>
                  <a:lnTo>
                    <a:pt x="277" y="345"/>
                  </a:lnTo>
                  <a:lnTo>
                    <a:pt x="268" y="347"/>
                  </a:lnTo>
                  <a:lnTo>
                    <a:pt x="257" y="345"/>
                  </a:lnTo>
                  <a:lnTo>
                    <a:pt x="246" y="344"/>
                  </a:lnTo>
                  <a:lnTo>
                    <a:pt x="234" y="345"/>
                  </a:lnTo>
                  <a:lnTo>
                    <a:pt x="222" y="350"/>
                  </a:lnTo>
                  <a:lnTo>
                    <a:pt x="206" y="352"/>
                  </a:lnTo>
                  <a:lnTo>
                    <a:pt x="189" y="352"/>
                  </a:lnTo>
                  <a:lnTo>
                    <a:pt x="153" y="344"/>
                  </a:lnTo>
                  <a:lnTo>
                    <a:pt x="137" y="338"/>
                  </a:lnTo>
                  <a:lnTo>
                    <a:pt x="124" y="330"/>
                  </a:lnTo>
                  <a:lnTo>
                    <a:pt x="103" y="315"/>
                  </a:lnTo>
                  <a:lnTo>
                    <a:pt x="95" y="311"/>
                  </a:lnTo>
                  <a:lnTo>
                    <a:pt x="86" y="308"/>
                  </a:lnTo>
                  <a:lnTo>
                    <a:pt x="76" y="308"/>
                  </a:lnTo>
                  <a:lnTo>
                    <a:pt x="68" y="313"/>
                  </a:lnTo>
                  <a:lnTo>
                    <a:pt x="46" y="327"/>
                  </a:lnTo>
                  <a:lnTo>
                    <a:pt x="32" y="331"/>
                  </a:lnTo>
                  <a:lnTo>
                    <a:pt x="26" y="323"/>
                  </a:lnTo>
                  <a:lnTo>
                    <a:pt x="19" y="314"/>
                  </a:lnTo>
                  <a:lnTo>
                    <a:pt x="3" y="290"/>
                  </a:lnTo>
                  <a:lnTo>
                    <a:pt x="0" y="280"/>
                  </a:lnTo>
                  <a:lnTo>
                    <a:pt x="8" y="247"/>
                  </a:lnTo>
                  <a:lnTo>
                    <a:pt x="12" y="235"/>
                  </a:lnTo>
                  <a:lnTo>
                    <a:pt x="21" y="215"/>
                  </a:lnTo>
                  <a:lnTo>
                    <a:pt x="24" y="204"/>
                  </a:lnTo>
                  <a:lnTo>
                    <a:pt x="25" y="178"/>
                  </a:lnTo>
                  <a:lnTo>
                    <a:pt x="26" y="170"/>
                  </a:lnTo>
                  <a:lnTo>
                    <a:pt x="42" y="144"/>
                  </a:lnTo>
                  <a:lnTo>
                    <a:pt x="60" y="136"/>
                  </a:lnTo>
                  <a:lnTo>
                    <a:pt x="78" y="120"/>
                  </a:lnTo>
                  <a:lnTo>
                    <a:pt x="95" y="115"/>
                  </a:lnTo>
                  <a:lnTo>
                    <a:pt x="108" y="112"/>
                  </a:lnTo>
                  <a:lnTo>
                    <a:pt x="120" y="112"/>
                  </a:lnTo>
                  <a:lnTo>
                    <a:pt x="151" y="119"/>
                  </a:lnTo>
                  <a:lnTo>
                    <a:pt x="167" y="120"/>
                  </a:lnTo>
                  <a:lnTo>
                    <a:pt x="178" y="117"/>
                  </a:lnTo>
                  <a:lnTo>
                    <a:pt x="190" y="111"/>
                  </a:lnTo>
                  <a:lnTo>
                    <a:pt x="205" y="98"/>
                  </a:lnTo>
                  <a:lnTo>
                    <a:pt x="213" y="96"/>
                  </a:lnTo>
                  <a:lnTo>
                    <a:pt x="230" y="95"/>
                  </a:lnTo>
                  <a:lnTo>
                    <a:pt x="237" y="93"/>
                  </a:lnTo>
                  <a:lnTo>
                    <a:pt x="241" y="89"/>
                  </a:lnTo>
                  <a:lnTo>
                    <a:pt x="243" y="84"/>
                  </a:lnTo>
                  <a:lnTo>
                    <a:pt x="243" y="74"/>
                  </a:lnTo>
                  <a:lnTo>
                    <a:pt x="244" y="71"/>
                  </a:lnTo>
                  <a:lnTo>
                    <a:pt x="251" y="65"/>
                  </a:lnTo>
                  <a:lnTo>
                    <a:pt x="257" y="64"/>
                  </a:lnTo>
                  <a:lnTo>
                    <a:pt x="265" y="64"/>
                  </a:lnTo>
                  <a:lnTo>
                    <a:pt x="269" y="66"/>
                  </a:lnTo>
                  <a:lnTo>
                    <a:pt x="274" y="68"/>
                  </a:lnTo>
                  <a:lnTo>
                    <a:pt x="278" y="72"/>
                  </a:lnTo>
                  <a:lnTo>
                    <a:pt x="283" y="77"/>
                  </a:lnTo>
                  <a:lnTo>
                    <a:pt x="292" y="79"/>
                  </a:lnTo>
                  <a:lnTo>
                    <a:pt x="308" y="78"/>
                  </a:lnTo>
                  <a:lnTo>
                    <a:pt x="317" y="74"/>
                  </a:lnTo>
                  <a:lnTo>
                    <a:pt x="322" y="67"/>
                  </a:lnTo>
                  <a:lnTo>
                    <a:pt x="331" y="54"/>
                  </a:lnTo>
                  <a:lnTo>
                    <a:pt x="331" y="42"/>
                  </a:lnTo>
                  <a:lnTo>
                    <a:pt x="331" y="35"/>
                  </a:lnTo>
                  <a:lnTo>
                    <a:pt x="333" y="28"/>
                  </a:lnTo>
                  <a:lnTo>
                    <a:pt x="337" y="21"/>
                  </a:lnTo>
                  <a:lnTo>
                    <a:pt x="339" y="16"/>
                  </a:lnTo>
                  <a:lnTo>
                    <a:pt x="359" y="0"/>
                  </a:lnTo>
                  <a:lnTo>
                    <a:pt x="373" y="22"/>
                  </a:lnTo>
                  <a:lnTo>
                    <a:pt x="390" y="43"/>
                  </a:lnTo>
                  <a:lnTo>
                    <a:pt x="397" y="54"/>
                  </a:lnTo>
                  <a:lnTo>
                    <a:pt x="399" y="64"/>
                  </a:lnTo>
                  <a:lnTo>
                    <a:pt x="399" y="96"/>
                  </a:lnTo>
                  <a:lnTo>
                    <a:pt x="398" y="105"/>
                  </a:lnTo>
                  <a:lnTo>
                    <a:pt x="396" y="112"/>
                  </a:lnTo>
                  <a:lnTo>
                    <a:pt x="390" y="123"/>
                  </a:lnTo>
                  <a:lnTo>
                    <a:pt x="388" y="131"/>
                  </a:lnTo>
                  <a:lnTo>
                    <a:pt x="390" y="134"/>
                  </a:lnTo>
                  <a:lnTo>
                    <a:pt x="395" y="13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AE37ED7C-D5D7-25B3-7123-6DB88FD2A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031" y="1010842"/>
              <a:ext cx="2674093" cy="1284094"/>
            </a:xfrm>
            <a:custGeom>
              <a:avLst/>
              <a:gdLst>
                <a:gd name="T0" fmla="*/ 619 w 1818"/>
                <a:gd name="T1" fmla="*/ 238 h 873"/>
                <a:gd name="T2" fmla="*/ 719 w 1818"/>
                <a:gd name="T3" fmla="*/ 278 h 873"/>
                <a:gd name="T4" fmla="*/ 826 w 1818"/>
                <a:gd name="T5" fmla="*/ 260 h 873"/>
                <a:gd name="T6" fmla="*/ 940 w 1818"/>
                <a:gd name="T7" fmla="*/ 298 h 873"/>
                <a:gd name="T8" fmla="*/ 1041 w 1818"/>
                <a:gd name="T9" fmla="*/ 173 h 873"/>
                <a:gd name="T10" fmla="*/ 1098 w 1818"/>
                <a:gd name="T11" fmla="*/ 145 h 873"/>
                <a:gd name="T12" fmla="*/ 1184 w 1818"/>
                <a:gd name="T13" fmla="*/ 173 h 873"/>
                <a:gd name="T14" fmla="*/ 1239 w 1818"/>
                <a:gd name="T15" fmla="*/ 207 h 873"/>
                <a:gd name="T16" fmla="*/ 1341 w 1818"/>
                <a:gd name="T17" fmla="*/ 283 h 873"/>
                <a:gd name="T18" fmla="*/ 1460 w 1818"/>
                <a:gd name="T19" fmla="*/ 386 h 873"/>
                <a:gd name="T20" fmla="*/ 1569 w 1818"/>
                <a:gd name="T21" fmla="*/ 390 h 873"/>
                <a:gd name="T22" fmla="*/ 1693 w 1818"/>
                <a:gd name="T23" fmla="*/ 474 h 873"/>
                <a:gd name="T24" fmla="*/ 1767 w 1818"/>
                <a:gd name="T25" fmla="*/ 539 h 873"/>
                <a:gd name="T26" fmla="*/ 1637 w 1818"/>
                <a:gd name="T27" fmla="*/ 525 h 873"/>
                <a:gd name="T28" fmla="*/ 1562 w 1818"/>
                <a:gd name="T29" fmla="*/ 517 h 873"/>
                <a:gd name="T30" fmla="*/ 1601 w 1818"/>
                <a:gd name="T31" fmla="*/ 564 h 873"/>
                <a:gd name="T32" fmla="*/ 1685 w 1818"/>
                <a:gd name="T33" fmla="*/ 684 h 873"/>
                <a:gd name="T34" fmla="*/ 1756 w 1818"/>
                <a:gd name="T35" fmla="*/ 758 h 873"/>
                <a:gd name="T36" fmla="*/ 1804 w 1818"/>
                <a:gd name="T37" fmla="*/ 793 h 873"/>
                <a:gd name="T38" fmla="*/ 1818 w 1818"/>
                <a:gd name="T39" fmla="*/ 860 h 873"/>
                <a:gd name="T40" fmla="*/ 1798 w 1818"/>
                <a:gd name="T41" fmla="*/ 860 h 873"/>
                <a:gd name="T42" fmla="*/ 1744 w 1818"/>
                <a:gd name="T43" fmla="*/ 848 h 873"/>
                <a:gd name="T44" fmla="*/ 1719 w 1818"/>
                <a:gd name="T45" fmla="*/ 821 h 873"/>
                <a:gd name="T46" fmla="*/ 1646 w 1818"/>
                <a:gd name="T47" fmla="*/ 812 h 873"/>
                <a:gd name="T48" fmla="*/ 1606 w 1818"/>
                <a:gd name="T49" fmla="*/ 776 h 873"/>
                <a:gd name="T50" fmla="*/ 1579 w 1818"/>
                <a:gd name="T51" fmla="*/ 762 h 873"/>
                <a:gd name="T52" fmla="*/ 1521 w 1818"/>
                <a:gd name="T53" fmla="*/ 753 h 873"/>
                <a:gd name="T54" fmla="*/ 1481 w 1818"/>
                <a:gd name="T55" fmla="*/ 727 h 873"/>
                <a:gd name="T56" fmla="*/ 1424 w 1818"/>
                <a:gd name="T57" fmla="*/ 733 h 873"/>
                <a:gd name="T58" fmla="*/ 1352 w 1818"/>
                <a:gd name="T59" fmla="*/ 732 h 873"/>
                <a:gd name="T60" fmla="*/ 1361 w 1818"/>
                <a:gd name="T61" fmla="*/ 819 h 873"/>
                <a:gd name="T62" fmla="*/ 1263 w 1818"/>
                <a:gd name="T63" fmla="*/ 773 h 873"/>
                <a:gd name="T64" fmla="*/ 1129 w 1818"/>
                <a:gd name="T65" fmla="*/ 741 h 873"/>
                <a:gd name="T66" fmla="*/ 1033 w 1818"/>
                <a:gd name="T67" fmla="*/ 768 h 873"/>
                <a:gd name="T68" fmla="*/ 903 w 1818"/>
                <a:gd name="T69" fmla="*/ 727 h 873"/>
                <a:gd name="T70" fmla="*/ 835 w 1818"/>
                <a:gd name="T71" fmla="*/ 663 h 873"/>
                <a:gd name="T72" fmla="*/ 806 w 1818"/>
                <a:gd name="T73" fmla="*/ 612 h 873"/>
                <a:gd name="T74" fmla="*/ 668 w 1818"/>
                <a:gd name="T75" fmla="*/ 490 h 873"/>
                <a:gd name="T76" fmla="*/ 563 w 1818"/>
                <a:gd name="T77" fmla="*/ 500 h 873"/>
                <a:gd name="T78" fmla="*/ 480 w 1818"/>
                <a:gd name="T79" fmla="*/ 481 h 873"/>
                <a:gd name="T80" fmla="*/ 416 w 1818"/>
                <a:gd name="T81" fmla="*/ 531 h 873"/>
                <a:gd name="T82" fmla="*/ 350 w 1818"/>
                <a:gd name="T83" fmla="*/ 522 h 873"/>
                <a:gd name="T84" fmla="*/ 349 w 1818"/>
                <a:gd name="T85" fmla="*/ 493 h 873"/>
                <a:gd name="T86" fmla="*/ 345 w 1818"/>
                <a:gd name="T87" fmla="*/ 465 h 873"/>
                <a:gd name="T88" fmla="*/ 313 w 1818"/>
                <a:gd name="T89" fmla="*/ 473 h 873"/>
                <a:gd name="T90" fmla="*/ 260 w 1818"/>
                <a:gd name="T91" fmla="*/ 508 h 873"/>
                <a:gd name="T92" fmla="*/ 133 w 1818"/>
                <a:gd name="T93" fmla="*/ 486 h 873"/>
                <a:gd name="T94" fmla="*/ 126 w 1818"/>
                <a:gd name="T95" fmla="*/ 439 h 873"/>
                <a:gd name="T96" fmla="*/ 92 w 1818"/>
                <a:gd name="T97" fmla="*/ 421 h 873"/>
                <a:gd name="T98" fmla="*/ 74 w 1818"/>
                <a:gd name="T99" fmla="*/ 396 h 873"/>
                <a:gd name="T100" fmla="*/ 26 w 1818"/>
                <a:gd name="T101" fmla="*/ 373 h 873"/>
                <a:gd name="T102" fmla="*/ 2 w 1818"/>
                <a:gd name="T103" fmla="*/ 366 h 873"/>
                <a:gd name="T104" fmla="*/ 49 w 1818"/>
                <a:gd name="T105" fmla="*/ 303 h 873"/>
                <a:gd name="T106" fmla="*/ 85 w 1818"/>
                <a:gd name="T107" fmla="*/ 266 h 873"/>
                <a:gd name="T108" fmla="*/ 84 w 1818"/>
                <a:gd name="T109" fmla="*/ 256 h 873"/>
                <a:gd name="T110" fmla="*/ 83 w 1818"/>
                <a:gd name="T111" fmla="*/ 238 h 873"/>
                <a:gd name="T112" fmla="*/ 125 w 1818"/>
                <a:gd name="T113" fmla="*/ 152 h 873"/>
                <a:gd name="T114" fmla="*/ 214 w 1818"/>
                <a:gd name="T115" fmla="*/ 49 h 873"/>
                <a:gd name="T116" fmla="*/ 199 w 1818"/>
                <a:gd name="T117" fmla="*/ 18 h 873"/>
                <a:gd name="T118" fmla="*/ 233 w 1818"/>
                <a:gd name="T119" fmla="*/ 18 h 873"/>
                <a:gd name="T120" fmla="*/ 308 w 1818"/>
                <a:gd name="T121" fmla="*/ 0 h 873"/>
                <a:gd name="T122" fmla="*/ 383 w 1818"/>
                <a:gd name="T123" fmla="*/ 18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18" h="873">
                  <a:moveTo>
                    <a:pt x="511" y="219"/>
                  </a:moveTo>
                  <a:lnTo>
                    <a:pt x="526" y="218"/>
                  </a:lnTo>
                  <a:lnTo>
                    <a:pt x="560" y="206"/>
                  </a:lnTo>
                  <a:lnTo>
                    <a:pt x="571" y="204"/>
                  </a:lnTo>
                  <a:lnTo>
                    <a:pt x="580" y="206"/>
                  </a:lnTo>
                  <a:lnTo>
                    <a:pt x="594" y="209"/>
                  </a:lnTo>
                  <a:lnTo>
                    <a:pt x="619" y="238"/>
                  </a:lnTo>
                  <a:lnTo>
                    <a:pt x="640" y="245"/>
                  </a:lnTo>
                  <a:lnTo>
                    <a:pt x="666" y="245"/>
                  </a:lnTo>
                  <a:lnTo>
                    <a:pt x="675" y="247"/>
                  </a:lnTo>
                  <a:lnTo>
                    <a:pt x="685" y="250"/>
                  </a:lnTo>
                  <a:lnTo>
                    <a:pt x="693" y="256"/>
                  </a:lnTo>
                  <a:lnTo>
                    <a:pt x="707" y="270"/>
                  </a:lnTo>
                  <a:lnTo>
                    <a:pt x="719" y="278"/>
                  </a:lnTo>
                  <a:lnTo>
                    <a:pt x="729" y="282"/>
                  </a:lnTo>
                  <a:lnTo>
                    <a:pt x="739" y="283"/>
                  </a:lnTo>
                  <a:lnTo>
                    <a:pt x="785" y="275"/>
                  </a:lnTo>
                  <a:lnTo>
                    <a:pt x="794" y="276"/>
                  </a:lnTo>
                  <a:lnTo>
                    <a:pt x="818" y="287"/>
                  </a:lnTo>
                  <a:lnTo>
                    <a:pt x="827" y="286"/>
                  </a:lnTo>
                  <a:lnTo>
                    <a:pt x="826" y="260"/>
                  </a:lnTo>
                  <a:lnTo>
                    <a:pt x="834" y="257"/>
                  </a:lnTo>
                  <a:lnTo>
                    <a:pt x="858" y="263"/>
                  </a:lnTo>
                  <a:lnTo>
                    <a:pt x="890" y="266"/>
                  </a:lnTo>
                  <a:lnTo>
                    <a:pt x="900" y="270"/>
                  </a:lnTo>
                  <a:lnTo>
                    <a:pt x="910" y="277"/>
                  </a:lnTo>
                  <a:lnTo>
                    <a:pt x="928" y="293"/>
                  </a:lnTo>
                  <a:lnTo>
                    <a:pt x="940" y="298"/>
                  </a:lnTo>
                  <a:lnTo>
                    <a:pt x="951" y="297"/>
                  </a:lnTo>
                  <a:lnTo>
                    <a:pt x="968" y="288"/>
                  </a:lnTo>
                  <a:lnTo>
                    <a:pt x="1034" y="280"/>
                  </a:lnTo>
                  <a:lnTo>
                    <a:pt x="1046" y="272"/>
                  </a:lnTo>
                  <a:lnTo>
                    <a:pt x="1039" y="227"/>
                  </a:lnTo>
                  <a:lnTo>
                    <a:pt x="1041" y="178"/>
                  </a:lnTo>
                  <a:lnTo>
                    <a:pt x="1041" y="173"/>
                  </a:lnTo>
                  <a:lnTo>
                    <a:pt x="1046" y="174"/>
                  </a:lnTo>
                  <a:lnTo>
                    <a:pt x="1061" y="173"/>
                  </a:lnTo>
                  <a:lnTo>
                    <a:pt x="1068" y="172"/>
                  </a:lnTo>
                  <a:lnTo>
                    <a:pt x="1074" y="170"/>
                  </a:lnTo>
                  <a:lnTo>
                    <a:pt x="1091" y="150"/>
                  </a:lnTo>
                  <a:lnTo>
                    <a:pt x="1095" y="147"/>
                  </a:lnTo>
                  <a:lnTo>
                    <a:pt x="1098" y="145"/>
                  </a:lnTo>
                  <a:lnTo>
                    <a:pt x="1110" y="135"/>
                  </a:lnTo>
                  <a:lnTo>
                    <a:pt x="1118" y="133"/>
                  </a:lnTo>
                  <a:lnTo>
                    <a:pt x="1124" y="136"/>
                  </a:lnTo>
                  <a:lnTo>
                    <a:pt x="1143" y="156"/>
                  </a:lnTo>
                  <a:lnTo>
                    <a:pt x="1156" y="165"/>
                  </a:lnTo>
                  <a:lnTo>
                    <a:pt x="1170" y="170"/>
                  </a:lnTo>
                  <a:lnTo>
                    <a:pt x="1184" y="173"/>
                  </a:lnTo>
                  <a:lnTo>
                    <a:pt x="1200" y="174"/>
                  </a:lnTo>
                  <a:lnTo>
                    <a:pt x="1215" y="174"/>
                  </a:lnTo>
                  <a:lnTo>
                    <a:pt x="1222" y="174"/>
                  </a:lnTo>
                  <a:lnTo>
                    <a:pt x="1228" y="176"/>
                  </a:lnTo>
                  <a:lnTo>
                    <a:pt x="1231" y="184"/>
                  </a:lnTo>
                  <a:lnTo>
                    <a:pt x="1236" y="201"/>
                  </a:lnTo>
                  <a:lnTo>
                    <a:pt x="1239" y="207"/>
                  </a:lnTo>
                  <a:lnTo>
                    <a:pt x="1251" y="207"/>
                  </a:lnTo>
                  <a:lnTo>
                    <a:pt x="1268" y="201"/>
                  </a:lnTo>
                  <a:lnTo>
                    <a:pt x="1283" y="199"/>
                  </a:lnTo>
                  <a:lnTo>
                    <a:pt x="1290" y="209"/>
                  </a:lnTo>
                  <a:lnTo>
                    <a:pt x="1292" y="217"/>
                  </a:lnTo>
                  <a:lnTo>
                    <a:pt x="1338" y="274"/>
                  </a:lnTo>
                  <a:lnTo>
                    <a:pt x="1341" y="283"/>
                  </a:lnTo>
                  <a:lnTo>
                    <a:pt x="1344" y="295"/>
                  </a:lnTo>
                  <a:lnTo>
                    <a:pt x="1352" y="305"/>
                  </a:lnTo>
                  <a:lnTo>
                    <a:pt x="1368" y="322"/>
                  </a:lnTo>
                  <a:lnTo>
                    <a:pt x="1408" y="347"/>
                  </a:lnTo>
                  <a:lnTo>
                    <a:pt x="1415" y="355"/>
                  </a:lnTo>
                  <a:lnTo>
                    <a:pt x="1441" y="376"/>
                  </a:lnTo>
                  <a:lnTo>
                    <a:pt x="1460" y="386"/>
                  </a:lnTo>
                  <a:lnTo>
                    <a:pt x="1471" y="390"/>
                  </a:lnTo>
                  <a:lnTo>
                    <a:pt x="1484" y="393"/>
                  </a:lnTo>
                  <a:lnTo>
                    <a:pt x="1499" y="395"/>
                  </a:lnTo>
                  <a:lnTo>
                    <a:pt x="1514" y="393"/>
                  </a:lnTo>
                  <a:lnTo>
                    <a:pt x="1543" y="387"/>
                  </a:lnTo>
                  <a:lnTo>
                    <a:pt x="1555" y="386"/>
                  </a:lnTo>
                  <a:lnTo>
                    <a:pt x="1569" y="390"/>
                  </a:lnTo>
                  <a:lnTo>
                    <a:pt x="1579" y="400"/>
                  </a:lnTo>
                  <a:lnTo>
                    <a:pt x="1588" y="408"/>
                  </a:lnTo>
                  <a:lnTo>
                    <a:pt x="1595" y="413"/>
                  </a:lnTo>
                  <a:lnTo>
                    <a:pt x="1607" y="417"/>
                  </a:lnTo>
                  <a:lnTo>
                    <a:pt x="1639" y="445"/>
                  </a:lnTo>
                  <a:lnTo>
                    <a:pt x="1678" y="469"/>
                  </a:lnTo>
                  <a:lnTo>
                    <a:pt x="1693" y="474"/>
                  </a:lnTo>
                  <a:lnTo>
                    <a:pt x="1706" y="484"/>
                  </a:lnTo>
                  <a:lnTo>
                    <a:pt x="1744" y="491"/>
                  </a:lnTo>
                  <a:lnTo>
                    <a:pt x="1786" y="507"/>
                  </a:lnTo>
                  <a:lnTo>
                    <a:pt x="1799" y="514"/>
                  </a:lnTo>
                  <a:lnTo>
                    <a:pt x="1791" y="524"/>
                  </a:lnTo>
                  <a:lnTo>
                    <a:pt x="1775" y="535"/>
                  </a:lnTo>
                  <a:lnTo>
                    <a:pt x="1767" y="539"/>
                  </a:lnTo>
                  <a:lnTo>
                    <a:pt x="1758" y="543"/>
                  </a:lnTo>
                  <a:lnTo>
                    <a:pt x="1747" y="543"/>
                  </a:lnTo>
                  <a:lnTo>
                    <a:pt x="1724" y="539"/>
                  </a:lnTo>
                  <a:lnTo>
                    <a:pt x="1719" y="540"/>
                  </a:lnTo>
                  <a:lnTo>
                    <a:pt x="1701" y="552"/>
                  </a:lnTo>
                  <a:lnTo>
                    <a:pt x="1683" y="550"/>
                  </a:lnTo>
                  <a:lnTo>
                    <a:pt x="1637" y="525"/>
                  </a:lnTo>
                  <a:lnTo>
                    <a:pt x="1628" y="523"/>
                  </a:lnTo>
                  <a:lnTo>
                    <a:pt x="1618" y="523"/>
                  </a:lnTo>
                  <a:lnTo>
                    <a:pt x="1606" y="524"/>
                  </a:lnTo>
                  <a:lnTo>
                    <a:pt x="1595" y="522"/>
                  </a:lnTo>
                  <a:lnTo>
                    <a:pt x="1584" y="517"/>
                  </a:lnTo>
                  <a:lnTo>
                    <a:pt x="1572" y="513"/>
                  </a:lnTo>
                  <a:lnTo>
                    <a:pt x="1562" y="517"/>
                  </a:lnTo>
                  <a:lnTo>
                    <a:pt x="1558" y="529"/>
                  </a:lnTo>
                  <a:lnTo>
                    <a:pt x="1561" y="544"/>
                  </a:lnTo>
                  <a:lnTo>
                    <a:pt x="1567" y="557"/>
                  </a:lnTo>
                  <a:lnTo>
                    <a:pt x="1574" y="563"/>
                  </a:lnTo>
                  <a:lnTo>
                    <a:pt x="1580" y="565"/>
                  </a:lnTo>
                  <a:lnTo>
                    <a:pt x="1594" y="564"/>
                  </a:lnTo>
                  <a:lnTo>
                    <a:pt x="1601" y="564"/>
                  </a:lnTo>
                  <a:lnTo>
                    <a:pt x="1610" y="570"/>
                  </a:lnTo>
                  <a:lnTo>
                    <a:pt x="1623" y="583"/>
                  </a:lnTo>
                  <a:lnTo>
                    <a:pt x="1631" y="587"/>
                  </a:lnTo>
                  <a:lnTo>
                    <a:pt x="1645" y="591"/>
                  </a:lnTo>
                  <a:lnTo>
                    <a:pt x="1656" y="599"/>
                  </a:lnTo>
                  <a:lnTo>
                    <a:pt x="1664" y="609"/>
                  </a:lnTo>
                  <a:lnTo>
                    <a:pt x="1685" y="684"/>
                  </a:lnTo>
                  <a:lnTo>
                    <a:pt x="1697" y="713"/>
                  </a:lnTo>
                  <a:lnTo>
                    <a:pt x="1717" y="739"/>
                  </a:lnTo>
                  <a:lnTo>
                    <a:pt x="1730" y="751"/>
                  </a:lnTo>
                  <a:lnTo>
                    <a:pt x="1737" y="755"/>
                  </a:lnTo>
                  <a:lnTo>
                    <a:pt x="1744" y="756"/>
                  </a:lnTo>
                  <a:lnTo>
                    <a:pt x="1753" y="756"/>
                  </a:lnTo>
                  <a:lnTo>
                    <a:pt x="1756" y="758"/>
                  </a:lnTo>
                  <a:lnTo>
                    <a:pt x="1759" y="762"/>
                  </a:lnTo>
                  <a:lnTo>
                    <a:pt x="1785" y="782"/>
                  </a:lnTo>
                  <a:lnTo>
                    <a:pt x="1787" y="785"/>
                  </a:lnTo>
                  <a:lnTo>
                    <a:pt x="1792" y="793"/>
                  </a:lnTo>
                  <a:lnTo>
                    <a:pt x="1794" y="796"/>
                  </a:lnTo>
                  <a:lnTo>
                    <a:pt x="1797" y="796"/>
                  </a:lnTo>
                  <a:lnTo>
                    <a:pt x="1804" y="793"/>
                  </a:lnTo>
                  <a:lnTo>
                    <a:pt x="1807" y="794"/>
                  </a:lnTo>
                  <a:lnTo>
                    <a:pt x="1814" y="806"/>
                  </a:lnTo>
                  <a:lnTo>
                    <a:pt x="1817" y="819"/>
                  </a:lnTo>
                  <a:lnTo>
                    <a:pt x="1814" y="845"/>
                  </a:lnTo>
                  <a:lnTo>
                    <a:pt x="1815" y="850"/>
                  </a:lnTo>
                  <a:lnTo>
                    <a:pt x="1817" y="856"/>
                  </a:lnTo>
                  <a:lnTo>
                    <a:pt x="1818" y="860"/>
                  </a:lnTo>
                  <a:lnTo>
                    <a:pt x="1817" y="867"/>
                  </a:lnTo>
                  <a:lnTo>
                    <a:pt x="1810" y="873"/>
                  </a:lnTo>
                  <a:lnTo>
                    <a:pt x="1809" y="873"/>
                  </a:lnTo>
                  <a:lnTo>
                    <a:pt x="1800" y="873"/>
                  </a:lnTo>
                  <a:lnTo>
                    <a:pt x="1798" y="872"/>
                  </a:lnTo>
                  <a:lnTo>
                    <a:pt x="1797" y="868"/>
                  </a:lnTo>
                  <a:lnTo>
                    <a:pt x="1798" y="860"/>
                  </a:lnTo>
                  <a:lnTo>
                    <a:pt x="1797" y="858"/>
                  </a:lnTo>
                  <a:lnTo>
                    <a:pt x="1795" y="857"/>
                  </a:lnTo>
                  <a:lnTo>
                    <a:pt x="1791" y="858"/>
                  </a:lnTo>
                  <a:lnTo>
                    <a:pt x="1785" y="859"/>
                  </a:lnTo>
                  <a:lnTo>
                    <a:pt x="1778" y="859"/>
                  </a:lnTo>
                  <a:lnTo>
                    <a:pt x="1755" y="853"/>
                  </a:lnTo>
                  <a:lnTo>
                    <a:pt x="1744" y="848"/>
                  </a:lnTo>
                  <a:lnTo>
                    <a:pt x="1737" y="847"/>
                  </a:lnTo>
                  <a:lnTo>
                    <a:pt x="1732" y="845"/>
                  </a:lnTo>
                  <a:lnTo>
                    <a:pt x="1729" y="842"/>
                  </a:lnTo>
                  <a:lnTo>
                    <a:pt x="1727" y="835"/>
                  </a:lnTo>
                  <a:lnTo>
                    <a:pt x="1724" y="829"/>
                  </a:lnTo>
                  <a:lnTo>
                    <a:pt x="1722" y="823"/>
                  </a:lnTo>
                  <a:lnTo>
                    <a:pt x="1719" y="821"/>
                  </a:lnTo>
                  <a:lnTo>
                    <a:pt x="1708" y="821"/>
                  </a:lnTo>
                  <a:lnTo>
                    <a:pt x="1703" y="819"/>
                  </a:lnTo>
                  <a:lnTo>
                    <a:pt x="1695" y="815"/>
                  </a:lnTo>
                  <a:lnTo>
                    <a:pt x="1688" y="812"/>
                  </a:lnTo>
                  <a:lnTo>
                    <a:pt x="1657" y="811"/>
                  </a:lnTo>
                  <a:lnTo>
                    <a:pt x="1653" y="812"/>
                  </a:lnTo>
                  <a:lnTo>
                    <a:pt x="1646" y="812"/>
                  </a:lnTo>
                  <a:lnTo>
                    <a:pt x="1626" y="806"/>
                  </a:lnTo>
                  <a:lnTo>
                    <a:pt x="1617" y="799"/>
                  </a:lnTo>
                  <a:lnTo>
                    <a:pt x="1614" y="795"/>
                  </a:lnTo>
                  <a:lnTo>
                    <a:pt x="1611" y="791"/>
                  </a:lnTo>
                  <a:lnTo>
                    <a:pt x="1608" y="786"/>
                  </a:lnTo>
                  <a:lnTo>
                    <a:pt x="1607" y="779"/>
                  </a:lnTo>
                  <a:lnTo>
                    <a:pt x="1606" y="776"/>
                  </a:lnTo>
                  <a:lnTo>
                    <a:pt x="1604" y="773"/>
                  </a:lnTo>
                  <a:lnTo>
                    <a:pt x="1598" y="778"/>
                  </a:lnTo>
                  <a:lnTo>
                    <a:pt x="1594" y="777"/>
                  </a:lnTo>
                  <a:lnTo>
                    <a:pt x="1592" y="773"/>
                  </a:lnTo>
                  <a:lnTo>
                    <a:pt x="1591" y="769"/>
                  </a:lnTo>
                  <a:lnTo>
                    <a:pt x="1587" y="766"/>
                  </a:lnTo>
                  <a:lnTo>
                    <a:pt x="1579" y="762"/>
                  </a:lnTo>
                  <a:lnTo>
                    <a:pt x="1564" y="755"/>
                  </a:lnTo>
                  <a:lnTo>
                    <a:pt x="1556" y="750"/>
                  </a:lnTo>
                  <a:lnTo>
                    <a:pt x="1550" y="747"/>
                  </a:lnTo>
                  <a:lnTo>
                    <a:pt x="1545" y="747"/>
                  </a:lnTo>
                  <a:lnTo>
                    <a:pt x="1538" y="751"/>
                  </a:lnTo>
                  <a:lnTo>
                    <a:pt x="1528" y="753"/>
                  </a:lnTo>
                  <a:lnTo>
                    <a:pt x="1521" y="753"/>
                  </a:lnTo>
                  <a:lnTo>
                    <a:pt x="1512" y="750"/>
                  </a:lnTo>
                  <a:lnTo>
                    <a:pt x="1508" y="744"/>
                  </a:lnTo>
                  <a:lnTo>
                    <a:pt x="1502" y="734"/>
                  </a:lnTo>
                  <a:lnTo>
                    <a:pt x="1499" y="730"/>
                  </a:lnTo>
                  <a:lnTo>
                    <a:pt x="1493" y="727"/>
                  </a:lnTo>
                  <a:lnTo>
                    <a:pt x="1487" y="726"/>
                  </a:lnTo>
                  <a:lnTo>
                    <a:pt x="1481" y="727"/>
                  </a:lnTo>
                  <a:lnTo>
                    <a:pt x="1474" y="729"/>
                  </a:lnTo>
                  <a:lnTo>
                    <a:pt x="1467" y="731"/>
                  </a:lnTo>
                  <a:lnTo>
                    <a:pt x="1450" y="731"/>
                  </a:lnTo>
                  <a:lnTo>
                    <a:pt x="1444" y="732"/>
                  </a:lnTo>
                  <a:lnTo>
                    <a:pt x="1437" y="734"/>
                  </a:lnTo>
                  <a:lnTo>
                    <a:pt x="1432" y="734"/>
                  </a:lnTo>
                  <a:lnTo>
                    <a:pt x="1424" y="733"/>
                  </a:lnTo>
                  <a:lnTo>
                    <a:pt x="1417" y="728"/>
                  </a:lnTo>
                  <a:lnTo>
                    <a:pt x="1407" y="723"/>
                  </a:lnTo>
                  <a:lnTo>
                    <a:pt x="1395" y="719"/>
                  </a:lnTo>
                  <a:lnTo>
                    <a:pt x="1373" y="719"/>
                  </a:lnTo>
                  <a:lnTo>
                    <a:pt x="1363" y="721"/>
                  </a:lnTo>
                  <a:lnTo>
                    <a:pt x="1354" y="726"/>
                  </a:lnTo>
                  <a:lnTo>
                    <a:pt x="1352" y="732"/>
                  </a:lnTo>
                  <a:lnTo>
                    <a:pt x="1352" y="743"/>
                  </a:lnTo>
                  <a:lnTo>
                    <a:pt x="1358" y="798"/>
                  </a:lnTo>
                  <a:lnTo>
                    <a:pt x="1361" y="806"/>
                  </a:lnTo>
                  <a:lnTo>
                    <a:pt x="1365" y="811"/>
                  </a:lnTo>
                  <a:lnTo>
                    <a:pt x="1366" y="814"/>
                  </a:lnTo>
                  <a:lnTo>
                    <a:pt x="1365" y="817"/>
                  </a:lnTo>
                  <a:lnTo>
                    <a:pt x="1361" y="819"/>
                  </a:lnTo>
                  <a:lnTo>
                    <a:pt x="1354" y="818"/>
                  </a:lnTo>
                  <a:lnTo>
                    <a:pt x="1338" y="817"/>
                  </a:lnTo>
                  <a:lnTo>
                    <a:pt x="1322" y="812"/>
                  </a:lnTo>
                  <a:lnTo>
                    <a:pt x="1307" y="804"/>
                  </a:lnTo>
                  <a:lnTo>
                    <a:pt x="1280" y="784"/>
                  </a:lnTo>
                  <a:lnTo>
                    <a:pt x="1267" y="778"/>
                  </a:lnTo>
                  <a:lnTo>
                    <a:pt x="1263" y="773"/>
                  </a:lnTo>
                  <a:lnTo>
                    <a:pt x="1261" y="757"/>
                  </a:lnTo>
                  <a:lnTo>
                    <a:pt x="1257" y="750"/>
                  </a:lnTo>
                  <a:lnTo>
                    <a:pt x="1253" y="742"/>
                  </a:lnTo>
                  <a:lnTo>
                    <a:pt x="1250" y="739"/>
                  </a:lnTo>
                  <a:lnTo>
                    <a:pt x="1187" y="734"/>
                  </a:lnTo>
                  <a:lnTo>
                    <a:pt x="1135" y="739"/>
                  </a:lnTo>
                  <a:lnTo>
                    <a:pt x="1129" y="741"/>
                  </a:lnTo>
                  <a:lnTo>
                    <a:pt x="1116" y="747"/>
                  </a:lnTo>
                  <a:lnTo>
                    <a:pt x="1094" y="755"/>
                  </a:lnTo>
                  <a:lnTo>
                    <a:pt x="1087" y="757"/>
                  </a:lnTo>
                  <a:lnTo>
                    <a:pt x="1060" y="777"/>
                  </a:lnTo>
                  <a:lnTo>
                    <a:pt x="1044" y="784"/>
                  </a:lnTo>
                  <a:lnTo>
                    <a:pt x="1038" y="778"/>
                  </a:lnTo>
                  <a:lnTo>
                    <a:pt x="1033" y="768"/>
                  </a:lnTo>
                  <a:lnTo>
                    <a:pt x="1022" y="765"/>
                  </a:lnTo>
                  <a:lnTo>
                    <a:pt x="995" y="766"/>
                  </a:lnTo>
                  <a:lnTo>
                    <a:pt x="983" y="759"/>
                  </a:lnTo>
                  <a:lnTo>
                    <a:pt x="948" y="733"/>
                  </a:lnTo>
                  <a:lnTo>
                    <a:pt x="934" y="714"/>
                  </a:lnTo>
                  <a:lnTo>
                    <a:pt x="917" y="718"/>
                  </a:lnTo>
                  <a:lnTo>
                    <a:pt x="903" y="727"/>
                  </a:lnTo>
                  <a:lnTo>
                    <a:pt x="896" y="717"/>
                  </a:lnTo>
                  <a:lnTo>
                    <a:pt x="892" y="712"/>
                  </a:lnTo>
                  <a:lnTo>
                    <a:pt x="886" y="704"/>
                  </a:lnTo>
                  <a:lnTo>
                    <a:pt x="849" y="678"/>
                  </a:lnTo>
                  <a:lnTo>
                    <a:pt x="841" y="672"/>
                  </a:lnTo>
                  <a:lnTo>
                    <a:pt x="837" y="666"/>
                  </a:lnTo>
                  <a:lnTo>
                    <a:pt x="835" y="663"/>
                  </a:lnTo>
                  <a:lnTo>
                    <a:pt x="828" y="652"/>
                  </a:lnTo>
                  <a:lnTo>
                    <a:pt x="823" y="646"/>
                  </a:lnTo>
                  <a:lnTo>
                    <a:pt x="810" y="627"/>
                  </a:lnTo>
                  <a:lnTo>
                    <a:pt x="809" y="623"/>
                  </a:lnTo>
                  <a:lnTo>
                    <a:pt x="809" y="617"/>
                  </a:lnTo>
                  <a:lnTo>
                    <a:pt x="808" y="615"/>
                  </a:lnTo>
                  <a:lnTo>
                    <a:pt x="806" y="612"/>
                  </a:lnTo>
                  <a:lnTo>
                    <a:pt x="785" y="594"/>
                  </a:lnTo>
                  <a:lnTo>
                    <a:pt x="716" y="512"/>
                  </a:lnTo>
                  <a:lnTo>
                    <a:pt x="709" y="500"/>
                  </a:lnTo>
                  <a:lnTo>
                    <a:pt x="705" y="495"/>
                  </a:lnTo>
                  <a:lnTo>
                    <a:pt x="695" y="490"/>
                  </a:lnTo>
                  <a:lnTo>
                    <a:pt x="687" y="486"/>
                  </a:lnTo>
                  <a:lnTo>
                    <a:pt x="668" y="490"/>
                  </a:lnTo>
                  <a:lnTo>
                    <a:pt x="658" y="494"/>
                  </a:lnTo>
                  <a:lnTo>
                    <a:pt x="649" y="498"/>
                  </a:lnTo>
                  <a:lnTo>
                    <a:pt x="641" y="504"/>
                  </a:lnTo>
                  <a:lnTo>
                    <a:pt x="631" y="509"/>
                  </a:lnTo>
                  <a:lnTo>
                    <a:pt x="617" y="511"/>
                  </a:lnTo>
                  <a:lnTo>
                    <a:pt x="600" y="511"/>
                  </a:lnTo>
                  <a:lnTo>
                    <a:pt x="563" y="500"/>
                  </a:lnTo>
                  <a:lnTo>
                    <a:pt x="551" y="498"/>
                  </a:lnTo>
                  <a:lnTo>
                    <a:pt x="540" y="500"/>
                  </a:lnTo>
                  <a:lnTo>
                    <a:pt x="533" y="504"/>
                  </a:lnTo>
                  <a:lnTo>
                    <a:pt x="525" y="505"/>
                  </a:lnTo>
                  <a:lnTo>
                    <a:pt x="518" y="503"/>
                  </a:lnTo>
                  <a:lnTo>
                    <a:pt x="498" y="490"/>
                  </a:lnTo>
                  <a:lnTo>
                    <a:pt x="480" y="481"/>
                  </a:lnTo>
                  <a:lnTo>
                    <a:pt x="469" y="477"/>
                  </a:lnTo>
                  <a:lnTo>
                    <a:pt x="459" y="474"/>
                  </a:lnTo>
                  <a:lnTo>
                    <a:pt x="449" y="482"/>
                  </a:lnTo>
                  <a:lnTo>
                    <a:pt x="432" y="501"/>
                  </a:lnTo>
                  <a:lnTo>
                    <a:pt x="427" y="510"/>
                  </a:lnTo>
                  <a:lnTo>
                    <a:pt x="419" y="525"/>
                  </a:lnTo>
                  <a:lnTo>
                    <a:pt x="416" y="531"/>
                  </a:lnTo>
                  <a:lnTo>
                    <a:pt x="411" y="534"/>
                  </a:lnTo>
                  <a:lnTo>
                    <a:pt x="407" y="536"/>
                  </a:lnTo>
                  <a:lnTo>
                    <a:pt x="399" y="537"/>
                  </a:lnTo>
                  <a:lnTo>
                    <a:pt x="388" y="536"/>
                  </a:lnTo>
                  <a:lnTo>
                    <a:pt x="356" y="529"/>
                  </a:lnTo>
                  <a:lnTo>
                    <a:pt x="351" y="526"/>
                  </a:lnTo>
                  <a:lnTo>
                    <a:pt x="350" y="522"/>
                  </a:lnTo>
                  <a:lnTo>
                    <a:pt x="350" y="518"/>
                  </a:lnTo>
                  <a:lnTo>
                    <a:pt x="350" y="513"/>
                  </a:lnTo>
                  <a:lnTo>
                    <a:pt x="351" y="509"/>
                  </a:lnTo>
                  <a:lnTo>
                    <a:pt x="352" y="506"/>
                  </a:lnTo>
                  <a:lnTo>
                    <a:pt x="352" y="503"/>
                  </a:lnTo>
                  <a:lnTo>
                    <a:pt x="349" y="496"/>
                  </a:lnTo>
                  <a:lnTo>
                    <a:pt x="349" y="493"/>
                  </a:lnTo>
                  <a:lnTo>
                    <a:pt x="350" y="490"/>
                  </a:lnTo>
                  <a:lnTo>
                    <a:pt x="352" y="486"/>
                  </a:lnTo>
                  <a:lnTo>
                    <a:pt x="353" y="483"/>
                  </a:lnTo>
                  <a:lnTo>
                    <a:pt x="352" y="480"/>
                  </a:lnTo>
                  <a:lnTo>
                    <a:pt x="350" y="477"/>
                  </a:lnTo>
                  <a:lnTo>
                    <a:pt x="347" y="472"/>
                  </a:lnTo>
                  <a:lnTo>
                    <a:pt x="345" y="465"/>
                  </a:lnTo>
                  <a:lnTo>
                    <a:pt x="342" y="460"/>
                  </a:lnTo>
                  <a:lnTo>
                    <a:pt x="339" y="458"/>
                  </a:lnTo>
                  <a:lnTo>
                    <a:pt x="330" y="461"/>
                  </a:lnTo>
                  <a:lnTo>
                    <a:pt x="321" y="468"/>
                  </a:lnTo>
                  <a:lnTo>
                    <a:pt x="318" y="469"/>
                  </a:lnTo>
                  <a:lnTo>
                    <a:pt x="315" y="470"/>
                  </a:lnTo>
                  <a:lnTo>
                    <a:pt x="313" y="473"/>
                  </a:lnTo>
                  <a:lnTo>
                    <a:pt x="311" y="477"/>
                  </a:lnTo>
                  <a:lnTo>
                    <a:pt x="306" y="480"/>
                  </a:lnTo>
                  <a:lnTo>
                    <a:pt x="300" y="482"/>
                  </a:lnTo>
                  <a:lnTo>
                    <a:pt x="289" y="484"/>
                  </a:lnTo>
                  <a:lnTo>
                    <a:pt x="281" y="488"/>
                  </a:lnTo>
                  <a:lnTo>
                    <a:pt x="267" y="504"/>
                  </a:lnTo>
                  <a:lnTo>
                    <a:pt x="260" y="508"/>
                  </a:lnTo>
                  <a:lnTo>
                    <a:pt x="255" y="509"/>
                  </a:lnTo>
                  <a:lnTo>
                    <a:pt x="248" y="505"/>
                  </a:lnTo>
                  <a:lnTo>
                    <a:pt x="239" y="501"/>
                  </a:lnTo>
                  <a:lnTo>
                    <a:pt x="221" y="497"/>
                  </a:lnTo>
                  <a:lnTo>
                    <a:pt x="154" y="495"/>
                  </a:lnTo>
                  <a:lnTo>
                    <a:pt x="142" y="493"/>
                  </a:lnTo>
                  <a:lnTo>
                    <a:pt x="133" y="486"/>
                  </a:lnTo>
                  <a:lnTo>
                    <a:pt x="129" y="473"/>
                  </a:lnTo>
                  <a:lnTo>
                    <a:pt x="124" y="452"/>
                  </a:lnTo>
                  <a:lnTo>
                    <a:pt x="124" y="445"/>
                  </a:lnTo>
                  <a:lnTo>
                    <a:pt x="124" y="442"/>
                  </a:lnTo>
                  <a:lnTo>
                    <a:pt x="125" y="441"/>
                  </a:lnTo>
                  <a:lnTo>
                    <a:pt x="126" y="440"/>
                  </a:lnTo>
                  <a:lnTo>
                    <a:pt x="126" y="439"/>
                  </a:lnTo>
                  <a:lnTo>
                    <a:pt x="128" y="438"/>
                  </a:lnTo>
                  <a:lnTo>
                    <a:pt x="128" y="436"/>
                  </a:lnTo>
                  <a:lnTo>
                    <a:pt x="129" y="434"/>
                  </a:lnTo>
                  <a:lnTo>
                    <a:pt x="129" y="433"/>
                  </a:lnTo>
                  <a:lnTo>
                    <a:pt x="129" y="432"/>
                  </a:lnTo>
                  <a:lnTo>
                    <a:pt x="122" y="428"/>
                  </a:lnTo>
                  <a:lnTo>
                    <a:pt x="92" y="421"/>
                  </a:lnTo>
                  <a:lnTo>
                    <a:pt x="84" y="418"/>
                  </a:lnTo>
                  <a:lnTo>
                    <a:pt x="81" y="416"/>
                  </a:lnTo>
                  <a:lnTo>
                    <a:pt x="80" y="415"/>
                  </a:lnTo>
                  <a:lnTo>
                    <a:pt x="80" y="413"/>
                  </a:lnTo>
                  <a:lnTo>
                    <a:pt x="79" y="405"/>
                  </a:lnTo>
                  <a:lnTo>
                    <a:pt x="77" y="400"/>
                  </a:lnTo>
                  <a:lnTo>
                    <a:pt x="74" y="396"/>
                  </a:lnTo>
                  <a:lnTo>
                    <a:pt x="71" y="393"/>
                  </a:lnTo>
                  <a:lnTo>
                    <a:pt x="61" y="387"/>
                  </a:lnTo>
                  <a:lnTo>
                    <a:pt x="58" y="386"/>
                  </a:lnTo>
                  <a:lnTo>
                    <a:pt x="56" y="386"/>
                  </a:lnTo>
                  <a:lnTo>
                    <a:pt x="53" y="384"/>
                  </a:lnTo>
                  <a:lnTo>
                    <a:pt x="43" y="381"/>
                  </a:lnTo>
                  <a:lnTo>
                    <a:pt x="26" y="373"/>
                  </a:lnTo>
                  <a:lnTo>
                    <a:pt x="25" y="373"/>
                  </a:lnTo>
                  <a:lnTo>
                    <a:pt x="21" y="373"/>
                  </a:lnTo>
                  <a:lnTo>
                    <a:pt x="20" y="373"/>
                  </a:lnTo>
                  <a:lnTo>
                    <a:pt x="19" y="373"/>
                  </a:lnTo>
                  <a:lnTo>
                    <a:pt x="12" y="369"/>
                  </a:lnTo>
                  <a:lnTo>
                    <a:pt x="4" y="367"/>
                  </a:lnTo>
                  <a:lnTo>
                    <a:pt x="2" y="366"/>
                  </a:lnTo>
                  <a:lnTo>
                    <a:pt x="0" y="365"/>
                  </a:lnTo>
                  <a:lnTo>
                    <a:pt x="0" y="364"/>
                  </a:lnTo>
                  <a:lnTo>
                    <a:pt x="0" y="363"/>
                  </a:lnTo>
                  <a:lnTo>
                    <a:pt x="0" y="363"/>
                  </a:lnTo>
                  <a:lnTo>
                    <a:pt x="17" y="335"/>
                  </a:lnTo>
                  <a:lnTo>
                    <a:pt x="40" y="310"/>
                  </a:lnTo>
                  <a:lnTo>
                    <a:pt x="49" y="303"/>
                  </a:lnTo>
                  <a:lnTo>
                    <a:pt x="53" y="302"/>
                  </a:lnTo>
                  <a:lnTo>
                    <a:pt x="56" y="301"/>
                  </a:lnTo>
                  <a:lnTo>
                    <a:pt x="59" y="299"/>
                  </a:lnTo>
                  <a:lnTo>
                    <a:pt x="61" y="298"/>
                  </a:lnTo>
                  <a:lnTo>
                    <a:pt x="65" y="293"/>
                  </a:lnTo>
                  <a:lnTo>
                    <a:pt x="78" y="276"/>
                  </a:lnTo>
                  <a:lnTo>
                    <a:pt x="85" y="266"/>
                  </a:lnTo>
                  <a:lnTo>
                    <a:pt x="88" y="264"/>
                  </a:lnTo>
                  <a:lnTo>
                    <a:pt x="91" y="262"/>
                  </a:lnTo>
                  <a:lnTo>
                    <a:pt x="91" y="260"/>
                  </a:lnTo>
                  <a:lnTo>
                    <a:pt x="90" y="258"/>
                  </a:lnTo>
                  <a:lnTo>
                    <a:pt x="87" y="257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3" y="256"/>
                  </a:lnTo>
                  <a:lnTo>
                    <a:pt x="82" y="254"/>
                  </a:lnTo>
                  <a:lnTo>
                    <a:pt x="81" y="253"/>
                  </a:lnTo>
                  <a:lnTo>
                    <a:pt x="80" y="252"/>
                  </a:lnTo>
                  <a:lnTo>
                    <a:pt x="79" y="251"/>
                  </a:lnTo>
                  <a:lnTo>
                    <a:pt x="79" y="247"/>
                  </a:lnTo>
                  <a:lnTo>
                    <a:pt x="83" y="238"/>
                  </a:lnTo>
                  <a:lnTo>
                    <a:pt x="105" y="211"/>
                  </a:lnTo>
                  <a:lnTo>
                    <a:pt x="120" y="194"/>
                  </a:lnTo>
                  <a:lnTo>
                    <a:pt x="122" y="186"/>
                  </a:lnTo>
                  <a:lnTo>
                    <a:pt x="121" y="178"/>
                  </a:lnTo>
                  <a:lnTo>
                    <a:pt x="120" y="171"/>
                  </a:lnTo>
                  <a:lnTo>
                    <a:pt x="121" y="159"/>
                  </a:lnTo>
                  <a:lnTo>
                    <a:pt x="125" y="152"/>
                  </a:lnTo>
                  <a:lnTo>
                    <a:pt x="131" y="142"/>
                  </a:lnTo>
                  <a:lnTo>
                    <a:pt x="177" y="83"/>
                  </a:lnTo>
                  <a:lnTo>
                    <a:pt x="182" y="78"/>
                  </a:lnTo>
                  <a:lnTo>
                    <a:pt x="208" y="59"/>
                  </a:lnTo>
                  <a:lnTo>
                    <a:pt x="212" y="55"/>
                  </a:lnTo>
                  <a:lnTo>
                    <a:pt x="214" y="51"/>
                  </a:lnTo>
                  <a:lnTo>
                    <a:pt x="214" y="49"/>
                  </a:lnTo>
                  <a:lnTo>
                    <a:pt x="213" y="45"/>
                  </a:lnTo>
                  <a:lnTo>
                    <a:pt x="211" y="42"/>
                  </a:lnTo>
                  <a:lnTo>
                    <a:pt x="209" y="39"/>
                  </a:lnTo>
                  <a:lnTo>
                    <a:pt x="201" y="32"/>
                  </a:lnTo>
                  <a:lnTo>
                    <a:pt x="199" y="29"/>
                  </a:lnTo>
                  <a:lnTo>
                    <a:pt x="198" y="25"/>
                  </a:lnTo>
                  <a:lnTo>
                    <a:pt x="199" y="18"/>
                  </a:lnTo>
                  <a:lnTo>
                    <a:pt x="201" y="15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11" y="13"/>
                  </a:lnTo>
                  <a:lnTo>
                    <a:pt x="216" y="14"/>
                  </a:lnTo>
                  <a:lnTo>
                    <a:pt x="227" y="17"/>
                  </a:lnTo>
                  <a:lnTo>
                    <a:pt x="233" y="18"/>
                  </a:lnTo>
                  <a:lnTo>
                    <a:pt x="251" y="18"/>
                  </a:lnTo>
                  <a:lnTo>
                    <a:pt x="254" y="18"/>
                  </a:lnTo>
                  <a:lnTo>
                    <a:pt x="268" y="24"/>
                  </a:lnTo>
                  <a:lnTo>
                    <a:pt x="279" y="21"/>
                  </a:lnTo>
                  <a:lnTo>
                    <a:pt x="303" y="3"/>
                  </a:lnTo>
                  <a:lnTo>
                    <a:pt x="305" y="0"/>
                  </a:lnTo>
                  <a:lnTo>
                    <a:pt x="308" y="0"/>
                  </a:lnTo>
                  <a:lnTo>
                    <a:pt x="337" y="6"/>
                  </a:lnTo>
                  <a:lnTo>
                    <a:pt x="345" y="39"/>
                  </a:lnTo>
                  <a:lnTo>
                    <a:pt x="350" y="109"/>
                  </a:lnTo>
                  <a:lnTo>
                    <a:pt x="356" y="132"/>
                  </a:lnTo>
                  <a:lnTo>
                    <a:pt x="358" y="152"/>
                  </a:lnTo>
                  <a:lnTo>
                    <a:pt x="366" y="169"/>
                  </a:lnTo>
                  <a:lnTo>
                    <a:pt x="383" y="183"/>
                  </a:lnTo>
                  <a:lnTo>
                    <a:pt x="407" y="192"/>
                  </a:lnTo>
                  <a:lnTo>
                    <a:pt x="479" y="206"/>
                  </a:lnTo>
                  <a:lnTo>
                    <a:pt x="490" y="210"/>
                  </a:lnTo>
                  <a:lnTo>
                    <a:pt x="500" y="215"/>
                  </a:lnTo>
                  <a:lnTo>
                    <a:pt x="511" y="21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C6EC0CDD-1FD5-57B9-7F65-C54547595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811" y="3292206"/>
              <a:ext cx="786931" cy="861946"/>
            </a:xfrm>
            <a:custGeom>
              <a:avLst/>
              <a:gdLst>
                <a:gd name="T0" fmla="*/ 339 w 535"/>
                <a:gd name="T1" fmla="*/ 153 h 586"/>
                <a:gd name="T2" fmla="*/ 393 w 535"/>
                <a:gd name="T3" fmla="*/ 205 h 586"/>
                <a:gd name="T4" fmla="*/ 485 w 535"/>
                <a:gd name="T5" fmla="*/ 242 h 586"/>
                <a:gd name="T6" fmla="*/ 535 w 535"/>
                <a:gd name="T7" fmla="*/ 305 h 586"/>
                <a:gd name="T8" fmla="*/ 523 w 535"/>
                <a:gd name="T9" fmla="*/ 432 h 586"/>
                <a:gd name="T10" fmla="*/ 460 w 535"/>
                <a:gd name="T11" fmla="*/ 496 h 586"/>
                <a:gd name="T12" fmla="*/ 363 w 535"/>
                <a:gd name="T13" fmla="*/ 540 h 586"/>
                <a:gd name="T14" fmla="*/ 293 w 535"/>
                <a:gd name="T15" fmla="*/ 561 h 586"/>
                <a:gd name="T16" fmla="*/ 217 w 535"/>
                <a:gd name="T17" fmla="*/ 502 h 586"/>
                <a:gd name="T18" fmla="*/ 175 w 535"/>
                <a:gd name="T19" fmla="*/ 493 h 586"/>
                <a:gd name="T20" fmla="*/ 128 w 535"/>
                <a:gd name="T21" fmla="*/ 476 h 586"/>
                <a:gd name="T22" fmla="*/ 85 w 535"/>
                <a:gd name="T23" fmla="*/ 446 h 586"/>
                <a:gd name="T24" fmla="*/ 67 w 535"/>
                <a:gd name="T25" fmla="*/ 445 h 586"/>
                <a:gd name="T26" fmla="*/ 57 w 535"/>
                <a:gd name="T27" fmla="*/ 415 h 586"/>
                <a:gd name="T28" fmla="*/ 41 w 535"/>
                <a:gd name="T29" fmla="*/ 390 h 586"/>
                <a:gd name="T30" fmla="*/ 7 w 535"/>
                <a:gd name="T31" fmla="*/ 360 h 586"/>
                <a:gd name="T32" fmla="*/ 1 w 535"/>
                <a:gd name="T33" fmla="*/ 349 h 586"/>
                <a:gd name="T34" fmla="*/ 3 w 535"/>
                <a:gd name="T35" fmla="*/ 340 h 586"/>
                <a:gd name="T36" fmla="*/ 11 w 535"/>
                <a:gd name="T37" fmla="*/ 344 h 586"/>
                <a:gd name="T38" fmla="*/ 14 w 535"/>
                <a:gd name="T39" fmla="*/ 349 h 586"/>
                <a:gd name="T40" fmla="*/ 39 w 535"/>
                <a:gd name="T41" fmla="*/ 354 h 586"/>
                <a:gd name="T42" fmla="*/ 46 w 535"/>
                <a:gd name="T43" fmla="*/ 367 h 586"/>
                <a:gd name="T44" fmla="*/ 71 w 535"/>
                <a:gd name="T45" fmla="*/ 375 h 586"/>
                <a:gd name="T46" fmla="*/ 130 w 535"/>
                <a:gd name="T47" fmla="*/ 340 h 586"/>
                <a:gd name="T48" fmla="*/ 180 w 535"/>
                <a:gd name="T49" fmla="*/ 299 h 586"/>
                <a:gd name="T50" fmla="*/ 175 w 535"/>
                <a:gd name="T51" fmla="*/ 240 h 586"/>
                <a:gd name="T52" fmla="*/ 168 w 535"/>
                <a:gd name="T53" fmla="*/ 213 h 586"/>
                <a:gd name="T54" fmla="*/ 178 w 535"/>
                <a:gd name="T55" fmla="*/ 205 h 586"/>
                <a:gd name="T56" fmla="*/ 189 w 535"/>
                <a:gd name="T57" fmla="*/ 184 h 586"/>
                <a:gd name="T58" fmla="*/ 169 w 535"/>
                <a:gd name="T59" fmla="*/ 95 h 586"/>
                <a:gd name="T60" fmla="*/ 155 w 535"/>
                <a:gd name="T61" fmla="*/ 55 h 586"/>
                <a:gd name="T62" fmla="*/ 143 w 535"/>
                <a:gd name="T63" fmla="*/ 36 h 586"/>
                <a:gd name="T64" fmla="*/ 131 w 535"/>
                <a:gd name="T65" fmla="*/ 15 h 586"/>
                <a:gd name="T66" fmla="*/ 148 w 535"/>
                <a:gd name="T67" fmla="*/ 10 h 586"/>
                <a:gd name="T68" fmla="*/ 166 w 535"/>
                <a:gd name="T69" fmla="*/ 11 h 586"/>
                <a:gd name="T70" fmla="*/ 223 w 535"/>
                <a:gd name="T71" fmla="*/ 11 h 586"/>
                <a:gd name="T72" fmla="*/ 260 w 535"/>
                <a:gd name="T73" fmla="*/ 0 h 586"/>
                <a:gd name="T74" fmla="*/ 291 w 535"/>
                <a:gd name="T75" fmla="*/ 3 h 586"/>
                <a:gd name="T76" fmla="*/ 304 w 535"/>
                <a:gd name="T77" fmla="*/ 13 h 586"/>
                <a:gd name="T78" fmla="*/ 303 w 535"/>
                <a:gd name="T79" fmla="*/ 24 h 586"/>
                <a:gd name="T80" fmla="*/ 313 w 535"/>
                <a:gd name="T81" fmla="*/ 37 h 586"/>
                <a:gd name="T82" fmla="*/ 317 w 535"/>
                <a:gd name="T83" fmla="*/ 48 h 586"/>
                <a:gd name="T84" fmla="*/ 313 w 535"/>
                <a:gd name="T85" fmla="*/ 72 h 586"/>
                <a:gd name="T86" fmla="*/ 303 w 535"/>
                <a:gd name="T87" fmla="*/ 89 h 586"/>
                <a:gd name="T88" fmla="*/ 301 w 535"/>
                <a:gd name="T89" fmla="*/ 102 h 586"/>
                <a:gd name="T90" fmla="*/ 309 w 535"/>
                <a:gd name="T91" fmla="*/ 115 h 586"/>
                <a:gd name="T92" fmla="*/ 332 w 535"/>
                <a:gd name="T93" fmla="*/ 12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5" h="586">
                  <a:moveTo>
                    <a:pt x="332" y="124"/>
                  </a:moveTo>
                  <a:lnTo>
                    <a:pt x="339" y="153"/>
                  </a:lnTo>
                  <a:lnTo>
                    <a:pt x="358" y="185"/>
                  </a:lnTo>
                  <a:lnTo>
                    <a:pt x="393" y="205"/>
                  </a:lnTo>
                  <a:lnTo>
                    <a:pt x="445" y="218"/>
                  </a:lnTo>
                  <a:lnTo>
                    <a:pt x="485" y="242"/>
                  </a:lnTo>
                  <a:lnTo>
                    <a:pt x="509" y="265"/>
                  </a:lnTo>
                  <a:lnTo>
                    <a:pt x="535" y="305"/>
                  </a:lnTo>
                  <a:lnTo>
                    <a:pt x="534" y="363"/>
                  </a:lnTo>
                  <a:lnTo>
                    <a:pt x="523" y="432"/>
                  </a:lnTo>
                  <a:lnTo>
                    <a:pt x="493" y="477"/>
                  </a:lnTo>
                  <a:lnTo>
                    <a:pt x="460" y="496"/>
                  </a:lnTo>
                  <a:lnTo>
                    <a:pt x="403" y="510"/>
                  </a:lnTo>
                  <a:lnTo>
                    <a:pt x="363" y="540"/>
                  </a:lnTo>
                  <a:lnTo>
                    <a:pt x="315" y="586"/>
                  </a:lnTo>
                  <a:lnTo>
                    <a:pt x="293" y="561"/>
                  </a:lnTo>
                  <a:lnTo>
                    <a:pt x="238" y="510"/>
                  </a:lnTo>
                  <a:lnTo>
                    <a:pt x="217" y="502"/>
                  </a:lnTo>
                  <a:lnTo>
                    <a:pt x="197" y="493"/>
                  </a:lnTo>
                  <a:lnTo>
                    <a:pt x="175" y="493"/>
                  </a:lnTo>
                  <a:lnTo>
                    <a:pt x="141" y="482"/>
                  </a:lnTo>
                  <a:lnTo>
                    <a:pt x="128" y="476"/>
                  </a:lnTo>
                  <a:lnTo>
                    <a:pt x="100" y="451"/>
                  </a:lnTo>
                  <a:lnTo>
                    <a:pt x="85" y="446"/>
                  </a:lnTo>
                  <a:lnTo>
                    <a:pt x="75" y="446"/>
                  </a:lnTo>
                  <a:lnTo>
                    <a:pt x="67" y="445"/>
                  </a:lnTo>
                  <a:lnTo>
                    <a:pt x="62" y="438"/>
                  </a:lnTo>
                  <a:lnTo>
                    <a:pt x="57" y="415"/>
                  </a:lnTo>
                  <a:lnTo>
                    <a:pt x="52" y="406"/>
                  </a:lnTo>
                  <a:lnTo>
                    <a:pt x="41" y="390"/>
                  </a:lnTo>
                  <a:lnTo>
                    <a:pt x="32" y="381"/>
                  </a:lnTo>
                  <a:lnTo>
                    <a:pt x="7" y="360"/>
                  </a:lnTo>
                  <a:lnTo>
                    <a:pt x="4" y="356"/>
                  </a:lnTo>
                  <a:lnTo>
                    <a:pt x="1" y="349"/>
                  </a:lnTo>
                  <a:lnTo>
                    <a:pt x="0" y="343"/>
                  </a:lnTo>
                  <a:lnTo>
                    <a:pt x="3" y="340"/>
                  </a:lnTo>
                  <a:lnTo>
                    <a:pt x="7" y="341"/>
                  </a:lnTo>
                  <a:lnTo>
                    <a:pt x="11" y="344"/>
                  </a:lnTo>
                  <a:lnTo>
                    <a:pt x="12" y="347"/>
                  </a:lnTo>
                  <a:lnTo>
                    <a:pt x="14" y="349"/>
                  </a:lnTo>
                  <a:lnTo>
                    <a:pt x="31" y="353"/>
                  </a:lnTo>
                  <a:lnTo>
                    <a:pt x="39" y="354"/>
                  </a:lnTo>
                  <a:lnTo>
                    <a:pt x="42" y="356"/>
                  </a:lnTo>
                  <a:lnTo>
                    <a:pt x="46" y="367"/>
                  </a:lnTo>
                  <a:lnTo>
                    <a:pt x="55" y="376"/>
                  </a:lnTo>
                  <a:lnTo>
                    <a:pt x="71" y="375"/>
                  </a:lnTo>
                  <a:lnTo>
                    <a:pt x="95" y="367"/>
                  </a:lnTo>
                  <a:lnTo>
                    <a:pt x="130" y="340"/>
                  </a:lnTo>
                  <a:lnTo>
                    <a:pt x="156" y="327"/>
                  </a:lnTo>
                  <a:lnTo>
                    <a:pt x="180" y="299"/>
                  </a:lnTo>
                  <a:lnTo>
                    <a:pt x="184" y="260"/>
                  </a:lnTo>
                  <a:lnTo>
                    <a:pt x="175" y="240"/>
                  </a:lnTo>
                  <a:lnTo>
                    <a:pt x="170" y="219"/>
                  </a:lnTo>
                  <a:lnTo>
                    <a:pt x="168" y="213"/>
                  </a:lnTo>
                  <a:lnTo>
                    <a:pt x="171" y="206"/>
                  </a:lnTo>
                  <a:lnTo>
                    <a:pt x="178" y="205"/>
                  </a:lnTo>
                  <a:lnTo>
                    <a:pt x="187" y="200"/>
                  </a:lnTo>
                  <a:lnTo>
                    <a:pt x="189" y="184"/>
                  </a:lnTo>
                  <a:lnTo>
                    <a:pt x="187" y="166"/>
                  </a:lnTo>
                  <a:lnTo>
                    <a:pt x="169" y="95"/>
                  </a:lnTo>
                  <a:lnTo>
                    <a:pt x="159" y="67"/>
                  </a:lnTo>
                  <a:lnTo>
                    <a:pt x="155" y="55"/>
                  </a:lnTo>
                  <a:lnTo>
                    <a:pt x="148" y="45"/>
                  </a:lnTo>
                  <a:lnTo>
                    <a:pt x="143" y="36"/>
                  </a:lnTo>
                  <a:lnTo>
                    <a:pt x="134" y="2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48" y="10"/>
                  </a:lnTo>
                  <a:lnTo>
                    <a:pt x="161" y="12"/>
                  </a:lnTo>
                  <a:lnTo>
                    <a:pt x="166" y="11"/>
                  </a:lnTo>
                  <a:lnTo>
                    <a:pt x="175" y="8"/>
                  </a:lnTo>
                  <a:lnTo>
                    <a:pt x="223" y="11"/>
                  </a:lnTo>
                  <a:lnTo>
                    <a:pt x="236" y="8"/>
                  </a:lnTo>
                  <a:lnTo>
                    <a:pt x="260" y="0"/>
                  </a:lnTo>
                  <a:lnTo>
                    <a:pt x="272" y="0"/>
                  </a:lnTo>
                  <a:lnTo>
                    <a:pt x="291" y="3"/>
                  </a:lnTo>
                  <a:lnTo>
                    <a:pt x="301" y="8"/>
                  </a:lnTo>
                  <a:lnTo>
                    <a:pt x="304" y="13"/>
                  </a:lnTo>
                  <a:lnTo>
                    <a:pt x="303" y="20"/>
                  </a:lnTo>
                  <a:lnTo>
                    <a:pt x="303" y="24"/>
                  </a:lnTo>
                  <a:lnTo>
                    <a:pt x="304" y="29"/>
                  </a:lnTo>
                  <a:lnTo>
                    <a:pt x="313" y="37"/>
                  </a:lnTo>
                  <a:lnTo>
                    <a:pt x="316" y="42"/>
                  </a:lnTo>
                  <a:lnTo>
                    <a:pt x="317" y="48"/>
                  </a:lnTo>
                  <a:lnTo>
                    <a:pt x="314" y="68"/>
                  </a:lnTo>
                  <a:lnTo>
                    <a:pt x="313" y="72"/>
                  </a:lnTo>
                  <a:lnTo>
                    <a:pt x="305" y="84"/>
                  </a:lnTo>
                  <a:lnTo>
                    <a:pt x="303" y="89"/>
                  </a:lnTo>
                  <a:lnTo>
                    <a:pt x="301" y="96"/>
                  </a:lnTo>
                  <a:lnTo>
                    <a:pt x="301" y="102"/>
                  </a:lnTo>
                  <a:lnTo>
                    <a:pt x="302" y="108"/>
                  </a:lnTo>
                  <a:lnTo>
                    <a:pt x="309" y="115"/>
                  </a:lnTo>
                  <a:lnTo>
                    <a:pt x="318" y="121"/>
                  </a:lnTo>
                  <a:lnTo>
                    <a:pt x="332" y="12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7B10C8BF-B884-A94A-8426-61F04D5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2927" y="1616853"/>
              <a:ext cx="848708" cy="731036"/>
            </a:xfrm>
            <a:custGeom>
              <a:avLst/>
              <a:gdLst>
                <a:gd name="T0" fmla="*/ 479 w 577"/>
                <a:gd name="T1" fmla="*/ 102 h 497"/>
                <a:gd name="T2" fmla="*/ 565 w 577"/>
                <a:gd name="T3" fmla="*/ 222 h 497"/>
                <a:gd name="T4" fmla="*/ 455 w 577"/>
                <a:gd name="T5" fmla="*/ 263 h 497"/>
                <a:gd name="T6" fmla="*/ 449 w 577"/>
                <a:gd name="T7" fmla="*/ 270 h 497"/>
                <a:gd name="T8" fmla="*/ 435 w 577"/>
                <a:gd name="T9" fmla="*/ 276 h 497"/>
                <a:gd name="T10" fmla="*/ 428 w 577"/>
                <a:gd name="T11" fmla="*/ 291 h 497"/>
                <a:gd name="T12" fmla="*/ 422 w 577"/>
                <a:gd name="T13" fmla="*/ 301 h 497"/>
                <a:gd name="T14" fmla="*/ 404 w 577"/>
                <a:gd name="T15" fmla="*/ 311 h 497"/>
                <a:gd name="T16" fmla="*/ 388 w 577"/>
                <a:gd name="T17" fmla="*/ 345 h 497"/>
                <a:gd name="T18" fmla="*/ 386 w 577"/>
                <a:gd name="T19" fmla="*/ 355 h 497"/>
                <a:gd name="T20" fmla="*/ 406 w 577"/>
                <a:gd name="T21" fmla="*/ 367 h 497"/>
                <a:gd name="T22" fmla="*/ 413 w 577"/>
                <a:gd name="T23" fmla="*/ 383 h 497"/>
                <a:gd name="T24" fmla="*/ 406 w 577"/>
                <a:gd name="T25" fmla="*/ 391 h 497"/>
                <a:gd name="T26" fmla="*/ 390 w 577"/>
                <a:gd name="T27" fmla="*/ 399 h 497"/>
                <a:gd name="T28" fmla="*/ 382 w 577"/>
                <a:gd name="T29" fmla="*/ 419 h 497"/>
                <a:gd name="T30" fmla="*/ 365 w 577"/>
                <a:gd name="T31" fmla="*/ 420 h 497"/>
                <a:gd name="T32" fmla="*/ 348 w 577"/>
                <a:gd name="T33" fmla="*/ 400 h 497"/>
                <a:gd name="T34" fmla="*/ 319 w 577"/>
                <a:gd name="T35" fmla="*/ 403 h 497"/>
                <a:gd name="T36" fmla="*/ 244 w 577"/>
                <a:gd name="T37" fmla="*/ 465 h 497"/>
                <a:gd name="T38" fmla="*/ 219 w 577"/>
                <a:gd name="T39" fmla="*/ 489 h 497"/>
                <a:gd name="T40" fmla="*/ 195 w 577"/>
                <a:gd name="T41" fmla="*/ 497 h 497"/>
                <a:gd name="T42" fmla="*/ 172 w 577"/>
                <a:gd name="T43" fmla="*/ 487 h 497"/>
                <a:gd name="T44" fmla="*/ 165 w 577"/>
                <a:gd name="T45" fmla="*/ 470 h 497"/>
                <a:gd name="T46" fmla="*/ 175 w 577"/>
                <a:gd name="T47" fmla="*/ 447 h 497"/>
                <a:gd name="T48" fmla="*/ 167 w 577"/>
                <a:gd name="T49" fmla="*/ 417 h 497"/>
                <a:gd name="T50" fmla="*/ 178 w 577"/>
                <a:gd name="T51" fmla="*/ 402 h 497"/>
                <a:gd name="T52" fmla="*/ 120 w 577"/>
                <a:gd name="T53" fmla="*/ 397 h 497"/>
                <a:gd name="T54" fmla="*/ 97 w 577"/>
                <a:gd name="T55" fmla="*/ 380 h 497"/>
                <a:gd name="T56" fmla="*/ 107 w 577"/>
                <a:gd name="T57" fmla="*/ 340 h 497"/>
                <a:gd name="T58" fmla="*/ 135 w 577"/>
                <a:gd name="T59" fmla="*/ 287 h 497"/>
                <a:gd name="T60" fmla="*/ 128 w 577"/>
                <a:gd name="T61" fmla="*/ 150 h 497"/>
                <a:gd name="T62" fmla="*/ 107 w 577"/>
                <a:gd name="T63" fmla="*/ 149 h 497"/>
                <a:gd name="T64" fmla="*/ 74 w 577"/>
                <a:gd name="T65" fmla="*/ 139 h 497"/>
                <a:gd name="T66" fmla="*/ 35 w 577"/>
                <a:gd name="T67" fmla="*/ 97 h 497"/>
                <a:gd name="T68" fmla="*/ 17 w 577"/>
                <a:gd name="T69" fmla="*/ 84 h 497"/>
                <a:gd name="T70" fmla="*/ 3 w 577"/>
                <a:gd name="T71" fmla="*/ 71 h 497"/>
                <a:gd name="T72" fmla="*/ 3 w 577"/>
                <a:gd name="T73" fmla="*/ 45 h 497"/>
                <a:gd name="T74" fmla="*/ 36 w 577"/>
                <a:gd name="T75" fmla="*/ 43 h 497"/>
                <a:gd name="T76" fmla="*/ 103 w 577"/>
                <a:gd name="T77" fmla="*/ 56 h 497"/>
                <a:gd name="T78" fmla="*/ 116 w 577"/>
                <a:gd name="T79" fmla="*/ 63 h 497"/>
                <a:gd name="T80" fmla="*/ 124 w 577"/>
                <a:gd name="T81" fmla="*/ 57 h 497"/>
                <a:gd name="T82" fmla="*/ 121 w 577"/>
                <a:gd name="T83" fmla="*/ 49 h 497"/>
                <a:gd name="T84" fmla="*/ 115 w 577"/>
                <a:gd name="T85" fmla="*/ 49 h 497"/>
                <a:gd name="T86" fmla="*/ 104 w 577"/>
                <a:gd name="T87" fmla="*/ 34 h 497"/>
                <a:gd name="T88" fmla="*/ 123 w 577"/>
                <a:gd name="T89" fmla="*/ 23 h 497"/>
                <a:gd name="T90" fmla="*/ 160 w 577"/>
                <a:gd name="T91" fmla="*/ 6 h 497"/>
                <a:gd name="T92" fmla="*/ 335 w 577"/>
                <a:gd name="T93" fmla="*/ 3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7" h="497">
                  <a:moveTo>
                    <a:pt x="339" y="85"/>
                  </a:moveTo>
                  <a:lnTo>
                    <a:pt x="459" y="81"/>
                  </a:lnTo>
                  <a:lnTo>
                    <a:pt x="479" y="102"/>
                  </a:lnTo>
                  <a:lnTo>
                    <a:pt x="543" y="136"/>
                  </a:lnTo>
                  <a:lnTo>
                    <a:pt x="577" y="174"/>
                  </a:lnTo>
                  <a:lnTo>
                    <a:pt x="565" y="222"/>
                  </a:lnTo>
                  <a:lnTo>
                    <a:pt x="479" y="229"/>
                  </a:lnTo>
                  <a:lnTo>
                    <a:pt x="460" y="262"/>
                  </a:lnTo>
                  <a:lnTo>
                    <a:pt x="455" y="263"/>
                  </a:lnTo>
                  <a:lnTo>
                    <a:pt x="453" y="265"/>
                  </a:lnTo>
                  <a:lnTo>
                    <a:pt x="451" y="267"/>
                  </a:lnTo>
                  <a:lnTo>
                    <a:pt x="449" y="270"/>
                  </a:lnTo>
                  <a:lnTo>
                    <a:pt x="441" y="272"/>
                  </a:lnTo>
                  <a:lnTo>
                    <a:pt x="438" y="273"/>
                  </a:lnTo>
                  <a:lnTo>
                    <a:pt x="435" y="276"/>
                  </a:lnTo>
                  <a:lnTo>
                    <a:pt x="432" y="280"/>
                  </a:lnTo>
                  <a:lnTo>
                    <a:pt x="429" y="286"/>
                  </a:lnTo>
                  <a:lnTo>
                    <a:pt x="428" y="291"/>
                  </a:lnTo>
                  <a:lnTo>
                    <a:pt x="427" y="295"/>
                  </a:lnTo>
                  <a:lnTo>
                    <a:pt x="425" y="299"/>
                  </a:lnTo>
                  <a:lnTo>
                    <a:pt x="422" y="301"/>
                  </a:lnTo>
                  <a:lnTo>
                    <a:pt x="411" y="306"/>
                  </a:lnTo>
                  <a:lnTo>
                    <a:pt x="408" y="307"/>
                  </a:lnTo>
                  <a:lnTo>
                    <a:pt x="404" y="311"/>
                  </a:lnTo>
                  <a:lnTo>
                    <a:pt x="402" y="315"/>
                  </a:lnTo>
                  <a:lnTo>
                    <a:pt x="394" y="334"/>
                  </a:lnTo>
                  <a:lnTo>
                    <a:pt x="388" y="345"/>
                  </a:lnTo>
                  <a:lnTo>
                    <a:pt x="385" y="348"/>
                  </a:lnTo>
                  <a:lnTo>
                    <a:pt x="384" y="352"/>
                  </a:lnTo>
                  <a:lnTo>
                    <a:pt x="386" y="355"/>
                  </a:lnTo>
                  <a:lnTo>
                    <a:pt x="389" y="358"/>
                  </a:lnTo>
                  <a:lnTo>
                    <a:pt x="401" y="363"/>
                  </a:lnTo>
                  <a:lnTo>
                    <a:pt x="406" y="367"/>
                  </a:lnTo>
                  <a:lnTo>
                    <a:pt x="409" y="372"/>
                  </a:lnTo>
                  <a:lnTo>
                    <a:pt x="411" y="378"/>
                  </a:lnTo>
                  <a:lnTo>
                    <a:pt x="413" y="383"/>
                  </a:lnTo>
                  <a:lnTo>
                    <a:pt x="413" y="386"/>
                  </a:lnTo>
                  <a:lnTo>
                    <a:pt x="410" y="389"/>
                  </a:lnTo>
                  <a:lnTo>
                    <a:pt x="406" y="391"/>
                  </a:lnTo>
                  <a:lnTo>
                    <a:pt x="398" y="394"/>
                  </a:lnTo>
                  <a:lnTo>
                    <a:pt x="394" y="396"/>
                  </a:lnTo>
                  <a:lnTo>
                    <a:pt x="390" y="399"/>
                  </a:lnTo>
                  <a:lnTo>
                    <a:pt x="388" y="409"/>
                  </a:lnTo>
                  <a:lnTo>
                    <a:pt x="386" y="415"/>
                  </a:lnTo>
                  <a:lnTo>
                    <a:pt x="382" y="419"/>
                  </a:lnTo>
                  <a:lnTo>
                    <a:pt x="375" y="422"/>
                  </a:lnTo>
                  <a:lnTo>
                    <a:pt x="370" y="422"/>
                  </a:lnTo>
                  <a:lnTo>
                    <a:pt x="365" y="420"/>
                  </a:lnTo>
                  <a:lnTo>
                    <a:pt x="361" y="418"/>
                  </a:lnTo>
                  <a:lnTo>
                    <a:pt x="359" y="416"/>
                  </a:lnTo>
                  <a:lnTo>
                    <a:pt x="348" y="400"/>
                  </a:lnTo>
                  <a:lnTo>
                    <a:pt x="336" y="396"/>
                  </a:lnTo>
                  <a:lnTo>
                    <a:pt x="330" y="396"/>
                  </a:lnTo>
                  <a:lnTo>
                    <a:pt x="319" y="403"/>
                  </a:lnTo>
                  <a:lnTo>
                    <a:pt x="269" y="451"/>
                  </a:lnTo>
                  <a:lnTo>
                    <a:pt x="261" y="457"/>
                  </a:lnTo>
                  <a:lnTo>
                    <a:pt x="244" y="465"/>
                  </a:lnTo>
                  <a:lnTo>
                    <a:pt x="235" y="472"/>
                  </a:lnTo>
                  <a:lnTo>
                    <a:pt x="227" y="481"/>
                  </a:lnTo>
                  <a:lnTo>
                    <a:pt x="219" y="489"/>
                  </a:lnTo>
                  <a:lnTo>
                    <a:pt x="213" y="494"/>
                  </a:lnTo>
                  <a:lnTo>
                    <a:pt x="204" y="496"/>
                  </a:lnTo>
                  <a:lnTo>
                    <a:pt x="195" y="497"/>
                  </a:lnTo>
                  <a:lnTo>
                    <a:pt x="187" y="495"/>
                  </a:lnTo>
                  <a:lnTo>
                    <a:pt x="178" y="491"/>
                  </a:lnTo>
                  <a:lnTo>
                    <a:pt x="172" y="487"/>
                  </a:lnTo>
                  <a:lnTo>
                    <a:pt x="168" y="482"/>
                  </a:lnTo>
                  <a:lnTo>
                    <a:pt x="167" y="476"/>
                  </a:lnTo>
                  <a:lnTo>
                    <a:pt x="165" y="470"/>
                  </a:lnTo>
                  <a:lnTo>
                    <a:pt x="167" y="463"/>
                  </a:lnTo>
                  <a:lnTo>
                    <a:pt x="172" y="455"/>
                  </a:lnTo>
                  <a:lnTo>
                    <a:pt x="175" y="447"/>
                  </a:lnTo>
                  <a:lnTo>
                    <a:pt x="173" y="437"/>
                  </a:lnTo>
                  <a:lnTo>
                    <a:pt x="169" y="426"/>
                  </a:lnTo>
                  <a:lnTo>
                    <a:pt x="167" y="417"/>
                  </a:lnTo>
                  <a:lnTo>
                    <a:pt x="170" y="410"/>
                  </a:lnTo>
                  <a:lnTo>
                    <a:pt x="175" y="406"/>
                  </a:lnTo>
                  <a:lnTo>
                    <a:pt x="178" y="402"/>
                  </a:lnTo>
                  <a:lnTo>
                    <a:pt x="172" y="398"/>
                  </a:lnTo>
                  <a:lnTo>
                    <a:pt x="156" y="396"/>
                  </a:lnTo>
                  <a:lnTo>
                    <a:pt x="120" y="397"/>
                  </a:lnTo>
                  <a:lnTo>
                    <a:pt x="105" y="395"/>
                  </a:lnTo>
                  <a:lnTo>
                    <a:pt x="85" y="395"/>
                  </a:lnTo>
                  <a:lnTo>
                    <a:pt x="97" y="380"/>
                  </a:lnTo>
                  <a:lnTo>
                    <a:pt x="104" y="360"/>
                  </a:lnTo>
                  <a:lnTo>
                    <a:pt x="105" y="355"/>
                  </a:lnTo>
                  <a:lnTo>
                    <a:pt x="107" y="340"/>
                  </a:lnTo>
                  <a:lnTo>
                    <a:pt x="128" y="307"/>
                  </a:lnTo>
                  <a:lnTo>
                    <a:pt x="133" y="298"/>
                  </a:lnTo>
                  <a:lnTo>
                    <a:pt x="135" y="287"/>
                  </a:lnTo>
                  <a:lnTo>
                    <a:pt x="130" y="168"/>
                  </a:lnTo>
                  <a:lnTo>
                    <a:pt x="131" y="157"/>
                  </a:lnTo>
                  <a:lnTo>
                    <a:pt x="128" y="150"/>
                  </a:lnTo>
                  <a:lnTo>
                    <a:pt x="122" y="148"/>
                  </a:lnTo>
                  <a:lnTo>
                    <a:pt x="117" y="148"/>
                  </a:lnTo>
                  <a:lnTo>
                    <a:pt x="107" y="149"/>
                  </a:lnTo>
                  <a:lnTo>
                    <a:pt x="102" y="148"/>
                  </a:lnTo>
                  <a:lnTo>
                    <a:pt x="78" y="141"/>
                  </a:lnTo>
                  <a:lnTo>
                    <a:pt x="74" y="139"/>
                  </a:lnTo>
                  <a:lnTo>
                    <a:pt x="57" y="123"/>
                  </a:lnTo>
                  <a:lnTo>
                    <a:pt x="39" y="101"/>
                  </a:lnTo>
                  <a:lnTo>
                    <a:pt x="35" y="97"/>
                  </a:lnTo>
                  <a:lnTo>
                    <a:pt x="26" y="92"/>
                  </a:lnTo>
                  <a:lnTo>
                    <a:pt x="21" y="86"/>
                  </a:lnTo>
                  <a:lnTo>
                    <a:pt x="17" y="84"/>
                  </a:lnTo>
                  <a:lnTo>
                    <a:pt x="12" y="83"/>
                  </a:lnTo>
                  <a:lnTo>
                    <a:pt x="6" y="79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" y="50"/>
                  </a:lnTo>
                  <a:lnTo>
                    <a:pt x="3" y="45"/>
                  </a:lnTo>
                  <a:lnTo>
                    <a:pt x="8" y="40"/>
                  </a:lnTo>
                  <a:lnTo>
                    <a:pt x="22" y="39"/>
                  </a:lnTo>
                  <a:lnTo>
                    <a:pt x="36" y="43"/>
                  </a:lnTo>
                  <a:lnTo>
                    <a:pt x="76" y="47"/>
                  </a:lnTo>
                  <a:lnTo>
                    <a:pt x="96" y="53"/>
                  </a:lnTo>
                  <a:lnTo>
                    <a:pt x="103" y="56"/>
                  </a:lnTo>
                  <a:lnTo>
                    <a:pt x="109" y="59"/>
                  </a:lnTo>
                  <a:lnTo>
                    <a:pt x="115" y="63"/>
                  </a:lnTo>
                  <a:lnTo>
                    <a:pt x="116" y="63"/>
                  </a:lnTo>
                  <a:lnTo>
                    <a:pt x="118" y="61"/>
                  </a:lnTo>
                  <a:lnTo>
                    <a:pt x="121" y="59"/>
                  </a:lnTo>
                  <a:lnTo>
                    <a:pt x="124" y="57"/>
                  </a:lnTo>
                  <a:lnTo>
                    <a:pt x="125" y="53"/>
                  </a:lnTo>
                  <a:lnTo>
                    <a:pt x="124" y="50"/>
                  </a:lnTo>
                  <a:lnTo>
                    <a:pt x="121" y="49"/>
                  </a:lnTo>
                  <a:lnTo>
                    <a:pt x="118" y="49"/>
                  </a:lnTo>
                  <a:lnTo>
                    <a:pt x="116" y="50"/>
                  </a:lnTo>
                  <a:lnTo>
                    <a:pt x="115" y="49"/>
                  </a:lnTo>
                  <a:lnTo>
                    <a:pt x="113" y="48"/>
                  </a:lnTo>
                  <a:lnTo>
                    <a:pt x="105" y="39"/>
                  </a:lnTo>
                  <a:lnTo>
                    <a:pt x="104" y="34"/>
                  </a:lnTo>
                  <a:lnTo>
                    <a:pt x="105" y="31"/>
                  </a:lnTo>
                  <a:lnTo>
                    <a:pt x="117" y="27"/>
                  </a:lnTo>
                  <a:lnTo>
                    <a:pt x="123" y="23"/>
                  </a:lnTo>
                  <a:lnTo>
                    <a:pt x="141" y="19"/>
                  </a:lnTo>
                  <a:lnTo>
                    <a:pt x="150" y="16"/>
                  </a:lnTo>
                  <a:lnTo>
                    <a:pt x="160" y="6"/>
                  </a:lnTo>
                  <a:lnTo>
                    <a:pt x="163" y="0"/>
                  </a:lnTo>
                  <a:lnTo>
                    <a:pt x="200" y="26"/>
                  </a:lnTo>
                  <a:lnTo>
                    <a:pt x="335" y="30"/>
                  </a:lnTo>
                  <a:lnTo>
                    <a:pt x="339" y="8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2575E20-2924-7D75-2036-B4A15B1DB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683" y="1346207"/>
              <a:ext cx="1507671" cy="988444"/>
            </a:xfrm>
            <a:custGeom>
              <a:avLst/>
              <a:gdLst>
                <a:gd name="T0" fmla="*/ 222 w 1025"/>
                <a:gd name="T1" fmla="*/ 20 h 672"/>
                <a:gd name="T2" fmla="*/ 254 w 1025"/>
                <a:gd name="T3" fmla="*/ 65 h 672"/>
                <a:gd name="T4" fmla="*/ 295 w 1025"/>
                <a:gd name="T5" fmla="*/ 71 h 672"/>
                <a:gd name="T6" fmla="*/ 408 w 1025"/>
                <a:gd name="T7" fmla="*/ 56 h 672"/>
                <a:gd name="T8" fmla="*/ 507 w 1025"/>
                <a:gd name="T9" fmla="*/ 67 h 672"/>
                <a:gd name="T10" fmla="*/ 600 w 1025"/>
                <a:gd name="T11" fmla="*/ 52 h 672"/>
                <a:gd name="T12" fmla="*/ 669 w 1025"/>
                <a:gd name="T13" fmla="*/ 62 h 672"/>
                <a:gd name="T14" fmla="*/ 668 w 1025"/>
                <a:gd name="T15" fmla="*/ 95 h 672"/>
                <a:gd name="T16" fmla="*/ 685 w 1025"/>
                <a:gd name="T17" fmla="*/ 90 h 672"/>
                <a:gd name="T18" fmla="*/ 720 w 1025"/>
                <a:gd name="T19" fmla="*/ 106 h 672"/>
                <a:gd name="T20" fmla="*/ 778 w 1025"/>
                <a:gd name="T21" fmla="*/ 124 h 672"/>
                <a:gd name="T22" fmla="*/ 852 w 1025"/>
                <a:gd name="T23" fmla="*/ 87 h 672"/>
                <a:gd name="T24" fmla="*/ 933 w 1025"/>
                <a:gd name="T25" fmla="*/ 135 h 672"/>
                <a:gd name="T26" fmla="*/ 935 w 1025"/>
                <a:gd name="T27" fmla="*/ 138 h 672"/>
                <a:gd name="T28" fmla="*/ 953 w 1025"/>
                <a:gd name="T29" fmla="*/ 145 h 672"/>
                <a:gd name="T30" fmla="*/ 976 w 1025"/>
                <a:gd name="T31" fmla="*/ 153 h 672"/>
                <a:gd name="T32" fmla="*/ 994 w 1025"/>
                <a:gd name="T33" fmla="*/ 159 h 672"/>
                <a:gd name="T34" fmla="*/ 1012 w 1025"/>
                <a:gd name="T35" fmla="*/ 177 h 672"/>
                <a:gd name="T36" fmla="*/ 1017 w 1025"/>
                <a:gd name="T37" fmla="*/ 190 h 672"/>
                <a:gd name="T38" fmla="*/ 961 w 1025"/>
                <a:gd name="T39" fmla="*/ 238 h 672"/>
                <a:gd name="T40" fmla="*/ 928 w 1025"/>
                <a:gd name="T41" fmla="*/ 275 h 672"/>
                <a:gd name="T42" fmla="*/ 915 w 1025"/>
                <a:gd name="T43" fmla="*/ 291 h 672"/>
                <a:gd name="T44" fmla="*/ 884 w 1025"/>
                <a:gd name="T45" fmla="*/ 302 h 672"/>
                <a:gd name="T46" fmla="*/ 871 w 1025"/>
                <a:gd name="T47" fmla="*/ 316 h 672"/>
                <a:gd name="T48" fmla="*/ 845 w 1025"/>
                <a:gd name="T49" fmla="*/ 338 h 672"/>
                <a:gd name="T50" fmla="*/ 823 w 1025"/>
                <a:gd name="T51" fmla="*/ 328 h 672"/>
                <a:gd name="T52" fmla="*/ 791 w 1025"/>
                <a:gd name="T53" fmla="*/ 341 h 672"/>
                <a:gd name="T54" fmla="*/ 783 w 1025"/>
                <a:gd name="T55" fmla="*/ 428 h 672"/>
                <a:gd name="T56" fmla="*/ 745 w 1025"/>
                <a:gd name="T57" fmla="*/ 492 h 672"/>
                <a:gd name="T58" fmla="*/ 742 w 1025"/>
                <a:gd name="T59" fmla="*/ 540 h 672"/>
                <a:gd name="T60" fmla="*/ 738 w 1025"/>
                <a:gd name="T61" fmla="*/ 570 h 672"/>
                <a:gd name="T62" fmla="*/ 705 w 1025"/>
                <a:gd name="T63" fmla="*/ 615 h 672"/>
                <a:gd name="T64" fmla="*/ 692 w 1025"/>
                <a:gd name="T65" fmla="*/ 657 h 672"/>
                <a:gd name="T66" fmla="*/ 648 w 1025"/>
                <a:gd name="T67" fmla="*/ 672 h 672"/>
                <a:gd name="T68" fmla="*/ 560 w 1025"/>
                <a:gd name="T69" fmla="*/ 618 h 672"/>
                <a:gd name="T70" fmla="*/ 518 w 1025"/>
                <a:gd name="T71" fmla="*/ 631 h 672"/>
                <a:gd name="T72" fmla="*/ 499 w 1025"/>
                <a:gd name="T73" fmla="*/ 620 h 672"/>
                <a:gd name="T74" fmla="*/ 474 w 1025"/>
                <a:gd name="T75" fmla="*/ 635 h 672"/>
                <a:gd name="T76" fmla="*/ 440 w 1025"/>
                <a:gd name="T77" fmla="*/ 654 h 672"/>
                <a:gd name="T78" fmla="*/ 427 w 1025"/>
                <a:gd name="T79" fmla="*/ 628 h 672"/>
                <a:gd name="T80" fmla="*/ 357 w 1025"/>
                <a:gd name="T81" fmla="*/ 560 h 672"/>
                <a:gd name="T82" fmla="*/ 341 w 1025"/>
                <a:gd name="T83" fmla="*/ 518 h 672"/>
                <a:gd name="T84" fmla="*/ 304 w 1025"/>
                <a:gd name="T85" fmla="*/ 454 h 672"/>
                <a:gd name="T86" fmla="*/ 402 w 1025"/>
                <a:gd name="T87" fmla="*/ 406 h 672"/>
                <a:gd name="T88" fmla="*/ 296 w 1025"/>
                <a:gd name="T89" fmla="*/ 265 h 672"/>
                <a:gd name="T90" fmla="*/ 0 w 1025"/>
                <a:gd name="T91" fmla="*/ 184 h 672"/>
                <a:gd name="T92" fmla="*/ 39 w 1025"/>
                <a:gd name="T93" fmla="*/ 102 h 672"/>
                <a:gd name="T94" fmla="*/ 33 w 1025"/>
                <a:gd name="T95" fmla="*/ 85 h 672"/>
                <a:gd name="T96" fmla="*/ 7 w 1025"/>
                <a:gd name="T97" fmla="*/ 59 h 672"/>
                <a:gd name="T98" fmla="*/ 41 w 1025"/>
                <a:gd name="T99" fmla="*/ 38 h 672"/>
                <a:gd name="T100" fmla="*/ 76 w 1025"/>
                <a:gd name="T101" fmla="*/ 16 h 672"/>
                <a:gd name="T102" fmla="*/ 129 w 1025"/>
                <a:gd name="T103" fmla="*/ 3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5" h="672">
                  <a:moveTo>
                    <a:pt x="129" y="3"/>
                  </a:moveTo>
                  <a:lnTo>
                    <a:pt x="146" y="2"/>
                  </a:lnTo>
                  <a:lnTo>
                    <a:pt x="217" y="17"/>
                  </a:lnTo>
                  <a:lnTo>
                    <a:pt x="222" y="20"/>
                  </a:lnTo>
                  <a:lnTo>
                    <a:pt x="226" y="22"/>
                  </a:lnTo>
                  <a:lnTo>
                    <a:pt x="236" y="35"/>
                  </a:lnTo>
                  <a:lnTo>
                    <a:pt x="248" y="61"/>
                  </a:lnTo>
                  <a:lnTo>
                    <a:pt x="254" y="65"/>
                  </a:lnTo>
                  <a:lnTo>
                    <a:pt x="264" y="70"/>
                  </a:lnTo>
                  <a:lnTo>
                    <a:pt x="276" y="73"/>
                  </a:lnTo>
                  <a:lnTo>
                    <a:pt x="286" y="73"/>
                  </a:lnTo>
                  <a:lnTo>
                    <a:pt x="295" y="71"/>
                  </a:lnTo>
                  <a:lnTo>
                    <a:pt x="309" y="69"/>
                  </a:lnTo>
                  <a:lnTo>
                    <a:pt x="335" y="60"/>
                  </a:lnTo>
                  <a:lnTo>
                    <a:pt x="392" y="55"/>
                  </a:lnTo>
                  <a:lnTo>
                    <a:pt x="408" y="56"/>
                  </a:lnTo>
                  <a:lnTo>
                    <a:pt x="477" y="70"/>
                  </a:lnTo>
                  <a:lnTo>
                    <a:pt x="491" y="71"/>
                  </a:lnTo>
                  <a:lnTo>
                    <a:pt x="499" y="69"/>
                  </a:lnTo>
                  <a:lnTo>
                    <a:pt x="507" y="67"/>
                  </a:lnTo>
                  <a:lnTo>
                    <a:pt x="542" y="62"/>
                  </a:lnTo>
                  <a:lnTo>
                    <a:pt x="556" y="58"/>
                  </a:lnTo>
                  <a:lnTo>
                    <a:pt x="565" y="59"/>
                  </a:lnTo>
                  <a:lnTo>
                    <a:pt x="600" y="52"/>
                  </a:lnTo>
                  <a:lnTo>
                    <a:pt x="636" y="50"/>
                  </a:lnTo>
                  <a:lnTo>
                    <a:pt x="654" y="52"/>
                  </a:lnTo>
                  <a:lnTo>
                    <a:pt x="665" y="57"/>
                  </a:lnTo>
                  <a:lnTo>
                    <a:pt x="669" y="62"/>
                  </a:lnTo>
                  <a:lnTo>
                    <a:pt x="672" y="69"/>
                  </a:lnTo>
                  <a:lnTo>
                    <a:pt x="673" y="76"/>
                  </a:lnTo>
                  <a:lnTo>
                    <a:pt x="672" y="83"/>
                  </a:lnTo>
                  <a:lnTo>
                    <a:pt x="668" y="95"/>
                  </a:lnTo>
                  <a:lnTo>
                    <a:pt x="667" y="99"/>
                  </a:lnTo>
                  <a:lnTo>
                    <a:pt x="668" y="103"/>
                  </a:lnTo>
                  <a:lnTo>
                    <a:pt x="673" y="101"/>
                  </a:lnTo>
                  <a:lnTo>
                    <a:pt x="685" y="90"/>
                  </a:lnTo>
                  <a:lnTo>
                    <a:pt x="692" y="87"/>
                  </a:lnTo>
                  <a:lnTo>
                    <a:pt x="699" y="88"/>
                  </a:lnTo>
                  <a:lnTo>
                    <a:pt x="706" y="94"/>
                  </a:lnTo>
                  <a:lnTo>
                    <a:pt x="720" y="106"/>
                  </a:lnTo>
                  <a:lnTo>
                    <a:pt x="731" y="113"/>
                  </a:lnTo>
                  <a:lnTo>
                    <a:pt x="743" y="120"/>
                  </a:lnTo>
                  <a:lnTo>
                    <a:pt x="761" y="125"/>
                  </a:lnTo>
                  <a:lnTo>
                    <a:pt x="778" y="124"/>
                  </a:lnTo>
                  <a:lnTo>
                    <a:pt x="796" y="121"/>
                  </a:lnTo>
                  <a:lnTo>
                    <a:pt x="825" y="107"/>
                  </a:lnTo>
                  <a:lnTo>
                    <a:pt x="837" y="99"/>
                  </a:lnTo>
                  <a:lnTo>
                    <a:pt x="852" y="87"/>
                  </a:lnTo>
                  <a:lnTo>
                    <a:pt x="861" y="82"/>
                  </a:lnTo>
                  <a:lnTo>
                    <a:pt x="873" y="83"/>
                  </a:lnTo>
                  <a:lnTo>
                    <a:pt x="950" y="107"/>
                  </a:lnTo>
                  <a:lnTo>
                    <a:pt x="933" y="135"/>
                  </a:lnTo>
                  <a:lnTo>
                    <a:pt x="933" y="135"/>
                  </a:lnTo>
                  <a:lnTo>
                    <a:pt x="933" y="136"/>
                  </a:lnTo>
                  <a:lnTo>
                    <a:pt x="933" y="137"/>
                  </a:lnTo>
                  <a:lnTo>
                    <a:pt x="935" y="138"/>
                  </a:lnTo>
                  <a:lnTo>
                    <a:pt x="937" y="139"/>
                  </a:lnTo>
                  <a:lnTo>
                    <a:pt x="945" y="141"/>
                  </a:lnTo>
                  <a:lnTo>
                    <a:pt x="952" y="145"/>
                  </a:lnTo>
                  <a:lnTo>
                    <a:pt x="953" y="145"/>
                  </a:lnTo>
                  <a:lnTo>
                    <a:pt x="954" y="145"/>
                  </a:lnTo>
                  <a:lnTo>
                    <a:pt x="958" y="145"/>
                  </a:lnTo>
                  <a:lnTo>
                    <a:pt x="959" y="145"/>
                  </a:lnTo>
                  <a:lnTo>
                    <a:pt x="976" y="153"/>
                  </a:lnTo>
                  <a:lnTo>
                    <a:pt x="986" y="156"/>
                  </a:lnTo>
                  <a:lnTo>
                    <a:pt x="989" y="158"/>
                  </a:lnTo>
                  <a:lnTo>
                    <a:pt x="991" y="158"/>
                  </a:lnTo>
                  <a:lnTo>
                    <a:pt x="994" y="159"/>
                  </a:lnTo>
                  <a:lnTo>
                    <a:pt x="1004" y="165"/>
                  </a:lnTo>
                  <a:lnTo>
                    <a:pt x="1007" y="168"/>
                  </a:lnTo>
                  <a:lnTo>
                    <a:pt x="1010" y="172"/>
                  </a:lnTo>
                  <a:lnTo>
                    <a:pt x="1012" y="177"/>
                  </a:lnTo>
                  <a:lnTo>
                    <a:pt x="1013" y="185"/>
                  </a:lnTo>
                  <a:lnTo>
                    <a:pt x="1013" y="187"/>
                  </a:lnTo>
                  <a:lnTo>
                    <a:pt x="1014" y="188"/>
                  </a:lnTo>
                  <a:lnTo>
                    <a:pt x="1017" y="190"/>
                  </a:lnTo>
                  <a:lnTo>
                    <a:pt x="1025" y="193"/>
                  </a:lnTo>
                  <a:lnTo>
                    <a:pt x="1017" y="208"/>
                  </a:lnTo>
                  <a:lnTo>
                    <a:pt x="1008" y="214"/>
                  </a:lnTo>
                  <a:lnTo>
                    <a:pt x="961" y="238"/>
                  </a:lnTo>
                  <a:lnTo>
                    <a:pt x="937" y="246"/>
                  </a:lnTo>
                  <a:lnTo>
                    <a:pt x="933" y="251"/>
                  </a:lnTo>
                  <a:lnTo>
                    <a:pt x="929" y="257"/>
                  </a:lnTo>
                  <a:lnTo>
                    <a:pt x="928" y="275"/>
                  </a:lnTo>
                  <a:lnTo>
                    <a:pt x="926" y="282"/>
                  </a:lnTo>
                  <a:lnTo>
                    <a:pt x="923" y="285"/>
                  </a:lnTo>
                  <a:lnTo>
                    <a:pt x="919" y="286"/>
                  </a:lnTo>
                  <a:lnTo>
                    <a:pt x="915" y="291"/>
                  </a:lnTo>
                  <a:lnTo>
                    <a:pt x="908" y="303"/>
                  </a:lnTo>
                  <a:lnTo>
                    <a:pt x="904" y="306"/>
                  </a:lnTo>
                  <a:lnTo>
                    <a:pt x="898" y="306"/>
                  </a:lnTo>
                  <a:lnTo>
                    <a:pt x="884" y="302"/>
                  </a:lnTo>
                  <a:lnTo>
                    <a:pt x="877" y="302"/>
                  </a:lnTo>
                  <a:lnTo>
                    <a:pt x="875" y="304"/>
                  </a:lnTo>
                  <a:lnTo>
                    <a:pt x="873" y="308"/>
                  </a:lnTo>
                  <a:lnTo>
                    <a:pt x="871" y="316"/>
                  </a:lnTo>
                  <a:lnTo>
                    <a:pt x="863" y="329"/>
                  </a:lnTo>
                  <a:lnTo>
                    <a:pt x="858" y="334"/>
                  </a:lnTo>
                  <a:lnTo>
                    <a:pt x="849" y="337"/>
                  </a:lnTo>
                  <a:lnTo>
                    <a:pt x="845" y="338"/>
                  </a:lnTo>
                  <a:lnTo>
                    <a:pt x="841" y="336"/>
                  </a:lnTo>
                  <a:lnTo>
                    <a:pt x="833" y="330"/>
                  </a:lnTo>
                  <a:lnTo>
                    <a:pt x="829" y="328"/>
                  </a:lnTo>
                  <a:lnTo>
                    <a:pt x="823" y="328"/>
                  </a:lnTo>
                  <a:lnTo>
                    <a:pt x="807" y="333"/>
                  </a:lnTo>
                  <a:lnTo>
                    <a:pt x="802" y="334"/>
                  </a:lnTo>
                  <a:lnTo>
                    <a:pt x="794" y="335"/>
                  </a:lnTo>
                  <a:lnTo>
                    <a:pt x="791" y="341"/>
                  </a:lnTo>
                  <a:lnTo>
                    <a:pt x="789" y="345"/>
                  </a:lnTo>
                  <a:lnTo>
                    <a:pt x="790" y="353"/>
                  </a:lnTo>
                  <a:lnTo>
                    <a:pt x="787" y="413"/>
                  </a:lnTo>
                  <a:lnTo>
                    <a:pt x="783" y="428"/>
                  </a:lnTo>
                  <a:lnTo>
                    <a:pt x="774" y="445"/>
                  </a:lnTo>
                  <a:lnTo>
                    <a:pt x="756" y="470"/>
                  </a:lnTo>
                  <a:lnTo>
                    <a:pt x="748" y="483"/>
                  </a:lnTo>
                  <a:lnTo>
                    <a:pt x="745" y="492"/>
                  </a:lnTo>
                  <a:lnTo>
                    <a:pt x="755" y="511"/>
                  </a:lnTo>
                  <a:lnTo>
                    <a:pt x="754" y="517"/>
                  </a:lnTo>
                  <a:lnTo>
                    <a:pt x="751" y="526"/>
                  </a:lnTo>
                  <a:lnTo>
                    <a:pt x="742" y="540"/>
                  </a:lnTo>
                  <a:lnTo>
                    <a:pt x="740" y="548"/>
                  </a:lnTo>
                  <a:lnTo>
                    <a:pt x="738" y="554"/>
                  </a:lnTo>
                  <a:lnTo>
                    <a:pt x="739" y="562"/>
                  </a:lnTo>
                  <a:lnTo>
                    <a:pt x="738" y="570"/>
                  </a:lnTo>
                  <a:lnTo>
                    <a:pt x="731" y="583"/>
                  </a:lnTo>
                  <a:lnTo>
                    <a:pt x="724" y="594"/>
                  </a:lnTo>
                  <a:lnTo>
                    <a:pt x="712" y="606"/>
                  </a:lnTo>
                  <a:lnTo>
                    <a:pt x="705" y="615"/>
                  </a:lnTo>
                  <a:lnTo>
                    <a:pt x="701" y="625"/>
                  </a:lnTo>
                  <a:lnTo>
                    <a:pt x="699" y="642"/>
                  </a:lnTo>
                  <a:lnTo>
                    <a:pt x="696" y="652"/>
                  </a:lnTo>
                  <a:lnTo>
                    <a:pt x="692" y="657"/>
                  </a:lnTo>
                  <a:lnTo>
                    <a:pt x="687" y="660"/>
                  </a:lnTo>
                  <a:lnTo>
                    <a:pt x="669" y="664"/>
                  </a:lnTo>
                  <a:lnTo>
                    <a:pt x="662" y="666"/>
                  </a:lnTo>
                  <a:lnTo>
                    <a:pt x="648" y="672"/>
                  </a:lnTo>
                  <a:lnTo>
                    <a:pt x="603" y="627"/>
                  </a:lnTo>
                  <a:lnTo>
                    <a:pt x="585" y="619"/>
                  </a:lnTo>
                  <a:lnTo>
                    <a:pt x="576" y="620"/>
                  </a:lnTo>
                  <a:lnTo>
                    <a:pt x="560" y="618"/>
                  </a:lnTo>
                  <a:lnTo>
                    <a:pt x="550" y="617"/>
                  </a:lnTo>
                  <a:lnTo>
                    <a:pt x="544" y="618"/>
                  </a:lnTo>
                  <a:lnTo>
                    <a:pt x="526" y="628"/>
                  </a:lnTo>
                  <a:lnTo>
                    <a:pt x="518" y="631"/>
                  </a:lnTo>
                  <a:lnTo>
                    <a:pt x="514" y="629"/>
                  </a:lnTo>
                  <a:lnTo>
                    <a:pt x="511" y="625"/>
                  </a:lnTo>
                  <a:lnTo>
                    <a:pt x="506" y="620"/>
                  </a:lnTo>
                  <a:lnTo>
                    <a:pt x="499" y="620"/>
                  </a:lnTo>
                  <a:lnTo>
                    <a:pt x="492" y="625"/>
                  </a:lnTo>
                  <a:lnTo>
                    <a:pt x="484" y="630"/>
                  </a:lnTo>
                  <a:lnTo>
                    <a:pt x="480" y="633"/>
                  </a:lnTo>
                  <a:lnTo>
                    <a:pt x="474" y="635"/>
                  </a:lnTo>
                  <a:lnTo>
                    <a:pt x="470" y="636"/>
                  </a:lnTo>
                  <a:lnTo>
                    <a:pt x="464" y="640"/>
                  </a:lnTo>
                  <a:lnTo>
                    <a:pt x="446" y="652"/>
                  </a:lnTo>
                  <a:lnTo>
                    <a:pt x="440" y="654"/>
                  </a:lnTo>
                  <a:lnTo>
                    <a:pt x="435" y="652"/>
                  </a:lnTo>
                  <a:lnTo>
                    <a:pt x="431" y="645"/>
                  </a:lnTo>
                  <a:lnTo>
                    <a:pt x="428" y="639"/>
                  </a:lnTo>
                  <a:lnTo>
                    <a:pt x="427" y="628"/>
                  </a:lnTo>
                  <a:lnTo>
                    <a:pt x="421" y="614"/>
                  </a:lnTo>
                  <a:lnTo>
                    <a:pt x="409" y="597"/>
                  </a:lnTo>
                  <a:lnTo>
                    <a:pt x="367" y="567"/>
                  </a:lnTo>
                  <a:lnTo>
                    <a:pt x="357" y="560"/>
                  </a:lnTo>
                  <a:lnTo>
                    <a:pt x="355" y="552"/>
                  </a:lnTo>
                  <a:lnTo>
                    <a:pt x="351" y="536"/>
                  </a:lnTo>
                  <a:lnTo>
                    <a:pt x="349" y="530"/>
                  </a:lnTo>
                  <a:lnTo>
                    <a:pt x="341" y="518"/>
                  </a:lnTo>
                  <a:lnTo>
                    <a:pt x="331" y="499"/>
                  </a:lnTo>
                  <a:lnTo>
                    <a:pt x="306" y="466"/>
                  </a:lnTo>
                  <a:lnTo>
                    <a:pt x="304" y="462"/>
                  </a:lnTo>
                  <a:lnTo>
                    <a:pt x="304" y="454"/>
                  </a:lnTo>
                  <a:lnTo>
                    <a:pt x="302" y="450"/>
                  </a:lnTo>
                  <a:lnTo>
                    <a:pt x="297" y="446"/>
                  </a:lnTo>
                  <a:lnTo>
                    <a:pt x="316" y="413"/>
                  </a:lnTo>
                  <a:lnTo>
                    <a:pt x="402" y="406"/>
                  </a:lnTo>
                  <a:lnTo>
                    <a:pt x="414" y="358"/>
                  </a:lnTo>
                  <a:lnTo>
                    <a:pt x="380" y="320"/>
                  </a:lnTo>
                  <a:lnTo>
                    <a:pt x="316" y="286"/>
                  </a:lnTo>
                  <a:lnTo>
                    <a:pt x="296" y="265"/>
                  </a:lnTo>
                  <a:lnTo>
                    <a:pt x="176" y="269"/>
                  </a:lnTo>
                  <a:lnTo>
                    <a:pt x="172" y="214"/>
                  </a:lnTo>
                  <a:lnTo>
                    <a:pt x="37" y="210"/>
                  </a:lnTo>
                  <a:lnTo>
                    <a:pt x="0" y="184"/>
                  </a:lnTo>
                  <a:lnTo>
                    <a:pt x="13" y="150"/>
                  </a:lnTo>
                  <a:lnTo>
                    <a:pt x="22" y="135"/>
                  </a:lnTo>
                  <a:lnTo>
                    <a:pt x="30" y="114"/>
                  </a:lnTo>
                  <a:lnTo>
                    <a:pt x="39" y="102"/>
                  </a:lnTo>
                  <a:lnTo>
                    <a:pt x="40" y="98"/>
                  </a:lnTo>
                  <a:lnTo>
                    <a:pt x="40" y="95"/>
                  </a:lnTo>
                  <a:lnTo>
                    <a:pt x="38" y="90"/>
                  </a:lnTo>
                  <a:lnTo>
                    <a:pt x="33" y="85"/>
                  </a:lnTo>
                  <a:lnTo>
                    <a:pt x="27" y="80"/>
                  </a:lnTo>
                  <a:lnTo>
                    <a:pt x="10" y="68"/>
                  </a:lnTo>
                  <a:lnTo>
                    <a:pt x="9" y="64"/>
                  </a:lnTo>
                  <a:lnTo>
                    <a:pt x="7" y="59"/>
                  </a:lnTo>
                  <a:lnTo>
                    <a:pt x="12" y="55"/>
                  </a:lnTo>
                  <a:lnTo>
                    <a:pt x="18" y="50"/>
                  </a:lnTo>
                  <a:lnTo>
                    <a:pt x="31" y="44"/>
                  </a:lnTo>
                  <a:lnTo>
                    <a:pt x="41" y="38"/>
                  </a:lnTo>
                  <a:lnTo>
                    <a:pt x="55" y="26"/>
                  </a:lnTo>
                  <a:lnTo>
                    <a:pt x="61" y="23"/>
                  </a:lnTo>
                  <a:lnTo>
                    <a:pt x="69" y="19"/>
                  </a:lnTo>
                  <a:lnTo>
                    <a:pt x="76" y="16"/>
                  </a:lnTo>
                  <a:lnTo>
                    <a:pt x="95" y="3"/>
                  </a:lnTo>
                  <a:lnTo>
                    <a:pt x="103" y="2"/>
                  </a:lnTo>
                  <a:lnTo>
                    <a:pt x="113" y="0"/>
                  </a:lnTo>
                  <a:lnTo>
                    <a:pt x="129" y="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D369B9-0B44-A9EF-06BE-2B329D021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989" y="2656778"/>
              <a:ext cx="2553479" cy="1544443"/>
            </a:xfrm>
            <a:custGeom>
              <a:avLst/>
              <a:gdLst>
                <a:gd name="T0" fmla="*/ 896 w 1736"/>
                <a:gd name="T1" fmla="*/ 71 h 1050"/>
                <a:gd name="T2" fmla="*/ 940 w 1736"/>
                <a:gd name="T3" fmla="*/ 60 h 1050"/>
                <a:gd name="T4" fmla="*/ 1003 w 1736"/>
                <a:gd name="T5" fmla="*/ 46 h 1050"/>
                <a:gd name="T6" fmla="*/ 1040 w 1736"/>
                <a:gd name="T7" fmla="*/ 29 h 1050"/>
                <a:gd name="T8" fmla="*/ 1107 w 1736"/>
                <a:gd name="T9" fmla="*/ 41 h 1050"/>
                <a:gd name="T10" fmla="*/ 1113 w 1736"/>
                <a:gd name="T11" fmla="*/ 119 h 1050"/>
                <a:gd name="T12" fmla="*/ 1136 w 1736"/>
                <a:gd name="T13" fmla="*/ 146 h 1050"/>
                <a:gd name="T14" fmla="*/ 1153 w 1736"/>
                <a:gd name="T15" fmla="*/ 158 h 1050"/>
                <a:gd name="T16" fmla="*/ 1165 w 1736"/>
                <a:gd name="T17" fmla="*/ 166 h 1050"/>
                <a:gd name="T18" fmla="*/ 1195 w 1736"/>
                <a:gd name="T19" fmla="*/ 166 h 1050"/>
                <a:gd name="T20" fmla="*/ 1217 w 1736"/>
                <a:gd name="T21" fmla="*/ 176 h 1050"/>
                <a:gd name="T22" fmla="*/ 1245 w 1736"/>
                <a:gd name="T23" fmla="*/ 191 h 1050"/>
                <a:gd name="T24" fmla="*/ 1268 w 1736"/>
                <a:gd name="T25" fmla="*/ 199 h 1050"/>
                <a:gd name="T26" fmla="*/ 1281 w 1736"/>
                <a:gd name="T27" fmla="*/ 189 h 1050"/>
                <a:gd name="T28" fmla="*/ 1295 w 1736"/>
                <a:gd name="T29" fmla="*/ 185 h 1050"/>
                <a:gd name="T30" fmla="*/ 1313 w 1736"/>
                <a:gd name="T31" fmla="*/ 183 h 1050"/>
                <a:gd name="T32" fmla="*/ 1344 w 1736"/>
                <a:gd name="T33" fmla="*/ 189 h 1050"/>
                <a:gd name="T34" fmla="*/ 1364 w 1736"/>
                <a:gd name="T35" fmla="*/ 178 h 1050"/>
                <a:gd name="T36" fmla="*/ 1373 w 1736"/>
                <a:gd name="T37" fmla="*/ 179 h 1050"/>
                <a:gd name="T38" fmla="*/ 1406 w 1736"/>
                <a:gd name="T39" fmla="*/ 181 h 1050"/>
                <a:gd name="T40" fmla="*/ 1416 w 1736"/>
                <a:gd name="T41" fmla="*/ 190 h 1050"/>
                <a:gd name="T42" fmla="*/ 1428 w 1736"/>
                <a:gd name="T43" fmla="*/ 193 h 1050"/>
                <a:gd name="T44" fmla="*/ 1463 w 1736"/>
                <a:gd name="T45" fmla="*/ 212 h 1050"/>
                <a:gd name="T46" fmla="*/ 1512 w 1736"/>
                <a:gd name="T47" fmla="*/ 225 h 1050"/>
                <a:gd name="T48" fmla="*/ 1525 w 1736"/>
                <a:gd name="T49" fmla="*/ 215 h 1050"/>
                <a:gd name="T50" fmla="*/ 1534 w 1736"/>
                <a:gd name="T51" fmla="*/ 219 h 1050"/>
                <a:gd name="T52" fmla="*/ 1566 w 1736"/>
                <a:gd name="T53" fmla="*/ 247 h 1050"/>
                <a:gd name="T54" fmla="*/ 1585 w 1736"/>
                <a:gd name="T55" fmla="*/ 253 h 1050"/>
                <a:gd name="T56" fmla="*/ 1621 w 1736"/>
                <a:gd name="T57" fmla="*/ 262 h 1050"/>
                <a:gd name="T58" fmla="*/ 1642 w 1736"/>
                <a:gd name="T59" fmla="*/ 296 h 1050"/>
                <a:gd name="T60" fmla="*/ 1657 w 1736"/>
                <a:gd name="T61" fmla="*/ 296 h 1050"/>
                <a:gd name="T62" fmla="*/ 1696 w 1736"/>
                <a:gd name="T63" fmla="*/ 314 h 1050"/>
                <a:gd name="T64" fmla="*/ 1725 w 1736"/>
                <a:gd name="T65" fmla="*/ 332 h 1050"/>
                <a:gd name="T66" fmla="*/ 1661 w 1736"/>
                <a:gd name="T67" fmla="*/ 438 h 1050"/>
                <a:gd name="T68" fmla="*/ 1461 w 1736"/>
                <a:gd name="T69" fmla="*/ 671 h 1050"/>
                <a:gd name="T70" fmla="*/ 1234 w 1736"/>
                <a:gd name="T71" fmla="*/ 871 h 1050"/>
                <a:gd name="T72" fmla="*/ 1007 w 1736"/>
                <a:gd name="T73" fmla="*/ 1041 h 1050"/>
                <a:gd name="T74" fmla="*/ 918 w 1736"/>
                <a:gd name="T75" fmla="*/ 1031 h 1050"/>
                <a:gd name="T76" fmla="*/ 813 w 1736"/>
                <a:gd name="T77" fmla="*/ 1016 h 1050"/>
                <a:gd name="T78" fmla="*/ 758 w 1736"/>
                <a:gd name="T79" fmla="*/ 946 h 1050"/>
                <a:gd name="T80" fmla="*/ 694 w 1736"/>
                <a:gd name="T81" fmla="*/ 869 h 1050"/>
                <a:gd name="T82" fmla="*/ 301 w 1736"/>
                <a:gd name="T83" fmla="*/ 670 h 1050"/>
                <a:gd name="T84" fmla="*/ 242 w 1736"/>
                <a:gd name="T85" fmla="*/ 619 h 1050"/>
                <a:gd name="T86" fmla="*/ 207 w 1736"/>
                <a:gd name="T87" fmla="*/ 548 h 1050"/>
                <a:gd name="T88" fmla="*/ 174 w 1736"/>
                <a:gd name="T89" fmla="*/ 440 h 1050"/>
                <a:gd name="T90" fmla="*/ 96 w 1736"/>
                <a:gd name="T91" fmla="*/ 417 h 1050"/>
                <a:gd name="T92" fmla="*/ 29 w 1736"/>
                <a:gd name="T93" fmla="*/ 298 h 1050"/>
                <a:gd name="T94" fmla="*/ 38 w 1736"/>
                <a:gd name="T95" fmla="*/ 150 h 1050"/>
                <a:gd name="T96" fmla="*/ 172 w 1736"/>
                <a:gd name="T97" fmla="*/ 147 h 1050"/>
                <a:gd name="T98" fmla="*/ 198 w 1736"/>
                <a:gd name="T99" fmla="*/ 136 h 1050"/>
                <a:gd name="T100" fmla="*/ 271 w 1736"/>
                <a:gd name="T101" fmla="*/ 116 h 1050"/>
                <a:gd name="T102" fmla="*/ 330 w 1736"/>
                <a:gd name="T103" fmla="*/ 93 h 1050"/>
                <a:gd name="T104" fmla="*/ 378 w 1736"/>
                <a:gd name="T105" fmla="*/ 89 h 1050"/>
                <a:gd name="T106" fmla="*/ 517 w 1736"/>
                <a:gd name="T107" fmla="*/ 49 h 1050"/>
                <a:gd name="T108" fmla="*/ 639 w 1736"/>
                <a:gd name="T109" fmla="*/ 8 h 1050"/>
                <a:gd name="T110" fmla="*/ 743 w 1736"/>
                <a:gd name="T111" fmla="*/ 49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6" h="1050">
                  <a:moveTo>
                    <a:pt x="875" y="99"/>
                  </a:moveTo>
                  <a:lnTo>
                    <a:pt x="886" y="98"/>
                  </a:lnTo>
                  <a:lnTo>
                    <a:pt x="891" y="92"/>
                  </a:lnTo>
                  <a:lnTo>
                    <a:pt x="892" y="86"/>
                  </a:lnTo>
                  <a:lnTo>
                    <a:pt x="894" y="78"/>
                  </a:lnTo>
                  <a:lnTo>
                    <a:pt x="896" y="71"/>
                  </a:lnTo>
                  <a:lnTo>
                    <a:pt x="899" y="65"/>
                  </a:lnTo>
                  <a:lnTo>
                    <a:pt x="912" y="53"/>
                  </a:lnTo>
                  <a:lnTo>
                    <a:pt x="917" y="52"/>
                  </a:lnTo>
                  <a:lnTo>
                    <a:pt x="922" y="53"/>
                  </a:lnTo>
                  <a:lnTo>
                    <a:pt x="930" y="58"/>
                  </a:lnTo>
                  <a:lnTo>
                    <a:pt x="940" y="60"/>
                  </a:lnTo>
                  <a:lnTo>
                    <a:pt x="946" y="59"/>
                  </a:lnTo>
                  <a:lnTo>
                    <a:pt x="955" y="53"/>
                  </a:lnTo>
                  <a:lnTo>
                    <a:pt x="960" y="52"/>
                  </a:lnTo>
                  <a:lnTo>
                    <a:pt x="976" y="52"/>
                  </a:lnTo>
                  <a:lnTo>
                    <a:pt x="989" y="50"/>
                  </a:lnTo>
                  <a:lnTo>
                    <a:pt x="1003" y="46"/>
                  </a:lnTo>
                  <a:lnTo>
                    <a:pt x="1010" y="45"/>
                  </a:lnTo>
                  <a:lnTo>
                    <a:pt x="1015" y="43"/>
                  </a:lnTo>
                  <a:lnTo>
                    <a:pt x="1020" y="40"/>
                  </a:lnTo>
                  <a:lnTo>
                    <a:pt x="1024" y="33"/>
                  </a:lnTo>
                  <a:lnTo>
                    <a:pt x="1027" y="32"/>
                  </a:lnTo>
                  <a:lnTo>
                    <a:pt x="1040" y="29"/>
                  </a:lnTo>
                  <a:lnTo>
                    <a:pt x="1057" y="24"/>
                  </a:lnTo>
                  <a:lnTo>
                    <a:pt x="1066" y="23"/>
                  </a:lnTo>
                  <a:lnTo>
                    <a:pt x="1078" y="24"/>
                  </a:lnTo>
                  <a:lnTo>
                    <a:pt x="1090" y="27"/>
                  </a:lnTo>
                  <a:lnTo>
                    <a:pt x="1099" y="32"/>
                  </a:lnTo>
                  <a:lnTo>
                    <a:pt x="1107" y="41"/>
                  </a:lnTo>
                  <a:lnTo>
                    <a:pt x="1111" y="50"/>
                  </a:lnTo>
                  <a:lnTo>
                    <a:pt x="1110" y="60"/>
                  </a:lnTo>
                  <a:lnTo>
                    <a:pt x="1107" y="68"/>
                  </a:lnTo>
                  <a:lnTo>
                    <a:pt x="1107" y="94"/>
                  </a:lnTo>
                  <a:lnTo>
                    <a:pt x="1110" y="108"/>
                  </a:lnTo>
                  <a:lnTo>
                    <a:pt x="1113" y="119"/>
                  </a:lnTo>
                  <a:lnTo>
                    <a:pt x="1118" y="126"/>
                  </a:lnTo>
                  <a:lnTo>
                    <a:pt x="1122" y="131"/>
                  </a:lnTo>
                  <a:lnTo>
                    <a:pt x="1125" y="136"/>
                  </a:lnTo>
                  <a:lnTo>
                    <a:pt x="1131" y="140"/>
                  </a:lnTo>
                  <a:lnTo>
                    <a:pt x="1135" y="143"/>
                  </a:lnTo>
                  <a:lnTo>
                    <a:pt x="1136" y="146"/>
                  </a:lnTo>
                  <a:lnTo>
                    <a:pt x="1137" y="151"/>
                  </a:lnTo>
                  <a:lnTo>
                    <a:pt x="1137" y="154"/>
                  </a:lnTo>
                  <a:lnTo>
                    <a:pt x="1141" y="159"/>
                  </a:lnTo>
                  <a:lnTo>
                    <a:pt x="1144" y="162"/>
                  </a:lnTo>
                  <a:lnTo>
                    <a:pt x="1150" y="160"/>
                  </a:lnTo>
                  <a:lnTo>
                    <a:pt x="1153" y="158"/>
                  </a:lnTo>
                  <a:lnTo>
                    <a:pt x="1155" y="158"/>
                  </a:lnTo>
                  <a:lnTo>
                    <a:pt x="1155" y="160"/>
                  </a:lnTo>
                  <a:lnTo>
                    <a:pt x="1155" y="163"/>
                  </a:lnTo>
                  <a:lnTo>
                    <a:pt x="1155" y="165"/>
                  </a:lnTo>
                  <a:lnTo>
                    <a:pt x="1157" y="167"/>
                  </a:lnTo>
                  <a:lnTo>
                    <a:pt x="1165" y="166"/>
                  </a:lnTo>
                  <a:lnTo>
                    <a:pt x="1171" y="167"/>
                  </a:lnTo>
                  <a:lnTo>
                    <a:pt x="1179" y="166"/>
                  </a:lnTo>
                  <a:lnTo>
                    <a:pt x="1183" y="164"/>
                  </a:lnTo>
                  <a:lnTo>
                    <a:pt x="1188" y="163"/>
                  </a:lnTo>
                  <a:lnTo>
                    <a:pt x="1192" y="163"/>
                  </a:lnTo>
                  <a:lnTo>
                    <a:pt x="1195" y="166"/>
                  </a:lnTo>
                  <a:lnTo>
                    <a:pt x="1201" y="168"/>
                  </a:lnTo>
                  <a:lnTo>
                    <a:pt x="1205" y="169"/>
                  </a:lnTo>
                  <a:lnTo>
                    <a:pt x="1209" y="168"/>
                  </a:lnTo>
                  <a:lnTo>
                    <a:pt x="1213" y="169"/>
                  </a:lnTo>
                  <a:lnTo>
                    <a:pt x="1214" y="171"/>
                  </a:lnTo>
                  <a:lnTo>
                    <a:pt x="1217" y="176"/>
                  </a:lnTo>
                  <a:lnTo>
                    <a:pt x="1217" y="178"/>
                  </a:lnTo>
                  <a:lnTo>
                    <a:pt x="1216" y="180"/>
                  </a:lnTo>
                  <a:lnTo>
                    <a:pt x="1215" y="182"/>
                  </a:lnTo>
                  <a:lnTo>
                    <a:pt x="1219" y="184"/>
                  </a:lnTo>
                  <a:lnTo>
                    <a:pt x="1229" y="186"/>
                  </a:lnTo>
                  <a:lnTo>
                    <a:pt x="1245" y="191"/>
                  </a:lnTo>
                  <a:lnTo>
                    <a:pt x="1256" y="192"/>
                  </a:lnTo>
                  <a:lnTo>
                    <a:pt x="1261" y="194"/>
                  </a:lnTo>
                  <a:lnTo>
                    <a:pt x="1263" y="196"/>
                  </a:lnTo>
                  <a:lnTo>
                    <a:pt x="1263" y="201"/>
                  </a:lnTo>
                  <a:lnTo>
                    <a:pt x="1265" y="202"/>
                  </a:lnTo>
                  <a:lnTo>
                    <a:pt x="1268" y="199"/>
                  </a:lnTo>
                  <a:lnTo>
                    <a:pt x="1269" y="197"/>
                  </a:lnTo>
                  <a:lnTo>
                    <a:pt x="1271" y="194"/>
                  </a:lnTo>
                  <a:lnTo>
                    <a:pt x="1275" y="192"/>
                  </a:lnTo>
                  <a:lnTo>
                    <a:pt x="1278" y="190"/>
                  </a:lnTo>
                  <a:lnTo>
                    <a:pt x="1279" y="190"/>
                  </a:lnTo>
                  <a:lnTo>
                    <a:pt x="1281" y="189"/>
                  </a:lnTo>
                  <a:lnTo>
                    <a:pt x="1284" y="190"/>
                  </a:lnTo>
                  <a:lnTo>
                    <a:pt x="1286" y="188"/>
                  </a:lnTo>
                  <a:lnTo>
                    <a:pt x="1288" y="184"/>
                  </a:lnTo>
                  <a:lnTo>
                    <a:pt x="1291" y="182"/>
                  </a:lnTo>
                  <a:lnTo>
                    <a:pt x="1293" y="182"/>
                  </a:lnTo>
                  <a:lnTo>
                    <a:pt x="1295" y="185"/>
                  </a:lnTo>
                  <a:lnTo>
                    <a:pt x="1296" y="188"/>
                  </a:lnTo>
                  <a:lnTo>
                    <a:pt x="1299" y="189"/>
                  </a:lnTo>
                  <a:lnTo>
                    <a:pt x="1302" y="186"/>
                  </a:lnTo>
                  <a:lnTo>
                    <a:pt x="1306" y="184"/>
                  </a:lnTo>
                  <a:lnTo>
                    <a:pt x="1310" y="183"/>
                  </a:lnTo>
                  <a:lnTo>
                    <a:pt x="1313" y="183"/>
                  </a:lnTo>
                  <a:lnTo>
                    <a:pt x="1319" y="186"/>
                  </a:lnTo>
                  <a:lnTo>
                    <a:pt x="1331" y="185"/>
                  </a:lnTo>
                  <a:lnTo>
                    <a:pt x="1334" y="184"/>
                  </a:lnTo>
                  <a:lnTo>
                    <a:pt x="1337" y="188"/>
                  </a:lnTo>
                  <a:lnTo>
                    <a:pt x="1339" y="189"/>
                  </a:lnTo>
                  <a:lnTo>
                    <a:pt x="1344" y="189"/>
                  </a:lnTo>
                  <a:lnTo>
                    <a:pt x="1347" y="189"/>
                  </a:lnTo>
                  <a:lnTo>
                    <a:pt x="1351" y="190"/>
                  </a:lnTo>
                  <a:lnTo>
                    <a:pt x="1353" y="189"/>
                  </a:lnTo>
                  <a:lnTo>
                    <a:pt x="1356" y="186"/>
                  </a:lnTo>
                  <a:lnTo>
                    <a:pt x="1358" y="184"/>
                  </a:lnTo>
                  <a:lnTo>
                    <a:pt x="1364" y="178"/>
                  </a:lnTo>
                  <a:lnTo>
                    <a:pt x="1366" y="176"/>
                  </a:lnTo>
                  <a:lnTo>
                    <a:pt x="1369" y="176"/>
                  </a:lnTo>
                  <a:lnTo>
                    <a:pt x="1370" y="177"/>
                  </a:lnTo>
                  <a:lnTo>
                    <a:pt x="1371" y="179"/>
                  </a:lnTo>
                  <a:lnTo>
                    <a:pt x="1372" y="180"/>
                  </a:lnTo>
                  <a:lnTo>
                    <a:pt x="1373" y="179"/>
                  </a:lnTo>
                  <a:lnTo>
                    <a:pt x="1374" y="177"/>
                  </a:lnTo>
                  <a:lnTo>
                    <a:pt x="1377" y="176"/>
                  </a:lnTo>
                  <a:lnTo>
                    <a:pt x="1384" y="176"/>
                  </a:lnTo>
                  <a:lnTo>
                    <a:pt x="1396" y="182"/>
                  </a:lnTo>
                  <a:lnTo>
                    <a:pt x="1403" y="182"/>
                  </a:lnTo>
                  <a:lnTo>
                    <a:pt x="1406" y="181"/>
                  </a:lnTo>
                  <a:lnTo>
                    <a:pt x="1409" y="179"/>
                  </a:lnTo>
                  <a:lnTo>
                    <a:pt x="1411" y="177"/>
                  </a:lnTo>
                  <a:lnTo>
                    <a:pt x="1413" y="178"/>
                  </a:lnTo>
                  <a:lnTo>
                    <a:pt x="1415" y="182"/>
                  </a:lnTo>
                  <a:lnTo>
                    <a:pt x="1416" y="185"/>
                  </a:lnTo>
                  <a:lnTo>
                    <a:pt x="1416" y="190"/>
                  </a:lnTo>
                  <a:lnTo>
                    <a:pt x="1416" y="193"/>
                  </a:lnTo>
                  <a:lnTo>
                    <a:pt x="1417" y="195"/>
                  </a:lnTo>
                  <a:lnTo>
                    <a:pt x="1421" y="194"/>
                  </a:lnTo>
                  <a:lnTo>
                    <a:pt x="1422" y="192"/>
                  </a:lnTo>
                  <a:lnTo>
                    <a:pt x="1425" y="192"/>
                  </a:lnTo>
                  <a:lnTo>
                    <a:pt x="1428" y="193"/>
                  </a:lnTo>
                  <a:lnTo>
                    <a:pt x="1436" y="197"/>
                  </a:lnTo>
                  <a:lnTo>
                    <a:pt x="1444" y="198"/>
                  </a:lnTo>
                  <a:lnTo>
                    <a:pt x="1452" y="201"/>
                  </a:lnTo>
                  <a:lnTo>
                    <a:pt x="1457" y="206"/>
                  </a:lnTo>
                  <a:lnTo>
                    <a:pt x="1461" y="210"/>
                  </a:lnTo>
                  <a:lnTo>
                    <a:pt x="1463" y="212"/>
                  </a:lnTo>
                  <a:lnTo>
                    <a:pt x="1471" y="212"/>
                  </a:lnTo>
                  <a:lnTo>
                    <a:pt x="1475" y="215"/>
                  </a:lnTo>
                  <a:lnTo>
                    <a:pt x="1480" y="219"/>
                  </a:lnTo>
                  <a:lnTo>
                    <a:pt x="1489" y="223"/>
                  </a:lnTo>
                  <a:lnTo>
                    <a:pt x="1500" y="225"/>
                  </a:lnTo>
                  <a:lnTo>
                    <a:pt x="1512" y="225"/>
                  </a:lnTo>
                  <a:lnTo>
                    <a:pt x="1518" y="227"/>
                  </a:lnTo>
                  <a:lnTo>
                    <a:pt x="1522" y="225"/>
                  </a:lnTo>
                  <a:lnTo>
                    <a:pt x="1525" y="224"/>
                  </a:lnTo>
                  <a:lnTo>
                    <a:pt x="1526" y="221"/>
                  </a:lnTo>
                  <a:lnTo>
                    <a:pt x="1525" y="218"/>
                  </a:lnTo>
                  <a:lnTo>
                    <a:pt x="1525" y="215"/>
                  </a:lnTo>
                  <a:lnTo>
                    <a:pt x="1527" y="214"/>
                  </a:lnTo>
                  <a:lnTo>
                    <a:pt x="1531" y="214"/>
                  </a:lnTo>
                  <a:lnTo>
                    <a:pt x="1534" y="212"/>
                  </a:lnTo>
                  <a:lnTo>
                    <a:pt x="1536" y="212"/>
                  </a:lnTo>
                  <a:lnTo>
                    <a:pt x="1536" y="216"/>
                  </a:lnTo>
                  <a:lnTo>
                    <a:pt x="1534" y="219"/>
                  </a:lnTo>
                  <a:lnTo>
                    <a:pt x="1535" y="222"/>
                  </a:lnTo>
                  <a:lnTo>
                    <a:pt x="1539" y="225"/>
                  </a:lnTo>
                  <a:lnTo>
                    <a:pt x="1555" y="230"/>
                  </a:lnTo>
                  <a:lnTo>
                    <a:pt x="1559" y="232"/>
                  </a:lnTo>
                  <a:lnTo>
                    <a:pt x="1565" y="243"/>
                  </a:lnTo>
                  <a:lnTo>
                    <a:pt x="1566" y="247"/>
                  </a:lnTo>
                  <a:lnTo>
                    <a:pt x="1566" y="249"/>
                  </a:lnTo>
                  <a:lnTo>
                    <a:pt x="1567" y="250"/>
                  </a:lnTo>
                  <a:lnTo>
                    <a:pt x="1571" y="249"/>
                  </a:lnTo>
                  <a:lnTo>
                    <a:pt x="1575" y="248"/>
                  </a:lnTo>
                  <a:lnTo>
                    <a:pt x="1580" y="249"/>
                  </a:lnTo>
                  <a:lnTo>
                    <a:pt x="1585" y="253"/>
                  </a:lnTo>
                  <a:lnTo>
                    <a:pt x="1587" y="255"/>
                  </a:lnTo>
                  <a:lnTo>
                    <a:pt x="1591" y="258"/>
                  </a:lnTo>
                  <a:lnTo>
                    <a:pt x="1593" y="259"/>
                  </a:lnTo>
                  <a:lnTo>
                    <a:pt x="1603" y="260"/>
                  </a:lnTo>
                  <a:lnTo>
                    <a:pt x="1612" y="262"/>
                  </a:lnTo>
                  <a:lnTo>
                    <a:pt x="1621" y="262"/>
                  </a:lnTo>
                  <a:lnTo>
                    <a:pt x="1624" y="264"/>
                  </a:lnTo>
                  <a:lnTo>
                    <a:pt x="1626" y="270"/>
                  </a:lnTo>
                  <a:lnTo>
                    <a:pt x="1627" y="272"/>
                  </a:lnTo>
                  <a:lnTo>
                    <a:pt x="1633" y="282"/>
                  </a:lnTo>
                  <a:lnTo>
                    <a:pt x="1639" y="290"/>
                  </a:lnTo>
                  <a:lnTo>
                    <a:pt x="1642" y="296"/>
                  </a:lnTo>
                  <a:lnTo>
                    <a:pt x="1644" y="298"/>
                  </a:lnTo>
                  <a:lnTo>
                    <a:pt x="1648" y="296"/>
                  </a:lnTo>
                  <a:lnTo>
                    <a:pt x="1651" y="294"/>
                  </a:lnTo>
                  <a:lnTo>
                    <a:pt x="1653" y="292"/>
                  </a:lnTo>
                  <a:lnTo>
                    <a:pt x="1656" y="293"/>
                  </a:lnTo>
                  <a:lnTo>
                    <a:pt x="1657" y="296"/>
                  </a:lnTo>
                  <a:lnTo>
                    <a:pt x="1658" y="298"/>
                  </a:lnTo>
                  <a:lnTo>
                    <a:pt x="1662" y="300"/>
                  </a:lnTo>
                  <a:lnTo>
                    <a:pt x="1668" y="302"/>
                  </a:lnTo>
                  <a:lnTo>
                    <a:pt x="1688" y="310"/>
                  </a:lnTo>
                  <a:lnTo>
                    <a:pt x="1691" y="313"/>
                  </a:lnTo>
                  <a:lnTo>
                    <a:pt x="1696" y="314"/>
                  </a:lnTo>
                  <a:lnTo>
                    <a:pt x="1700" y="316"/>
                  </a:lnTo>
                  <a:lnTo>
                    <a:pt x="1704" y="320"/>
                  </a:lnTo>
                  <a:lnTo>
                    <a:pt x="1711" y="322"/>
                  </a:lnTo>
                  <a:lnTo>
                    <a:pt x="1716" y="323"/>
                  </a:lnTo>
                  <a:lnTo>
                    <a:pt x="1722" y="325"/>
                  </a:lnTo>
                  <a:lnTo>
                    <a:pt x="1725" y="332"/>
                  </a:lnTo>
                  <a:lnTo>
                    <a:pt x="1728" y="346"/>
                  </a:lnTo>
                  <a:lnTo>
                    <a:pt x="1736" y="359"/>
                  </a:lnTo>
                  <a:lnTo>
                    <a:pt x="1736" y="359"/>
                  </a:lnTo>
                  <a:lnTo>
                    <a:pt x="1725" y="372"/>
                  </a:lnTo>
                  <a:lnTo>
                    <a:pt x="1688" y="406"/>
                  </a:lnTo>
                  <a:lnTo>
                    <a:pt x="1661" y="438"/>
                  </a:lnTo>
                  <a:lnTo>
                    <a:pt x="1629" y="477"/>
                  </a:lnTo>
                  <a:lnTo>
                    <a:pt x="1595" y="516"/>
                  </a:lnTo>
                  <a:lnTo>
                    <a:pt x="1561" y="555"/>
                  </a:lnTo>
                  <a:lnTo>
                    <a:pt x="1528" y="594"/>
                  </a:lnTo>
                  <a:lnTo>
                    <a:pt x="1494" y="632"/>
                  </a:lnTo>
                  <a:lnTo>
                    <a:pt x="1461" y="671"/>
                  </a:lnTo>
                  <a:lnTo>
                    <a:pt x="1427" y="710"/>
                  </a:lnTo>
                  <a:lnTo>
                    <a:pt x="1395" y="749"/>
                  </a:lnTo>
                  <a:lnTo>
                    <a:pt x="1354" y="780"/>
                  </a:lnTo>
                  <a:lnTo>
                    <a:pt x="1314" y="811"/>
                  </a:lnTo>
                  <a:lnTo>
                    <a:pt x="1274" y="841"/>
                  </a:lnTo>
                  <a:lnTo>
                    <a:pt x="1234" y="871"/>
                  </a:lnTo>
                  <a:lnTo>
                    <a:pt x="1194" y="903"/>
                  </a:lnTo>
                  <a:lnTo>
                    <a:pt x="1154" y="933"/>
                  </a:lnTo>
                  <a:lnTo>
                    <a:pt x="1114" y="963"/>
                  </a:lnTo>
                  <a:lnTo>
                    <a:pt x="1075" y="994"/>
                  </a:lnTo>
                  <a:lnTo>
                    <a:pt x="1037" y="1023"/>
                  </a:lnTo>
                  <a:lnTo>
                    <a:pt x="1007" y="1041"/>
                  </a:lnTo>
                  <a:lnTo>
                    <a:pt x="1007" y="1041"/>
                  </a:lnTo>
                  <a:lnTo>
                    <a:pt x="997" y="1039"/>
                  </a:lnTo>
                  <a:lnTo>
                    <a:pt x="984" y="1045"/>
                  </a:lnTo>
                  <a:lnTo>
                    <a:pt x="969" y="1050"/>
                  </a:lnTo>
                  <a:lnTo>
                    <a:pt x="941" y="1036"/>
                  </a:lnTo>
                  <a:lnTo>
                    <a:pt x="918" y="1031"/>
                  </a:lnTo>
                  <a:lnTo>
                    <a:pt x="909" y="1026"/>
                  </a:lnTo>
                  <a:lnTo>
                    <a:pt x="898" y="1018"/>
                  </a:lnTo>
                  <a:lnTo>
                    <a:pt x="891" y="1018"/>
                  </a:lnTo>
                  <a:lnTo>
                    <a:pt x="870" y="1024"/>
                  </a:lnTo>
                  <a:lnTo>
                    <a:pt x="840" y="1025"/>
                  </a:lnTo>
                  <a:lnTo>
                    <a:pt x="813" y="1016"/>
                  </a:lnTo>
                  <a:lnTo>
                    <a:pt x="790" y="1002"/>
                  </a:lnTo>
                  <a:lnTo>
                    <a:pt x="774" y="983"/>
                  </a:lnTo>
                  <a:lnTo>
                    <a:pt x="766" y="960"/>
                  </a:lnTo>
                  <a:lnTo>
                    <a:pt x="765" y="957"/>
                  </a:lnTo>
                  <a:lnTo>
                    <a:pt x="763" y="951"/>
                  </a:lnTo>
                  <a:lnTo>
                    <a:pt x="758" y="946"/>
                  </a:lnTo>
                  <a:lnTo>
                    <a:pt x="753" y="943"/>
                  </a:lnTo>
                  <a:lnTo>
                    <a:pt x="747" y="933"/>
                  </a:lnTo>
                  <a:lnTo>
                    <a:pt x="724" y="905"/>
                  </a:lnTo>
                  <a:lnTo>
                    <a:pt x="711" y="883"/>
                  </a:lnTo>
                  <a:lnTo>
                    <a:pt x="703" y="873"/>
                  </a:lnTo>
                  <a:lnTo>
                    <a:pt x="694" y="869"/>
                  </a:lnTo>
                  <a:lnTo>
                    <a:pt x="682" y="866"/>
                  </a:lnTo>
                  <a:lnTo>
                    <a:pt x="528" y="766"/>
                  </a:lnTo>
                  <a:lnTo>
                    <a:pt x="344" y="688"/>
                  </a:lnTo>
                  <a:lnTo>
                    <a:pt x="321" y="682"/>
                  </a:lnTo>
                  <a:lnTo>
                    <a:pt x="310" y="678"/>
                  </a:lnTo>
                  <a:lnTo>
                    <a:pt x="301" y="670"/>
                  </a:lnTo>
                  <a:lnTo>
                    <a:pt x="297" y="660"/>
                  </a:lnTo>
                  <a:lnTo>
                    <a:pt x="294" y="648"/>
                  </a:lnTo>
                  <a:lnTo>
                    <a:pt x="291" y="638"/>
                  </a:lnTo>
                  <a:lnTo>
                    <a:pt x="282" y="630"/>
                  </a:lnTo>
                  <a:lnTo>
                    <a:pt x="269" y="625"/>
                  </a:lnTo>
                  <a:lnTo>
                    <a:pt x="242" y="619"/>
                  </a:lnTo>
                  <a:lnTo>
                    <a:pt x="230" y="612"/>
                  </a:lnTo>
                  <a:lnTo>
                    <a:pt x="224" y="605"/>
                  </a:lnTo>
                  <a:lnTo>
                    <a:pt x="222" y="595"/>
                  </a:lnTo>
                  <a:lnTo>
                    <a:pt x="220" y="574"/>
                  </a:lnTo>
                  <a:lnTo>
                    <a:pt x="217" y="566"/>
                  </a:lnTo>
                  <a:lnTo>
                    <a:pt x="207" y="548"/>
                  </a:lnTo>
                  <a:lnTo>
                    <a:pt x="205" y="540"/>
                  </a:lnTo>
                  <a:lnTo>
                    <a:pt x="205" y="525"/>
                  </a:lnTo>
                  <a:lnTo>
                    <a:pt x="203" y="519"/>
                  </a:lnTo>
                  <a:lnTo>
                    <a:pt x="190" y="500"/>
                  </a:lnTo>
                  <a:lnTo>
                    <a:pt x="181" y="455"/>
                  </a:lnTo>
                  <a:lnTo>
                    <a:pt x="174" y="440"/>
                  </a:lnTo>
                  <a:lnTo>
                    <a:pt x="164" y="434"/>
                  </a:lnTo>
                  <a:lnTo>
                    <a:pt x="151" y="432"/>
                  </a:lnTo>
                  <a:lnTo>
                    <a:pt x="120" y="439"/>
                  </a:lnTo>
                  <a:lnTo>
                    <a:pt x="110" y="440"/>
                  </a:lnTo>
                  <a:lnTo>
                    <a:pt x="102" y="432"/>
                  </a:lnTo>
                  <a:lnTo>
                    <a:pt x="96" y="417"/>
                  </a:lnTo>
                  <a:lnTo>
                    <a:pt x="90" y="395"/>
                  </a:lnTo>
                  <a:lnTo>
                    <a:pt x="70" y="341"/>
                  </a:lnTo>
                  <a:lnTo>
                    <a:pt x="64" y="332"/>
                  </a:lnTo>
                  <a:lnTo>
                    <a:pt x="55" y="322"/>
                  </a:lnTo>
                  <a:lnTo>
                    <a:pt x="46" y="312"/>
                  </a:lnTo>
                  <a:lnTo>
                    <a:pt x="29" y="298"/>
                  </a:lnTo>
                  <a:lnTo>
                    <a:pt x="0" y="293"/>
                  </a:lnTo>
                  <a:lnTo>
                    <a:pt x="16" y="277"/>
                  </a:lnTo>
                  <a:lnTo>
                    <a:pt x="35" y="243"/>
                  </a:lnTo>
                  <a:lnTo>
                    <a:pt x="38" y="233"/>
                  </a:lnTo>
                  <a:lnTo>
                    <a:pt x="39" y="222"/>
                  </a:lnTo>
                  <a:lnTo>
                    <a:pt x="38" y="150"/>
                  </a:lnTo>
                  <a:lnTo>
                    <a:pt x="72" y="152"/>
                  </a:lnTo>
                  <a:lnTo>
                    <a:pt x="91" y="151"/>
                  </a:lnTo>
                  <a:lnTo>
                    <a:pt x="139" y="143"/>
                  </a:lnTo>
                  <a:lnTo>
                    <a:pt x="155" y="143"/>
                  </a:lnTo>
                  <a:lnTo>
                    <a:pt x="165" y="144"/>
                  </a:lnTo>
                  <a:lnTo>
                    <a:pt x="172" y="147"/>
                  </a:lnTo>
                  <a:lnTo>
                    <a:pt x="178" y="151"/>
                  </a:lnTo>
                  <a:lnTo>
                    <a:pt x="185" y="152"/>
                  </a:lnTo>
                  <a:lnTo>
                    <a:pt x="189" y="149"/>
                  </a:lnTo>
                  <a:lnTo>
                    <a:pt x="193" y="139"/>
                  </a:lnTo>
                  <a:lnTo>
                    <a:pt x="195" y="137"/>
                  </a:lnTo>
                  <a:lnTo>
                    <a:pt x="198" y="136"/>
                  </a:lnTo>
                  <a:lnTo>
                    <a:pt x="205" y="138"/>
                  </a:lnTo>
                  <a:lnTo>
                    <a:pt x="211" y="142"/>
                  </a:lnTo>
                  <a:lnTo>
                    <a:pt x="219" y="143"/>
                  </a:lnTo>
                  <a:lnTo>
                    <a:pt x="229" y="142"/>
                  </a:lnTo>
                  <a:lnTo>
                    <a:pt x="245" y="133"/>
                  </a:lnTo>
                  <a:lnTo>
                    <a:pt x="271" y="116"/>
                  </a:lnTo>
                  <a:lnTo>
                    <a:pt x="279" y="112"/>
                  </a:lnTo>
                  <a:lnTo>
                    <a:pt x="292" y="107"/>
                  </a:lnTo>
                  <a:lnTo>
                    <a:pt x="300" y="105"/>
                  </a:lnTo>
                  <a:lnTo>
                    <a:pt x="313" y="98"/>
                  </a:lnTo>
                  <a:lnTo>
                    <a:pt x="320" y="94"/>
                  </a:lnTo>
                  <a:lnTo>
                    <a:pt x="330" y="93"/>
                  </a:lnTo>
                  <a:lnTo>
                    <a:pt x="338" y="91"/>
                  </a:lnTo>
                  <a:lnTo>
                    <a:pt x="346" y="90"/>
                  </a:lnTo>
                  <a:lnTo>
                    <a:pt x="356" y="92"/>
                  </a:lnTo>
                  <a:lnTo>
                    <a:pt x="363" y="93"/>
                  </a:lnTo>
                  <a:lnTo>
                    <a:pt x="370" y="92"/>
                  </a:lnTo>
                  <a:lnTo>
                    <a:pt x="378" y="89"/>
                  </a:lnTo>
                  <a:lnTo>
                    <a:pt x="387" y="87"/>
                  </a:lnTo>
                  <a:lnTo>
                    <a:pt x="420" y="84"/>
                  </a:lnTo>
                  <a:lnTo>
                    <a:pt x="479" y="56"/>
                  </a:lnTo>
                  <a:lnTo>
                    <a:pt x="488" y="51"/>
                  </a:lnTo>
                  <a:lnTo>
                    <a:pt x="494" y="49"/>
                  </a:lnTo>
                  <a:lnTo>
                    <a:pt x="517" y="49"/>
                  </a:lnTo>
                  <a:lnTo>
                    <a:pt x="535" y="46"/>
                  </a:lnTo>
                  <a:lnTo>
                    <a:pt x="599" y="26"/>
                  </a:lnTo>
                  <a:lnTo>
                    <a:pt x="615" y="17"/>
                  </a:lnTo>
                  <a:lnTo>
                    <a:pt x="622" y="13"/>
                  </a:lnTo>
                  <a:lnTo>
                    <a:pt x="630" y="10"/>
                  </a:lnTo>
                  <a:lnTo>
                    <a:pt x="639" y="8"/>
                  </a:lnTo>
                  <a:lnTo>
                    <a:pt x="751" y="0"/>
                  </a:lnTo>
                  <a:lnTo>
                    <a:pt x="737" y="15"/>
                  </a:lnTo>
                  <a:lnTo>
                    <a:pt x="736" y="20"/>
                  </a:lnTo>
                  <a:lnTo>
                    <a:pt x="737" y="24"/>
                  </a:lnTo>
                  <a:lnTo>
                    <a:pt x="739" y="29"/>
                  </a:lnTo>
                  <a:lnTo>
                    <a:pt x="743" y="49"/>
                  </a:lnTo>
                  <a:lnTo>
                    <a:pt x="748" y="55"/>
                  </a:lnTo>
                  <a:lnTo>
                    <a:pt x="755" y="60"/>
                  </a:lnTo>
                  <a:lnTo>
                    <a:pt x="810" y="72"/>
                  </a:lnTo>
                  <a:lnTo>
                    <a:pt x="875" y="9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A8880EDF-3300-86A5-1C85-555B82FC8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221" y="1708048"/>
              <a:ext cx="2356379" cy="1476782"/>
            </a:xfrm>
            <a:custGeom>
              <a:avLst/>
              <a:gdLst>
                <a:gd name="T0" fmla="*/ 397 w 1602"/>
                <a:gd name="T1" fmla="*/ 35 h 1004"/>
                <a:gd name="T2" fmla="*/ 475 w 1602"/>
                <a:gd name="T3" fmla="*/ 26 h 1004"/>
                <a:gd name="T4" fmla="*/ 589 w 1602"/>
                <a:gd name="T5" fmla="*/ 172 h 1004"/>
                <a:gd name="T6" fmla="*/ 662 w 1602"/>
                <a:gd name="T7" fmla="*/ 243 h 1004"/>
                <a:gd name="T8" fmla="*/ 799 w 1602"/>
                <a:gd name="T9" fmla="*/ 294 h 1004"/>
                <a:gd name="T10" fmla="*/ 901 w 1602"/>
                <a:gd name="T11" fmla="*/ 265 h 1004"/>
                <a:gd name="T12" fmla="*/ 1046 w 1602"/>
                <a:gd name="T13" fmla="*/ 310 h 1004"/>
                <a:gd name="T14" fmla="*/ 1131 w 1602"/>
                <a:gd name="T15" fmla="*/ 337 h 1004"/>
                <a:gd name="T16" fmla="*/ 1161 w 1602"/>
                <a:gd name="T17" fmla="*/ 245 h 1004"/>
                <a:gd name="T18" fmla="*/ 1233 w 1602"/>
                <a:gd name="T19" fmla="*/ 257 h 1004"/>
                <a:gd name="T20" fmla="*/ 1278 w 1602"/>
                <a:gd name="T21" fmla="*/ 276 h 1004"/>
                <a:gd name="T22" fmla="*/ 1345 w 1602"/>
                <a:gd name="T23" fmla="*/ 288 h 1004"/>
                <a:gd name="T24" fmla="*/ 1373 w 1602"/>
                <a:gd name="T25" fmla="*/ 305 h 1004"/>
                <a:gd name="T26" fmla="*/ 1423 w 1602"/>
                <a:gd name="T27" fmla="*/ 337 h 1004"/>
                <a:gd name="T28" fmla="*/ 1493 w 1602"/>
                <a:gd name="T29" fmla="*/ 361 h 1004"/>
                <a:gd name="T30" fmla="*/ 1557 w 1602"/>
                <a:gd name="T31" fmla="*/ 384 h 1004"/>
                <a:gd name="T32" fmla="*/ 1576 w 1602"/>
                <a:gd name="T33" fmla="*/ 399 h 1004"/>
                <a:gd name="T34" fmla="*/ 1560 w 1602"/>
                <a:gd name="T35" fmla="*/ 448 h 1004"/>
                <a:gd name="T36" fmla="*/ 1598 w 1602"/>
                <a:gd name="T37" fmla="*/ 607 h 1004"/>
                <a:gd name="T38" fmla="*/ 1511 w 1602"/>
                <a:gd name="T39" fmla="*/ 609 h 1004"/>
                <a:gd name="T40" fmla="*/ 1390 w 1602"/>
                <a:gd name="T41" fmla="*/ 935 h 1004"/>
                <a:gd name="T42" fmla="*/ 1346 w 1602"/>
                <a:gd name="T43" fmla="*/ 968 h 1004"/>
                <a:gd name="T44" fmla="*/ 1292 w 1602"/>
                <a:gd name="T45" fmla="*/ 945 h 1004"/>
                <a:gd name="T46" fmla="*/ 1272 w 1602"/>
                <a:gd name="T47" fmla="*/ 941 h 1004"/>
                <a:gd name="T48" fmla="*/ 1233 w 1602"/>
                <a:gd name="T49" fmla="*/ 905 h 1004"/>
                <a:gd name="T50" fmla="*/ 1197 w 1602"/>
                <a:gd name="T51" fmla="*/ 895 h 1004"/>
                <a:gd name="T52" fmla="*/ 1164 w 1602"/>
                <a:gd name="T53" fmla="*/ 864 h 1004"/>
                <a:gd name="T54" fmla="*/ 1156 w 1602"/>
                <a:gd name="T55" fmla="*/ 866 h 1004"/>
                <a:gd name="T56" fmla="*/ 1105 w 1602"/>
                <a:gd name="T57" fmla="*/ 860 h 1004"/>
                <a:gd name="T58" fmla="*/ 1058 w 1602"/>
                <a:gd name="T59" fmla="*/ 838 h 1004"/>
                <a:gd name="T60" fmla="*/ 1045 w 1602"/>
                <a:gd name="T61" fmla="*/ 827 h 1004"/>
                <a:gd name="T62" fmla="*/ 1007 w 1602"/>
                <a:gd name="T63" fmla="*/ 821 h 1004"/>
                <a:gd name="T64" fmla="*/ 994 w 1602"/>
                <a:gd name="T65" fmla="*/ 823 h 1004"/>
                <a:gd name="T66" fmla="*/ 967 w 1602"/>
                <a:gd name="T67" fmla="*/ 833 h 1004"/>
                <a:gd name="T68" fmla="*/ 929 w 1602"/>
                <a:gd name="T69" fmla="*/ 834 h 1004"/>
                <a:gd name="T70" fmla="*/ 911 w 1602"/>
                <a:gd name="T71" fmla="*/ 834 h 1004"/>
                <a:gd name="T72" fmla="*/ 893 w 1602"/>
                <a:gd name="T73" fmla="*/ 846 h 1004"/>
                <a:gd name="T74" fmla="*/ 846 w 1602"/>
                <a:gd name="T75" fmla="*/ 825 h 1004"/>
                <a:gd name="T76" fmla="*/ 825 w 1602"/>
                <a:gd name="T77" fmla="*/ 811 h 1004"/>
                <a:gd name="T78" fmla="*/ 785 w 1602"/>
                <a:gd name="T79" fmla="*/ 810 h 1004"/>
                <a:gd name="T80" fmla="*/ 767 w 1602"/>
                <a:gd name="T81" fmla="*/ 799 h 1004"/>
                <a:gd name="T82" fmla="*/ 743 w 1602"/>
                <a:gd name="T83" fmla="*/ 764 h 1004"/>
                <a:gd name="T84" fmla="*/ 720 w 1602"/>
                <a:gd name="T85" fmla="*/ 672 h 1004"/>
                <a:gd name="T86" fmla="*/ 645 w 1602"/>
                <a:gd name="T87" fmla="*/ 688 h 1004"/>
                <a:gd name="T88" fmla="*/ 570 w 1602"/>
                <a:gd name="T89" fmla="*/ 705 h 1004"/>
                <a:gd name="T90" fmla="*/ 522 w 1602"/>
                <a:gd name="T91" fmla="*/ 731 h 1004"/>
                <a:gd name="T92" fmla="*/ 369 w 1602"/>
                <a:gd name="T93" fmla="*/ 674 h 1004"/>
                <a:gd name="T94" fmla="*/ 375 w 1602"/>
                <a:gd name="T95" fmla="*/ 614 h 1004"/>
                <a:gd name="T96" fmla="*/ 340 w 1602"/>
                <a:gd name="T97" fmla="*/ 574 h 1004"/>
                <a:gd name="T98" fmla="*/ 290 w 1602"/>
                <a:gd name="T99" fmla="*/ 506 h 1004"/>
                <a:gd name="T100" fmla="*/ 315 w 1602"/>
                <a:gd name="T101" fmla="*/ 448 h 1004"/>
                <a:gd name="T102" fmla="*/ 107 w 1602"/>
                <a:gd name="T103" fmla="*/ 591 h 1004"/>
                <a:gd name="T104" fmla="*/ 28 w 1602"/>
                <a:gd name="T105" fmla="*/ 592 h 1004"/>
                <a:gd name="T106" fmla="*/ 63 w 1602"/>
                <a:gd name="T107" fmla="*/ 479 h 1004"/>
                <a:gd name="T108" fmla="*/ 69 w 1602"/>
                <a:gd name="T109" fmla="*/ 402 h 1004"/>
                <a:gd name="T110" fmla="*/ 2 w 1602"/>
                <a:gd name="T111" fmla="*/ 338 h 1004"/>
                <a:gd name="T112" fmla="*/ 38 w 1602"/>
                <a:gd name="T113" fmla="*/ 288 h 1004"/>
                <a:gd name="T114" fmla="*/ 129 w 1602"/>
                <a:gd name="T115" fmla="*/ 310 h 1004"/>
                <a:gd name="T116" fmla="*/ 184 w 1602"/>
                <a:gd name="T117" fmla="*/ 251 h 1004"/>
                <a:gd name="T118" fmla="*/ 227 w 1602"/>
                <a:gd name="T119" fmla="*/ 215 h 1004"/>
                <a:gd name="T120" fmla="*/ 246 w 1602"/>
                <a:gd name="T121" fmla="*/ 166 h 1004"/>
                <a:gd name="T122" fmla="*/ 224 w 1602"/>
                <a:gd name="T123" fmla="*/ 110 h 1004"/>
                <a:gd name="T124" fmla="*/ 225 w 1602"/>
                <a:gd name="T125" fmla="*/ 0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2" h="1004">
                  <a:moveTo>
                    <a:pt x="291" y="31"/>
                  </a:moveTo>
                  <a:lnTo>
                    <a:pt x="299" y="30"/>
                  </a:lnTo>
                  <a:lnTo>
                    <a:pt x="306" y="26"/>
                  </a:lnTo>
                  <a:lnTo>
                    <a:pt x="317" y="24"/>
                  </a:lnTo>
                  <a:lnTo>
                    <a:pt x="329" y="26"/>
                  </a:lnTo>
                  <a:lnTo>
                    <a:pt x="366" y="37"/>
                  </a:lnTo>
                  <a:lnTo>
                    <a:pt x="383" y="37"/>
                  </a:lnTo>
                  <a:lnTo>
                    <a:pt x="397" y="35"/>
                  </a:lnTo>
                  <a:lnTo>
                    <a:pt x="407" y="30"/>
                  </a:lnTo>
                  <a:lnTo>
                    <a:pt x="415" y="24"/>
                  </a:lnTo>
                  <a:lnTo>
                    <a:pt x="424" y="20"/>
                  </a:lnTo>
                  <a:lnTo>
                    <a:pt x="434" y="16"/>
                  </a:lnTo>
                  <a:lnTo>
                    <a:pt x="453" y="12"/>
                  </a:lnTo>
                  <a:lnTo>
                    <a:pt x="461" y="16"/>
                  </a:lnTo>
                  <a:lnTo>
                    <a:pt x="471" y="21"/>
                  </a:lnTo>
                  <a:lnTo>
                    <a:pt x="475" y="26"/>
                  </a:lnTo>
                  <a:lnTo>
                    <a:pt x="482" y="38"/>
                  </a:lnTo>
                  <a:lnTo>
                    <a:pt x="551" y="120"/>
                  </a:lnTo>
                  <a:lnTo>
                    <a:pt x="572" y="138"/>
                  </a:lnTo>
                  <a:lnTo>
                    <a:pt x="574" y="141"/>
                  </a:lnTo>
                  <a:lnTo>
                    <a:pt x="575" y="143"/>
                  </a:lnTo>
                  <a:lnTo>
                    <a:pt x="575" y="149"/>
                  </a:lnTo>
                  <a:lnTo>
                    <a:pt x="576" y="153"/>
                  </a:lnTo>
                  <a:lnTo>
                    <a:pt x="589" y="172"/>
                  </a:lnTo>
                  <a:lnTo>
                    <a:pt x="594" y="178"/>
                  </a:lnTo>
                  <a:lnTo>
                    <a:pt x="601" y="189"/>
                  </a:lnTo>
                  <a:lnTo>
                    <a:pt x="603" y="192"/>
                  </a:lnTo>
                  <a:lnTo>
                    <a:pt x="607" y="198"/>
                  </a:lnTo>
                  <a:lnTo>
                    <a:pt x="615" y="204"/>
                  </a:lnTo>
                  <a:lnTo>
                    <a:pt x="652" y="230"/>
                  </a:lnTo>
                  <a:lnTo>
                    <a:pt x="658" y="238"/>
                  </a:lnTo>
                  <a:lnTo>
                    <a:pt x="662" y="243"/>
                  </a:lnTo>
                  <a:lnTo>
                    <a:pt x="669" y="253"/>
                  </a:lnTo>
                  <a:lnTo>
                    <a:pt x="683" y="244"/>
                  </a:lnTo>
                  <a:lnTo>
                    <a:pt x="700" y="240"/>
                  </a:lnTo>
                  <a:lnTo>
                    <a:pt x="714" y="259"/>
                  </a:lnTo>
                  <a:lnTo>
                    <a:pt x="749" y="285"/>
                  </a:lnTo>
                  <a:lnTo>
                    <a:pt x="761" y="292"/>
                  </a:lnTo>
                  <a:lnTo>
                    <a:pt x="788" y="291"/>
                  </a:lnTo>
                  <a:lnTo>
                    <a:pt x="799" y="294"/>
                  </a:lnTo>
                  <a:lnTo>
                    <a:pt x="804" y="304"/>
                  </a:lnTo>
                  <a:lnTo>
                    <a:pt x="810" y="310"/>
                  </a:lnTo>
                  <a:lnTo>
                    <a:pt x="826" y="303"/>
                  </a:lnTo>
                  <a:lnTo>
                    <a:pt x="853" y="283"/>
                  </a:lnTo>
                  <a:lnTo>
                    <a:pt x="860" y="281"/>
                  </a:lnTo>
                  <a:lnTo>
                    <a:pt x="882" y="273"/>
                  </a:lnTo>
                  <a:lnTo>
                    <a:pt x="895" y="267"/>
                  </a:lnTo>
                  <a:lnTo>
                    <a:pt x="901" y="265"/>
                  </a:lnTo>
                  <a:lnTo>
                    <a:pt x="953" y="260"/>
                  </a:lnTo>
                  <a:lnTo>
                    <a:pt x="1016" y="265"/>
                  </a:lnTo>
                  <a:lnTo>
                    <a:pt x="1019" y="268"/>
                  </a:lnTo>
                  <a:lnTo>
                    <a:pt x="1023" y="276"/>
                  </a:lnTo>
                  <a:lnTo>
                    <a:pt x="1027" y="283"/>
                  </a:lnTo>
                  <a:lnTo>
                    <a:pt x="1029" y="299"/>
                  </a:lnTo>
                  <a:lnTo>
                    <a:pt x="1033" y="304"/>
                  </a:lnTo>
                  <a:lnTo>
                    <a:pt x="1046" y="310"/>
                  </a:lnTo>
                  <a:lnTo>
                    <a:pt x="1073" y="330"/>
                  </a:lnTo>
                  <a:lnTo>
                    <a:pt x="1088" y="338"/>
                  </a:lnTo>
                  <a:lnTo>
                    <a:pt x="1104" y="343"/>
                  </a:lnTo>
                  <a:lnTo>
                    <a:pt x="1120" y="344"/>
                  </a:lnTo>
                  <a:lnTo>
                    <a:pt x="1127" y="345"/>
                  </a:lnTo>
                  <a:lnTo>
                    <a:pt x="1131" y="343"/>
                  </a:lnTo>
                  <a:lnTo>
                    <a:pt x="1132" y="340"/>
                  </a:lnTo>
                  <a:lnTo>
                    <a:pt x="1131" y="337"/>
                  </a:lnTo>
                  <a:lnTo>
                    <a:pt x="1127" y="332"/>
                  </a:lnTo>
                  <a:lnTo>
                    <a:pt x="1124" y="324"/>
                  </a:lnTo>
                  <a:lnTo>
                    <a:pt x="1118" y="269"/>
                  </a:lnTo>
                  <a:lnTo>
                    <a:pt x="1118" y="258"/>
                  </a:lnTo>
                  <a:lnTo>
                    <a:pt x="1120" y="252"/>
                  </a:lnTo>
                  <a:lnTo>
                    <a:pt x="1129" y="247"/>
                  </a:lnTo>
                  <a:lnTo>
                    <a:pt x="1139" y="245"/>
                  </a:lnTo>
                  <a:lnTo>
                    <a:pt x="1161" y="245"/>
                  </a:lnTo>
                  <a:lnTo>
                    <a:pt x="1173" y="249"/>
                  </a:lnTo>
                  <a:lnTo>
                    <a:pt x="1183" y="254"/>
                  </a:lnTo>
                  <a:lnTo>
                    <a:pt x="1190" y="259"/>
                  </a:lnTo>
                  <a:lnTo>
                    <a:pt x="1198" y="260"/>
                  </a:lnTo>
                  <a:lnTo>
                    <a:pt x="1203" y="260"/>
                  </a:lnTo>
                  <a:lnTo>
                    <a:pt x="1210" y="258"/>
                  </a:lnTo>
                  <a:lnTo>
                    <a:pt x="1216" y="257"/>
                  </a:lnTo>
                  <a:lnTo>
                    <a:pt x="1233" y="257"/>
                  </a:lnTo>
                  <a:lnTo>
                    <a:pt x="1240" y="255"/>
                  </a:lnTo>
                  <a:lnTo>
                    <a:pt x="1247" y="253"/>
                  </a:lnTo>
                  <a:lnTo>
                    <a:pt x="1253" y="252"/>
                  </a:lnTo>
                  <a:lnTo>
                    <a:pt x="1259" y="253"/>
                  </a:lnTo>
                  <a:lnTo>
                    <a:pt x="1265" y="256"/>
                  </a:lnTo>
                  <a:lnTo>
                    <a:pt x="1268" y="260"/>
                  </a:lnTo>
                  <a:lnTo>
                    <a:pt x="1274" y="270"/>
                  </a:lnTo>
                  <a:lnTo>
                    <a:pt x="1278" y="276"/>
                  </a:lnTo>
                  <a:lnTo>
                    <a:pt x="1287" y="279"/>
                  </a:lnTo>
                  <a:lnTo>
                    <a:pt x="1294" y="279"/>
                  </a:lnTo>
                  <a:lnTo>
                    <a:pt x="1304" y="277"/>
                  </a:lnTo>
                  <a:lnTo>
                    <a:pt x="1311" y="273"/>
                  </a:lnTo>
                  <a:lnTo>
                    <a:pt x="1316" y="273"/>
                  </a:lnTo>
                  <a:lnTo>
                    <a:pt x="1322" y="276"/>
                  </a:lnTo>
                  <a:lnTo>
                    <a:pt x="1330" y="281"/>
                  </a:lnTo>
                  <a:lnTo>
                    <a:pt x="1345" y="288"/>
                  </a:lnTo>
                  <a:lnTo>
                    <a:pt x="1353" y="292"/>
                  </a:lnTo>
                  <a:lnTo>
                    <a:pt x="1357" y="295"/>
                  </a:lnTo>
                  <a:lnTo>
                    <a:pt x="1358" y="299"/>
                  </a:lnTo>
                  <a:lnTo>
                    <a:pt x="1360" y="303"/>
                  </a:lnTo>
                  <a:lnTo>
                    <a:pt x="1364" y="304"/>
                  </a:lnTo>
                  <a:lnTo>
                    <a:pt x="1370" y="299"/>
                  </a:lnTo>
                  <a:lnTo>
                    <a:pt x="1372" y="302"/>
                  </a:lnTo>
                  <a:lnTo>
                    <a:pt x="1373" y="305"/>
                  </a:lnTo>
                  <a:lnTo>
                    <a:pt x="1374" y="312"/>
                  </a:lnTo>
                  <a:lnTo>
                    <a:pt x="1377" y="317"/>
                  </a:lnTo>
                  <a:lnTo>
                    <a:pt x="1380" y="321"/>
                  </a:lnTo>
                  <a:lnTo>
                    <a:pt x="1383" y="325"/>
                  </a:lnTo>
                  <a:lnTo>
                    <a:pt x="1392" y="332"/>
                  </a:lnTo>
                  <a:lnTo>
                    <a:pt x="1412" y="338"/>
                  </a:lnTo>
                  <a:lnTo>
                    <a:pt x="1419" y="338"/>
                  </a:lnTo>
                  <a:lnTo>
                    <a:pt x="1423" y="337"/>
                  </a:lnTo>
                  <a:lnTo>
                    <a:pt x="1454" y="338"/>
                  </a:lnTo>
                  <a:lnTo>
                    <a:pt x="1461" y="341"/>
                  </a:lnTo>
                  <a:lnTo>
                    <a:pt x="1469" y="345"/>
                  </a:lnTo>
                  <a:lnTo>
                    <a:pt x="1474" y="347"/>
                  </a:lnTo>
                  <a:lnTo>
                    <a:pt x="1485" y="347"/>
                  </a:lnTo>
                  <a:lnTo>
                    <a:pt x="1488" y="349"/>
                  </a:lnTo>
                  <a:lnTo>
                    <a:pt x="1490" y="355"/>
                  </a:lnTo>
                  <a:lnTo>
                    <a:pt x="1493" y="361"/>
                  </a:lnTo>
                  <a:lnTo>
                    <a:pt x="1495" y="368"/>
                  </a:lnTo>
                  <a:lnTo>
                    <a:pt x="1498" y="371"/>
                  </a:lnTo>
                  <a:lnTo>
                    <a:pt x="1503" y="373"/>
                  </a:lnTo>
                  <a:lnTo>
                    <a:pt x="1510" y="374"/>
                  </a:lnTo>
                  <a:lnTo>
                    <a:pt x="1521" y="379"/>
                  </a:lnTo>
                  <a:lnTo>
                    <a:pt x="1544" y="385"/>
                  </a:lnTo>
                  <a:lnTo>
                    <a:pt x="1551" y="385"/>
                  </a:lnTo>
                  <a:lnTo>
                    <a:pt x="1557" y="384"/>
                  </a:lnTo>
                  <a:lnTo>
                    <a:pt x="1561" y="383"/>
                  </a:lnTo>
                  <a:lnTo>
                    <a:pt x="1563" y="384"/>
                  </a:lnTo>
                  <a:lnTo>
                    <a:pt x="1564" y="386"/>
                  </a:lnTo>
                  <a:lnTo>
                    <a:pt x="1563" y="394"/>
                  </a:lnTo>
                  <a:lnTo>
                    <a:pt x="1564" y="398"/>
                  </a:lnTo>
                  <a:lnTo>
                    <a:pt x="1566" y="399"/>
                  </a:lnTo>
                  <a:lnTo>
                    <a:pt x="1575" y="399"/>
                  </a:lnTo>
                  <a:lnTo>
                    <a:pt x="1576" y="399"/>
                  </a:lnTo>
                  <a:lnTo>
                    <a:pt x="1576" y="399"/>
                  </a:lnTo>
                  <a:lnTo>
                    <a:pt x="1568" y="402"/>
                  </a:lnTo>
                  <a:lnTo>
                    <a:pt x="1561" y="408"/>
                  </a:lnTo>
                  <a:lnTo>
                    <a:pt x="1558" y="415"/>
                  </a:lnTo>
                  <a:lnTo>
                    <a:pt x="1559" y="422"/>
                  </a:lnTo>
                  <a:lnTo>
                    <a:pt x="1561" y="435"/>
                  </a:lnTo>
                  <a:lnTo>
                    <a:pt x="1562" y="441"/>
                  </a:lnTo>
                  <a:lnTo>
                    <a:pt x="1560" y="448"/>
                  </a:lnTo>
                  <a:lnTo>
                    <a:pt x="1557" y="460"/>
                  </a:lnTo>
                  <a:lnTo>
                    <a:pt x="1555" y="468"/>
                  </a:lnTo>
                  <a:lnTo>
                    <a:pt x="1586" y="569"/>
                  </a:lnTo>
                  <a:lnTo>
                    <a:pt x="1586" y="576"/>
                  </a:lnTo>
                  <a:lnTo>
                    <a:pt x="1585" y="588"/>
                  </a:lnTo>
                  <a:lnTo>
                    <a:pt x="1586" y="593"/>
                  </a:lnTo>
                  <a:lnTo>
                    <a:pt x="1591" y="601"/>
                  </a:lnTo>
                  <a:lnTo>
                    <a:pt x="1598" y="607"/>
                  </a:lnTo>
                  <a:lnTo>
                    <a:pt x="1602" y="614"/>
                  </a:lnTo>
                  <a:lnTo>
                    <a:pt x="1602" y="618"/>
                  </a:lnTo>
                  <a:lnTo>
                    <a:pt x="1597" y="618"/>
                  </a:lnTo>
                  <a:lnTo>
                    <a:pt x="1565" y="618"/>
                  </a:lnTo>
                  <a:lnTo>
                    <a:pt x="1536" y="621"/>
                  </a:lnTo>
                  <a:lnTo>
                    <a:pt x="1521" y="621"/>
                  </a:lnTo>
                  <a:lnTo>
                    <a:pt x="1514" y="616"/>
                  </a:lnTo>
                  <a:lnTo>
                    <a:pt x="1511" y="609"/>
                  </a:lnTo>
                  <a:lnTo>
                    <a:pt x="1501" y="599"/>
                  </a:lnTo>
                  <a:lnTo>
                    <a:pt x="1483" y="581"/>
                  </a:lnTo>
                  <a:lnTo>
                    <a:pt x="1479" y="587"/>
                  </a:lnTo>
                  <a:lnTo>
                    <a:pt x="1470" y="620"/>
                  </a:lnTo>
                  <a:lnTo>
                    <a:pt x="1449" y="699"/>
                  </a:lnTo>
                  <a:lnTo>
                    <a:pt x="1430" y="778"/>
                  </a:lnTo>
                  <a:lnTo>
                    <a:pt x="1409" y="857"/>
                  </a:lnTo>
                  <a:lnTo>
                    <a:pt x="1390" y="935"/>
                  </a:lnTo>
                  <a:lnTo>
                    <a:pt x="1380" y="974"/>
                  </a:lnTo>
                  <a:lnTo>
                    <a:pt x="1371" y="998"/>
                  </a:lnTo>
                  <a:lnTo>
                    <a:pt x="1366" y="1004"/>
                  </a:lnTo>
                  <a:lnTo>
                    <a:pt x="1366" y="1004"/>
                  </a:lnTo>
                  <a:lnTo>
                    <a:pt x="1358" y="991"/>
                  </a:lnTo>
                  <a:lnTo>
                    <a:pt x="1355" y="977"/>
                  </a:lnTo>
                  <a:lnTo>
                    <a:pt x="1352" y="970"/>
                  </a:lnTo>
                  <a:lnTo>
                    <a:pt x="1346" y="968"/>
                  </a:lnTo>
                  <a:lnTo>
                    <a:pt x="1341" y="967"/>
                  </a:lnTo>
                  <a:lnTo>
                    <a:pt x="1334" y="965"/>
                  </a:lnTo>
                  <a:lnTo>
                    <a:pt x="1330" y="961"/>
                  </a:lnTo>
                  <a:lnTo>
                    <a:pt x="1326" y="959"/>
                  </a:lnTo>
                  <a:lnTo>
                    <a:pt x="1321" y="958"/>
                  </a:lnTo>
                  <a:lnTo>
                    <a:pt x="1318" y="955"/>
                  </a:lnTo>
                  <a:lnTo>
                    <a:pt x="1298" y="947"/>
                  </a:lnTo>
                  <a:lnTo>
                    <a:pt x="1292" y="945"/>
                  </a:lnTo>
                  <a:lnTo>
                    <a:pt x="1288" y="943"/>
                  </a:lnTo>
                  <a:lnTo>
                    <a:pt x="1287" y="941"/>
                  </a:lnTo>
                  <a:lnTo>
                    <a:pt x="1286" y="938"/>
                  </a:lnTo>
                  <a:lnTo>
                    <a:pt x="1283" y="937"/>
                  </a:lnTo>
                  <a:lnTo>
                    <a:pt x="1281" y="939"/>
                  </a:lnTo>
                  <a:lnTo>
                    <a:pt x="1278" y="941"/>
                  </a:lnTo>
                  <a:lnTo>
                    <a:pt x="1274" y="943"/>
                  </a:lnTo>
                  <a:lnTo>
                    <a:pt x="1272" y="941"/>
                  </a:lnTo>
                  <a:lnTo>
                    <a:pt x="1269" y="935"/>
                  </a:lnTo>
                  <a:lnTo>
                    <a:pt x="1263" y="927"/>
                  </a:lnTo>
                  <a:lnTo>
                    <a:pt x="1257" y="917"/>
                  </a:lnTo>
                  <a:lnTo>
                    <a:pt x="1256" y="915"/>
                  </a:lnTo>
                  <a:lnTo>
                    <a:pt x="1254" y="909"/>
                  </a:lnTo>
                  <a:lnTo>
                    <a:pt x="1251" y="907"/>
                  </a:lnTo>
                  <a:lnTo>
                    <a:pt x="1242" y="907"/>
                  </a:lnTo>
                  <a:lnTo>
                    <a:pt x="1233" y="905"/>
                  </a:lnTo>
                  <a:lnTo>
                    <a:pt x="1223" y="904"/>
                  </a:lnTo>
                  <a:lnTo>
                    <a:pt x="1221" y="903"/>
                  </a:lnTo>
                  <a:lnTo>
                    <a:pt x="1217" y="900"/>
                  </a:lnTo>
                  <a:lnTo>
                    <a:pt x="1215" y="898"/>
                  </a:lnTo>
                  <a:lnTo>
                    <a:pt x="1210" y="894"/>
                  </a:lnTo>
                  <a:lnTo>
                    <a:pt x="1205" y="893"/>
                  </a:lnTo>
                  <a:lnTo>
                    <a:pt x="1201" y="894"/>
                  </a:lnTo>
                  <a:lnTo>
                    <a:pt x="1197" y="895"/>
                  </a:lnTo>
                  <a:lnTo>
                    <a:pt x="1196" y="894"/>
                  </a:lnTo>
                  <a:lnTo>
                    <a:pt x="1196" y="892"/>
                  </a:lnTo>
                  <a:lnTo>
                    <a:pt x="1195" y="888"/>
                  </a:lnTo>
                  <a:lnTo>
                    <a:pt x="1189" y="877"/>
                  </a:lnTo>
                  <a:lnTo>
                    <a:pt x="1185" y="875"/>
                  </a:lnTo>
                  <a:lnTo>
                    <a:pt x="1169" y="870"/>
                  </a:lnTo>
                  <a:lnTo>
                    <a:pt x="1165" y="867"/>
                  </a:lnTo>
                  <a:lnTo>
                    <a:pt x="1164" y="864"/>
                  </a:lnTo>
                  <a:lnTo>
                    <a:pt x="1166" y="861"/>
                  </a:lnTo>
                  <a:lnTo>
                    <a:pt x="1166" y="857"/>
                  </a:lnTo>
                  <a:lnTo>
                    <a:pt x="1164" y="857"/>
                  </a:lnTo>
                  <a:lnTo>
                    <a:pt x="1161" y="859"/>
                  </a:lnTo>
                  <a:lnTo>
                    <a:pt x="1157" y="859"/>
                  </a:lnTo>
                  <a:lnTo>
                    <a:pt x="1155" y="860"/>
                  </a:lnTo>
                  <a:lnTo>
                    <a:pt x="1155" y="863"/>
                  </a:lnTo>
                  <a:lnTo>
                    <a:pt x="1156" y="866"/>
                  </a:lnTo>
                  <a:lnTo>
                    <a:pt x="1155" y="869"/>
                  </a:lnTo>
                  <a:lnTo>
                    <a:pt x="1152" y="870"/>
                  </a:lnTo>
                  <a:lnTo>
                    <a:pt x="1148" y="872"/>
                  </a:lnTo>
                  <a:lnTo>
                    <a:pt x="1142" y="870"/>
                  </a:lnTo>
                  <a:lnTo>
                    <a:pt x="1130" y="870"/>
                  </a:lnTo>
                  <a:lnTo>
                    <a:pt x="1119" y="868"/>
                  </a:lnTo>
                  <a:lnTo>
                    <a:pt x="1110" y="864"/>
                  </a:lnTo>
                  <a:lnTo>
                    <a:pt x="1105" y="860"/>
                  </a:lnTo>
                  <a:lnTo>
                    <a:pt x="1101" y="857"/>
                  </a:lnTo>
                  <a:lnTo>
                    <a:pt x="1093" y="857"/>
                  </a:lnTo>
                  <a:lnTo>
                    <a:pt x="1091" y="855"/>
                  </a:lnTo>
                  <a:lnTo>
                    <a:pt x="1087" y="851"/>
                  </a:lnTo>
                  <a:lnTo>
                    <a:pt x="1082" y="846"/>
                  </a:lnTo>
                  <a:lnTo>
                    <a:pt x="1074" y="843"/>
                  </a:lnTo>
                  <a:lnTo>
                    <a:pt x="1066" y="842"/>
                  </a:lnTo>
                  <a:lnTo>
                    <a:pt x="1058" y="838"/>
                  </a:lnTo>
                  <a:lnTo>
                    <a:pt x="1055" y="837"/>
                  </a:lnTo>
                  <a:lnTo>
                    <a:pt x="1052" y="837"/>
                  </a:lnTo>
                  <a:lnTo>
                    <a:pt x="1051" y="839"/>
                  </a:lnTo>
                  <a:lnTo>
                    <a:pt x="1047" y="840"/>
                  </a:lnTo>
                  <a:lnTo>
                    <a:pt x="1046" y="838"/>
                  </a:lnTo>
                  <a:lnTo>
                    <a:pt x="1046" y="835"/>
                  </a:lnTo>
                  <a:lnTo>
                    <a:pt x="1046" y="830"/>
                  </a:lnTo>
                  <a:lnTo>
                    <a:pt x="1045" y="827"/>
                  </a:lnTo>
                  <a:lnTo>
                    <a:pt x="1043" y="823"/>
                  </a:lnTo>
                  <a:lnTo>
                    <a:pt x="1041" y="822"/>
                  </a:lnTo>
                  <a:lnTo>
                    <a:pt x="1039" y="824"/>
                  </a:lnTo>
                  <a:lnTo>
                    <a:pt x="1036" y="826"/>
                  </a:lnTo>
                  <a:lnTo>
                    <a:pt x="1033" y="827"/>
                  </a:lnTo>
                  <a:lnTo>
                    <a:pt x="1026" y="827"/>
                  </a:lnTo>
                  <a:lnTo>
                    <a:pt x="1014" y="821"/>
                  </a:lnTo>
                  <a:lnTo>
                    <a:pt x="1007" y="821"/>
                  </a:lnTo>
                  <a:lnTo>
                    <a:pt x="1004" y="822"/>
                  </a:lnTo>
                  <a:lnTo>
                    <a:pt x="1003" y="824"/>
                  </a:lnTo>
                  <a:lnTo>
                    <a:pt x="1002" y="825"/>
                  </a:lnTo>
                  <a:lnTo>
                    <a:pt x="1001" y="824"/>
                  </a:lnTo>
                  <a:lnTo>
                    <a:pt x="1000" y="822"/>
                  </a:lnTo>
                  <a:lnTo>
                    <a:pt x="999" y="821"/>
                  </a:lnTo>
                  <a:lnTo>
                    <a:pt x="996" y="821"/>
                  </a:lnTo>
                  <a:lnTo>
                    <a:pt x="994" y="823"/>
                  </a:lnTo>
                  <a:lnTo>
                    <a:pt x="988" y="829"/>
                  </a:lnTo>
                  <a:lnTo>
                    <a:pt x="986" y="831"/>
                  </a:lnTo>
                  <a:lnTo>
                    <a:pt x="983" y="834"/>
                  </a:lnTo>
                  <a:lnTo>
                    <a:pt x="981" y="835"/>
                  </a:lnTo>
                  <a:lnTo>
                    <a:pt x="977" y="834"/>
                  </a:lnTo>
                  <a:lnTo>
                    <a:pt x="974" y="834"/>
                  </a:lnTo>
                  <a:lnTo>
                    <a:pt x="969" y="834"/>
                  </a:lnTo>
                  <a:lnTo>
                    <a:pt x="967" y="833"/>
                  </a:lnTo>
                  <a:lnTo>
                    <a:pt x="964" y="829"/>
                  </a:lnTo>
                  <a:lnTo>
                    <a:pt x="961" y="830"/>
                  </a:lnTo>
                  <a:lnTo>
                    <a:pt x="949" y="831"/>
                  </a:lnTo>
                  <a:lnTo>
                    <a:pt x="943" y="828"/>
                  </a:lnTo>
                  <a:lnTo>
                    <a:pt x="940" y="828"/>
                  </a:lnTo>
                  <a:lnTo>
                    <a:pt x="936" y="829"/>
                  </a:lnTo>
                  <a:lnTo>
                    <a:pt x="932" y="831"/>
                  </a:lnTo>
                  <a:lnTo>
                    <a:pt x="929" y="834"/>
                  </a:lnTo>
                  <a:lnTo>
                    <a:pt x="926" y="833"/>
                  </a:lnTo>
                  <a:lnTo>
                    <a:pt x="925" y="830"/>
                  </a:lnTo>
                  <a:lnTo>
                    <a:pt x="923" y="827"/>
                  </a:lnTo>
                  <a:lnTo>
                    <a:pt x="921" y="827"/>
                  </a:lnTo>
                  <a:lnTo>
                    <a:pt x="918" y="829"/>
                  </a:lnTo>
                  <a:lnTo>
                    <a:pt x="916" y="833"/>
                  </a:lnTo>
                  <a:lnTo>
                    <a:pt x="914" y="835"/>
                  </a:lnTo>
                  <a:lnTo>
                    <a:pt x="911" y="834"/>
                  </a:lnTo>
                  <a:lnTo>
                    <a:pt x="909" y="835"/>
                  </a:lnTo>
                  <a:lnTo>
                    <a:pt x="908" y="835"/>
                  </a:lnTo>
                  <a:lnTo>
                    <a:pt x="905" y="837"/>
                  </a:lnTo>
                  <a:lnTo>
                    <a:pt x="901" y="839"/>
                  </a:lnTo>
                  <a:lnTo>
                    <a:pt x="899" y="842"/>
                  </a:lnTo>
                  <a:lnTo>
                    <a:pt x="898" y="844"/>
                  </a:lnTo>
                  <a:lnTo>
                    <a:pt x="895" y="847"/>
                  </a:lnTo>
                  <a:lnTo>
                    <a:pt x="893" y="846"/>
                  </a:lnTo>
                  <a:lnTo>
                    <a:pt x="893" y="841"/>
                  </a:lnTo>
                  <a:lnTo>
                    <a:pt x="891" y="839"/>
                  </a:lnTo>
                  <a:lnTo>
                    <a:pt x="886" y="837"/>
                  </a:lnTo>
                  <a:lnTo>
                    <a:pt x="875" y="836"/>
                  </a:lnTo>
                  <a:lnTo>
                    <a:pt x="859" y="831"/>
                  </a:lnTo>
                  <a:lnTo>
                    <a:pt x="849" y="829"/>
                  </a:lnTo>
                  <a:lnTo>
                    <a:pt x="845" y="827"/>
                  </a:lnTo>
                  <a:lnTo>
                    <a:pt x="846" y="825"/>
                  </a:lnTo>
                  <a:lnTo>
                    <a:pt x="847" y="823"/>
                  </a:lnTo>
                  <a:lnTo>
                    <a:pt x="847" y="821"/>
                  </a:lnTo>
                  <a:lnTo>
                    <a:pt x="844" y="816"/>
                  </a:lnTo>
                  <a:lnTo>
                    <a:pt x="843" y="814"/>
                  </a:lnTo>
                  <a:lnTo>
                    <a:pt x="839" y="813"/>
                  </a:lnTo>
                  <a:lnTo>
                    <a:pt x="835" y="814"/>
                  </a:lnTo>
                  <a:lnTo>
                    <a:pt x="831" y="813"/>
                  </a:lnTo>
                  <a:lnTo>
                    <a:pt x="825" y="811"/>
                  </a:lnTo>
                  <a:lnTo>
                    <a:pt x="822" y="808"/>
                  </a:lnTo>
                  <a:lnTo>
                    <a:pt x="818" y="808"/>
                  </a:lnTo>
                  <a:lnTo>
                    <a:pt x="813" y="809"/>
                  </a:lnTo>
                  <a:lnTo>
                    <a:pt x="809" y="811"/>
                  </a:lnTo>
                  <a:lnTo>
                    <a:pt x="801" y="812"/>
                  </a:lnTo>
                  <a:lnTo>
                    <a:pt x="795" y="811"/>
                  </a:lnTo>
                  <a:lnTo>
                    <a:pt x="787" y="812"/>
                  </a:lnTo>
                  <a:lnTo>
                    <a:pt x="785" y="810"/>
                  </a:lnTo>
                  <a:lnTo>
                    <a:pt x="785" y="808"/>
                  </a:lnTo>
                  <a:lnTo>
                    <a:pt x="785" y="805"/>
                  </a:lnTo>
                  <a:lnTo>
                    <a:pt x="785" y="803"/>
                  </a:lnTo>
                  <a:lnTo>
                    <a:pt x="783" y="803"/>
                  </a:lnTo>
                  <a:lnTo>
                    <a:pt x="780" y="805"/>
                  </a:lnTo>
                  <a:lnTo>
                    <a:pt x="774" y="807"/>
                  </a:lnTo>
                  <a:lnTo>
                    <a:pt x="771" y="804"/>
                  </a:lnTo>
                  <a:lnTo>
                    <a:pt x="767" y="799"/>
                  </a:lnTo>
                  <a:lnTo>
                    <a:pt x="767" y="796"/>
                  </a:lnTo>
                  <a:lnTo>
                    <a:pt x="766" y="791"/>
                  </a:lnTo>
                  <a:lnTo>
                    <a:pt x="765" y="788"/>
                  </a:lnTo>
                  <a:lnTo>
                    <a:pt x="761" y="785"/>
                  </a:lnTo>
                  <a:lnTo>
                    <a:pt x="755" y="781"/>
                  </a:lnTo>
                  <a:lnTo>
                    <a:pt x="752" y="776"/>
                  </a:lnTo>
                  <a:lnTo>
                    <a:pt x="748" y="771"/>
                  </a:lnTo>
                  <a:lnTo>
                    <a:pt x="743" y="764"/>
                  </a:lnTo>
                  <a:lnTo>
                    <a:pt x="740" y="753"/>
                  </a:lnTo>
                  <a:lnTo>
                    <a:pt x="737" y="739"/>
                  </a:lnTo>
                  <a:lnTo>
                    <a:pt x="737" y="713"/>
                  </a:lnTo>
                  <a:lnTo>
                    <a:pt x="740" y="705"/>
                  </a:lnTo>
                  <a:lnTo>
                    <a:pt x="741" y="695"/>
                  </a:lnTo>
                  <a:lnTo>
                    <a:pt x="737" y="686"/>
                  </a:lnTo>
                  <a:lnTo>
                    <a:pt x="729" y="677"/>
                  </a:lnTo>
                  <a:lnTo>
                    <a:pt x="720" y="672"/>
                  </a:lnTo>
                  <a:lnTo>
                    <a:pt x="708" y="669"/>
                  </a:lnTo>
                  <a:lnTo>
                    <a:pt x="696" y="668"/>
                  </a:lnTo>
                  <a:lnTo>
                    <a:pt x="687" y="669"/>
                  </a:lnTo>
                  <a:lnTo>
                    <a:pt x="670" y="674"/>
                  </a:lnTo>
                  <a:lnTo>
                    <a:pt x="657" y="677"/>
                  </a:lnTo>
                  <a:lnTo>
                    <a:pt x="654" y="678"/>
                  </a:lnTo>
                  <a:lnTo>
                    <a:pt x="650" y="685"/>
                  </a:lnTo>
                  <a:lnTo>
                    <a:pt x="645" y="688"/>
                  </a:lnTo>
                  <a:lnTo>
                    <a:pt x="640" y="690"/>
                  </a:lnTo>
                  <a:lnTo>
                    <a:pt x="633" y="691"/>
                  </a:lnTo>
                  <a:lnTo>
                    <a:pt x="619" y="695"/>
                  </a:lnTo>
                  <a:lnTo>
                    <a:pt x="606" y="697"/>
                  </a:lnTo>
                  <a:lnTo>
                    <a:pt x="590" y="697"/>
                  </a:lnTo>
                  <a:lnTo>
                    <a:pt x="585" y="698"/>
                  </a:lnTo>
                  <a:lnTo>
                    <a:pt x="576" y="704"/>
                  </a:lnTo>
                  <a:lnTo>
                    <a:pt x="570" y="705"/>
                  </a:lnTo>
                  <a:lnTo>
                    <a:pt x="560" y="703"/>
                  </a:lnTo>
                  <a:lnTo>
                    <a:pt x="552" y="698"/>
                  </a:lnTo>
                  <a:lnTo>
                    <a:pt x="547" y="697"/>
                  </a:lnTo>
                  <a:lnTo>
                    <a:pt x="542" y="698"/>
                  </a:lnTo>
                  <a:lnTo>
                    <a:pt x="529" y="710"/>
                  </a:lnTo>
                  <a:lnTo>
                    <a:pt x="526" y="716"/>
                  </a:lnTo>
                  <a:lnTo>
                    <a:pt x="524" y="723"/>
                  </a:lnTo>
                  <a:lnTo>
                    <a:pt x="522" y="731"/>
                  </a:lnTo>
                  <a:lnTo>
                    <a:pt x="521" y="737"/>
                  </a:lnTo>
                  <a:lnTo>
                    <a:pt x="516" y="743"/>
                  </a:lnTo>
                  <a:lnTo>
                    <a:pt x="505" y="744"/>
                  </a:lnTo>
                  <a:lnTo>
                    <a:pt x="440" y="717"/>
                  </a:lnTo>
                  <a:lnTo>
                    <a:pt x="385" y="705"/>
                  </a:lnTo>
                  <a:lnTo>
                    <a:pt x="378" y="700"/>
                  </a:lnTo>
                  <a:lnTo>
                    <a:pt x="373" y="694"/>
                  </a:lnTo>
                  <a:lnTo>
                    <a:pt x="369" y="674"/>
                  </a:lnTo>
                  <a:lnTo>
                    <a:pt x="367" y="669"/>
                  </a:lnTo>
                  <a:lnTo>
                    <a:pt x="366" y="665"/>
                  </a:lnTo>
                  <a:lnTo>
                    <a:pt x="367" y="660"/>
                  </a:lnTo>
                  <a:lnTo>
                    <a:pt x="381" y="645"/>
                  </a:lnTo>
                  <a:lnTo>
                    <a:pt x="386" y="630"/>
                  </a:lnTo>
                  <a:lnTo>
                    <a:pt x="381" y="622"/>
                  </a:lnTo>
                  <a:lnTo>
                    <a:pt x="377" y="619"/>
                  </a:lnTo>
                  <a:lnTo>
                    <a:pt x="375" y="614"/>
                  </a:lnTo>
                  <a:lnTo>
                    <a:pt x="376" y="609"/>
                  </a:lnTo>
                  <a:lnTo>
                    <a:pt x="388" y="599"/>
                  </a:lnTo>
                  <a:lnTo>
                    <a:pt x="392" y="593"/>
                  </a:lnTo>
                  <a:lnTo>
                    <a:pt x="392" y="588"/>
                  </a:lnTo>
                  <a:lnTo>
                    <a:pt x="388" y="584"/>
                  </a:lnTo>
                  <a:lnTo>
                    <a:pt x="379" y="582"/>
                  </a:lnTo>
                  <a:lnTo>
                    <a:pt x="351" y="578"/>
                  </a:lnTo>
                  <a:lnTo>
                    <a:pt x="340" y="574"/>
                  </a:lnTo>
                  <a:lnTo>
                    <a:pt x="308" y="553"/>
                  </a:lnTo>
                  <a:lnTo>
                    <a:pt x="303" y="550"/>
                  </a:lnTo>
                  <a:lnTo>
                    <a:pt x="298" y="548"/>
                  </a:lnTo>
                  <a:lnTo>
                    <a:pt x="290" y="544"/>
                  </a:lnTo>
                  <a:lnTo>
                    <a:pt x="287" y="539"/>
                  </a:lnTo>
                  <a:lnTo>
                    <a:pt x="285" y="528"/>
                  </a:lnTo>
                  <a:lnTo>
                    <a:pt x="286" y="517"/>
                  </a:lnTo>
                  <a:lnTo>
                    <a:pt x="290" y="506"/>
                  </a:lnTo>
                  <a:lnTo>
                    <a:pt x="298" y="496"/>
                  </a:lnTo>
                  <a:lnTo>
                    <a:pt x="330" y="465"/>
                  </a:lnTo>
                  <a:lnTo>
                    <a:pt x="337" y="458"/>
                  </a:lnTo>
                  <a:lnTo>
                    <a:pt x="339" y="450"/>
                  </a:lnTo>
                  <a:lnTo>
                    <a:pt x="338" y="446"/>
                  </a:lnTo>
                  <a:lnTo>
                    <a:pt x="332" y="442"/>
                  </a:lnTo>
                  <a:lnTo>
                    <a:pt x="323" y="442"/>
                  </a:lnTo>
                  <a:lnTo>
                    <a:pt x="315" y="448"/>
                  </a:lnTo>
                  <a:lnTo>
                    <a:pt x="305" y="452"/>
                  </a:lnTo>
                  <a:lnTo>
                    <a:pt x="275" y="480"/>
                  </a:lnTo>
                  <a:lnTo>
                    <a:pt x="259" y="513"/>
                  </a:lnTo>
                  <a:lnTo>
                    <a:pt x="250" y="524"/>
                  </a:lnTo>
                  <a:lnTo>
                    <a:pt x="245" y="527"/>
                  </a:lnTo>
                  <a:lnTo>
                    <a:pt x="221" y="536"/>
                  </a:lnTo>
                  <a:lnTo>
                    <a:pt x="115" y="587"/>
                  </a:lnTo>
                  <a:lnTo>
                    <a:pt x="107" y="591"/>
                  </a:lnTo>
                  <a:lnTo>
                    <a:pt x="95" y="595"/>
                  </a:lnTo>
                  <a:lnTo>
                    <a:pt x="93" y="596"/>
                  </a:lnTo>
                  <a:lnTo>
                    <a:pt x="81" y="602"/>
                  </a:lnTo>
                  <a:lnTo>
                    <a:pt x="68" y="604"/>
                  </a:lnTo>
                  <a:lnTo>
                    <a:pt x="52" y="605"/>
                  </a:lnTo>
                  <a:lnTo>
                    <a:pt x="37" y="603"/>
                  </a:lnTo>
                  <a:lnTo>
                    <a:pt x="28" y="597"/>
                  </a:lnTo>
                  <a:lnTo>
                    <a:pt x="28" y="592"/>
                  </a:lnTo>
                  <a:lnTo>
                    <a:pt x="35" y="586"/>
                  </a:lnTo>
                  <a:lnTo>
                    <a:pt x="41" y="579"/>
                  </a:lnTo>
                  <a:lnTo>
                    <a:pt x="46" y="569"/>
                  </a:lnTo>
                  <a:lnTo>
                    <a:pt x="61" y="531"/>
                  </a:lnTo>
                  <a:lnTo>
                    <a:pt x="64" y="522"/>
                  </a:lnTo>
                  <a:lnTo>
                    <a:pt x="58" y="501"/>
                  </a:lnTo>
                  <a:lnTo>
                    <a:pt x="58" y="491"/>
                  </a:lnTo>
                  <a:lnTo>
                    <a:pt x="63" y="479"/>
                  </a:lnTo>
                  <a:lnTo>
                    <a:pt x="68" y="467"/>
                  </a:lnTo>
                  <a:lnTo>
                    <a:pt x="72" y="459"/>
                  </a:lnTo>
                  <a:lnTo>
                    <a:pt x="82" y="447"/>
                  </a:lnTo>
                  <a:lnTo>
                    <a:pt x="84" y="440"/>
                  </a:lnTo>
                  <a:lnTo>
                    <a:pt x="83" y="432"/>
                  </a:lnTo>
                  <a:lnTo>
                    <a:pt x="79" y="414"/>
                  </a:lnTo>
                  <a:lnTo>
                    <a:pt x="74" y="408"/>
                  </a:lnTo>
                  <a:lnTo>
                    <a:pt x="69" y="402"/>
                  </a:lnTo>
                  <a:lnTo>
                    <a:pt x="60" y="397"/>
                  </a:lnTo>
                  <a:lnTo>
                    <a:pt x="56" y="393"/>
                  </a:lnTo>
                  <a:lnTo>
                    <a:pt x="50" y="379"/>
                  </a:lnTo>
                  <a:lnTo>
                    <a:pt x="30" y="355"/>
                  </a:lnTo>
                  <a:lnTo>
                    <a:pt x="24" y="348"/>
                  </a:lnTo>
                  <a:lnTo>
                    <a:pt x="17" y="345"/>
                  </a:lnTo>
                  <a:lnTo>
                    <a:pt x="9" y="343"/>
                  </a:lnTo>
                  <a:lnTo>
                    <a:pt x="2" y="338"/>
                  </a:lnTo>
                  <a:lnTo>
                    <a:pt x="0" y="333"/>
                  </a:lnTo>
                  <a:lnTo>
                    <a:pt x="1" y="328"/>
                  </a:lnTo>
                  <a:lnTo>
                    <a:pt x="4" y="322"/>
                  </a:lnTo>
                  <a:lnTo>
                    <a:pt x="11" y="318"/>
                  </a:lnTo>
                  <a:lnTo>
                    <a:pt x="31" y="305"/>
                  </a:lnTo>
                  <a:lnTo>
                    <a:pt x="37" y="301"/>
                  </a:lnTo>
                  <a:lnTo>
                    <a:pt x="39" y="295"/>
                  </a:lnTo>
                  <a:lnTo>
                    <a:pt x="38" y="288"/>
                  </a:lnTo>
                  <a:lnTo>
                    <a:pt x="39" y="281"/>
                  </a:lnTo>
                  <a:lnTo>
                    <a:pt x="41" y="277"/>
                  </a:lnTo>
                  <a:lnTo>
                    <a:pt x="46" y="276"/>
                  </a:lnTo>
                  <a:lnTo>
                    <a:pt x="56" y="279"/>
                  </a:lnTo>
                  <a:lnTo>
                    <a:pt x="84" y="296"/>
                  </a:lnTo>
                  <a:lnTo>
                    <a:pt x="99" y="303"/>
                  </a:lnTo>
                  <a:lnTo>
                    <a:pt x="116" y="308"/>
                  </a:lnTo>
                  <a:lnTo>
                    <a:pt x="129" y="310"/>
                  </a:lnTo>
                  <a:lnTo>
                    <a:pt x="137" y="309"/>
                  </a:lnTo>
                  <a:lnTo>
                    <a:pt x="145" y="306"/>
                  </a:lnTo>
                  <a:lnTo>
                    <a:pt x="151" y="302"/>
                  </a:lnTo>
                  <a:lnTo>
                    <a:pt x="168" y="275"/>
                  </a:lnTo>
                  <a:lnTo>
                    <a:pt x="174" y="258"/>
                  </a:lnTo>
                  <a:lnTo>
                    <a:pt x="177" y="254"/>
                  </a:lnTo>
                  <a:lnTo>
                    <a:pt x="181" y="251"/>
                  </a:lnTo>
                  <a:lnTo>
                    <a:pt x="184" y="251"/>
                  </a:lnTo>
                  <a:lnTo>
                    <a:pt x="193" y="254"/>
                  </a:lnTo>
                  <a:lnTo>
                    <a:pt x="196" y="253"/>
                  </a:lnTo>
                  <a:lnTo>
                    <a:pt x="197" y="249"/>
                  </a:lnTo>
                  <a:lnTo>
                    <a:pt x="197" y="238"/>
                  </a:lnTo>
                  <a:lnTo>
                    <a:pt x="197" y="232"/>
                  </a:lnTo>
                  <a:lnTo>
                    <a:pt x="199" y="228"/>
                  </a:lnTo>
                  <a:lnTo>
                    <a:pt x="220" y="219"/>
                  </a:lnTo>
                  <a:lnTo>
                    <a:pt x="227" y="215"/>
                  </a:lnTo>
                  <a:lnTo>
                    <a:pt x="233" y="210"/>
                  </a:lnTo>
                  <a:lnTo>
                    <a:pt x="235" y="204"/>
                  </a:lnTo>
                  <a:lnTo>
                    <a:pt x="235" y="193"/>
                  </a:lnTo>
                  <a:lnTo>
                    <a:pt x="236" y="189"/>
                  </a:lnTo>
                  <a:lnTo>
                    <a:pt x="239" y="185"/>
                  </a:lnTo>
                  <a:lnTo>
                    <a:pt x="243" y="181"/>
                  </a:lnTo>
                  <a:lnTo>
                    <a:pt x="246" y="176"/>
                  </a:lnTo>
                  <a:lnTo>
                    <a:pt x="246" y="166"/>
                  </a:lnTo>
                  <a:lnTo>
                    <a:pt x="239" y="153"/>
                  </a:lnTo>
                  <a:lnTo>
                    <a:pt x="240" y="150"/>
                  </a:lnTo>
                  <a:lnTo>
                    <a:pt x="241" y="147"/>
                  </a:lnTo>
                  <a:lnTo>
                    <a:pt x="242" y="143"/>
                  </a:lnTo>
                  <a:lnTo>
                    <a:pt x="243" y="138"/>
                  </a:lnTo>
                  <a:lnTo>
                    <a:pt x="241" y="134"/>
                  </a:lnTo>
                  <a:lnTo>
                    <a:pt x="234" y="122"/>
                  </a:lnTo>
                  <a:lnTo>
                    <a:pt x="224" y="110"/>
                  </a:lnTo>
                  <a:lnTo>
                    <a:pt x="221" y="104"/>
                  </a:lnTo>
                  <a:lnTo>
                    <a:pt x="216" y="96"/>
                  </a:lnTo>
                  <a:lnTo>
                    <a:pt x="216" y="89"/>
                  </a:lnTo>
                  <a:lnTo>
                    <a:pt x="219" y="79"/>
                  </a:lnTo>
                  <a:lnTo>
                    <a:pt x="221" y="62"/>
                  </a:lnTo>
                  <a:lnTo>
                    <a:pt x="222" y="55"/>
                  </a:lnTo>
                  <a:lnTo>
                    <a:pt x="215" y="8"/>
                  </a:lnTo>
                  <a:lnTo>
                    <a:pt x="225" y="0"/>
                  </a:lnTo>
                  <a:lnTo>
                    <a:pt x="235" y="3"/>
                  </a:lnTo>
                  <a:lnTo>
                    <a:pt x="246" y="7"/>
                  </a:lnTo>
                  <a:lnTo>
                    <a:pt x="264" y="16"/>
                  </a:lnTo>
                  <a:lnTo>
                    <a:pt x="284" y="29"/>
                  </a:lnTo>
                  <a:lnTo>
                    <a:pt x="291" y="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ACFC8148-0D3A-6D97-D774-30DB4D2FC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227" y="1630091"/>
              <a:ext cx="1385586" cy="1250264"/>
            </a:xfrm>
            <a:custGeom>
              <a:avLst/>
              <a:gdLst>
                <a:gd name="T0" fmla="*/ 616 w 942"/>
                <a:gd name="T1" fmla="*/ 61 h 850"/>
                <a:gd name="T2" fmla="*/ 637 w 942"/>
                <a:gd name="T3" fmla="*/ 47 h 850"/>
                <a:gd name="T4" fmla="*/ 666 w 942"/>
                <a:gd name="T5" fmla="*/ 56 h 850"/>
                <a:gd name="T6" fmla="*/ 665 w 942"/>
                <a:gd name="T7" fmla="*/ 75 h 850"/>
                <a:gd name="T8" fmla="*/ 666 w 942"/>
                <a:gd name="T9" fmla="*/ 101 h 850"/>
                <a:gd name="T10" fmla="*/ 727 w 942"/>
                <a:gd name="T11" fmla="*/ 113 h 850"/>
                <a:gd name="T12" fmla="*/ 772 w 942"/>
                <a:gd name="T13" fmla="*/ 108 h 850"/>
                <a:gd name="T14" fmla="*/ 774 w 942"/>
                <a:gd name="T15" fmla="*/ 163 h 850"/>
                <a:gd name="T16" fmla="*/ 790 w 942"/>
                <a:gd name="T17" fmla="*/ 203 h 850"/>
                <a:gd name="T18" fmla="*/ 786 w 942"/>
                <a:gd name="T19" fmla="*/ 242 h 850"/>
                <a:gd name="T20" fmla="*/ 749 w 942"/>
                <a:gd name="T21" fmla="*/ 281 h 850"/>
                <a:gd name="T22" fmla="*/ 734 w 942"/>
                <a:gd name="T23" fmla="*/ 304 h 850"/>
                <a:gd name="T24" fmla="*/ 695 w 942"/>
                <a:gd name="T25" fmla="*/ 359 h 850"/>
                <a:gd name="T26" fmla="*/ 606 w 942"/>
                <a:gd name="T27" fmla="*/ 332 h 850"/>
                <a:gd name="T28" fmla="*/ 587 w 942"/>
                <a:gd name="T29" fmla="*/ 354 h 850"/>
                <a:gd name="T30" fmla="*/ 552 w 942"/>
                <a:gd name="T31" fmla="*/ 391 h 850"/>
                <a:gd name="T32" fmla="*/ 606 w 942"/>
                <a:gd name="T33" fmla="*/ 446 h 850"/>
                <a:gd name="T34" fmla="*/ 634 w 942"/>
                <a:gd name="T35" fmla="*/ 493 h 850"/>
                <a:gd name="T36" fmla="*/ 608 w 942"/>
                <a:gd name="T37" fmla="*/ 554 h 850"/>
                <a:gd name="T38" fmla="*/ 578 w 942"/>
                <a:gd name="T39" fmla="*/ 645 h 850"/>
                <a:gd name="T40" fmla="*/ 643 w 942"/>
                <a:gd name="T41" fmla="*/ 649 h 850"/>
                <a:gd name="T42" fmla="*/ 800 w 942"/>
                <a:gd name="T43" fmla="*/ 577 h 850"/>
                <a:gd name="T44" fmla="*/ 882 w 942"/>
                <a:gd name="T45" fmla="*/ 495 h 850"/>
                <a:gd name="T46" fmla="*/ 840 w 942"/>
                <a:gd name="T47" fmla="*/ 559 h 850"/>
                <a:gd name="T48" fmla="*/ 853 w 942"/>
                <a:gd name="T49" fmla="*/ 603 h 850"/>
                <a:gd name="T50" fmla="*/ 942 w 942"/>
                <a:gd name="T51" fmla="*/ 641 h 850"/>
                <a:gd name="T52" fmla="*/ 931 w 942"/>
                <a:gd name="T53" fmla="*/ 675 h 850"/>
                <a:gd name="T54" fmla="*/ 795 w 942"/>
                <a:gd name="T55" fmla="*/ 715 h 850"/>
                <a:gd name="T56" fmla="*/ 659 w 942"/>
                <a:gd name="T57" fmla="*/ 754 h 850"/>
                <a:gd name="T58" fmla="*/ 536 w 942"/>
                <a:gd name="T59" fmla="*/ 790 h 850"/>
                <a:gd name="T60" fmla="*/ 480 w 942"/>
                <a:gd name="T61" fmla="*/ 803 h 850"/>
                <a:gd name="T62" fmla="*/ 399 w 942"/>
                <a:gd name="T63" fmla="*/ 841 h 850"/>
                <a:gd name="T64" fmla="*/ 369 w 942"/>
                <a:gd name="T65" fmla="*/ 847 h 850"/>
                <a:gd name="T66" fmla="*/ 319 w 942"/>
                <a:gd name="T67" fmla="*/ 841 h 850"/>
                <a:gd name="T68" fmla="*/ 212 w 942"/>
                <a:gd name="T69" fmla="*/ 821 h 850"/>
                <a:gd name="T70" fmla="*/ 157 w 942"/>
                <a:gd name="T71" fmla="*/ 799 h 850"/>
                <a:gd name="T72" fmla="*/ 129 w 942"/>
                <a:gd name="T73" fmla="*/ 789 h 850"/>
                <a:gd name="T74" fmla="*/ 65 w 942"/>
                <a:gd name="T75" fmla="*/ 801 h 850"/>
                <a:gd name="T76" fmla="*/ 74 w 942"/>
                <a:gd name="T77" fmla="*/ 731 h 850"/>
                <a:gd name="T78" fmla="*/ 8 w 942"/>
                <a:gd name="T79" fmla="*/ 658 h 850"/>
                <a:gd name="T80" fmla="*/ 13 w 942"/>
                <a:gd name="T81" fmla="*/ 634 h 850"/>
                <a:gd name="T82" fmla="*/ 34 w 942"/>
                <a:gd name="T83" fmla="*/ 579 h 850"/>
                <a:gd name="T84" fmla="*/ 31 w 942"/>
                <a:gd name="T85" fmla="*/ 479 h 850"/>
                <a:gd name="T86" fmla="*/ 82 w 942"/>
                <a:gd name="T87" fmla="*/ 449 h 850"/>
                <a:gd name="T88" fmla="*/ 121 w 942"/>
                <a:gd name="T89" fmla="*/ 377 h 850"/>
                <a:gd name="T90" fmla="*/ 137 w 942"/>
                <a:gd name="T91" fmla="*/ 324 h 850"/>
                <a:gd name="T92" fmla="*/ 166 w 942"/>
                <a:gd name="T93" fmla="*/ 235 h 850"/>
                <a:gd name="T94" fmla="*/ 185 w 942"/>
                <a:gd name="T95" fmla="*/ 141 h 850"/>
                <a:gd name="T96" fmla="*/ 228 w 942"/>
                <a:gd name="T97" fmla="*/ 145 h 850"/>
                <a:gd name="T98" fmla="*/ 258 w 942"/>
                <a:gd name="T99" fmla="*/ 111 h 850"/>
                <a:gd name="T100" fmla="*/ 298 w 942"/>
                <a:gd name="T101" fmla="*/ 98 h 850"/>
                <a:gd name="T102" fmla="*/ 316 w 942"/>
                <a:gd name="T103" fmla="*/ 58 h 850"/>
                <a:gd name="T104" fmla="*/ 438 w 942"/>
                <a:gd name="T105" fmla="*/ 7 h 850"/>
                <a:gd name="T106" fmla="*/ 442 w 942"/>
                <a:gd name="T107" fmla="*/ 18 h 850"/>
                <a:gd name="T108" fmla="*/ 445 w 942"/>
                <a:gd name="T109" fmla="*/ 52 h 850"/>
                <a:gd name="T110" fmla="*/ 564 w 942"/>
                <a:gd name="T111" fmla="*/ 84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2" h="850">
                  <a:moveTo>
                    <a:pt x="571" y="88"/>
                  </a:moveTo>
                  <a:lnTo>
                    <a:pt x="576" y="87"/>
                  </a:lnTo>
                  <a:lnTo>
                    <a:pt x="583" y="83"/>
                  </a:lnTo>
                  <a:lnTo>
                    <a:pt x="597" y="67"/>
                  </a:lnTo>
                  <a:lnTo>
                    <a:pt x="605" y="63"/>
                  </a:lnTo>
                  <a:lnTo>
                    <a:pt x="616" y="61"/>
                  </a:lnTo>
                  <a:lnTo>
                    <a:pt x="622" y="59"/>
                  </a:lnTo>
                  <a:lnTo>
                    <a:pt x="627" y="56"/>
                  </a:lnTo>
                  <a:lnTo>
                    <a:pt x="629" y="52"/>
                  </a:lnTo>
                  <a:lnTo>
                    <a:pt x="631" y="49"/>
                  </a:lnTo>
                  <a:lnTo>
                    <a:pt x="634" y="48"/>
                  </a:lnTo>
                  <a:lnTo>
                    <a:pt x="637" y="47"/>
                  </a:lnTo>
                  <a:lnTo>
                    <a:pt x="646" y="40"/>
                  </a:lnTo>
                  <a:lnTo>
                    <a:pt x="655" y="37"/>
                  </a:lnTo>
                  <a:lnTo>
                    <a:pt x="658" y="39"/>
                  </a:lnTo>
                  <a:lnTo>
                    <a:pt x="661" y="44"/>
                  </a:lnTo>
                  <a:lnTo>
                    <a:pt x="663" y="51"/>
                  </a:lnTo>
                  <a:lnTo>
                    <a:pt x="666" y="56"/>
                  </a:lnTo>
                  <a:lnTo>
                    <a:pt x="668" y="59"/>
                  </a:lnTo>
                  <a:lnTo>
                    <a:pt x="669" y="62"/>
                  </a:lnTo>
                  <a:lnTo>
                    <a:pt x="668" y="65"/>
                  </a:lnTo>
                  <a:lnTo>
                    <a:pt x="666" y="69"/>
                  </a:lnTo>
                  <a:lnTo>
                    <a:pt x="665" y="72"/>
                  </a:lnTo>
                  <a:lnTo>
                    <a:pt x="665" y="75"/>
                  </a:lnTo>
                  <a:lnTo>
                    <a:pt x="668" y="82"/>
                  </a:lnTo>
                  <a:lnTo>
                    <a:pt x="668" y="85"/>
                  </a:lnTo>
                  <a:lnTo>
                    <a:pt x="667" y="88"/>
                  </a:lnTo>
                  <a:lnTo>
                    <a:pt x="666" y="92"/>
                  </a:lnTo>
                  <a:lnTo>
                    <a:pt x="666" y="97"/>
                  </a:lnTo>
                  <a:lnTo>
                    <a:pt x="666" y="101"/>
                  </a:lnTo>
                  <a:lnTo>
                    <a:pt x="667" y="105"/>
                  </a:lnTo>
                  <a:lnTo>
                    <a:pt x="672" y="108"/>
                  </a:lnTo>
                  <a:lnTo>
                    <a:pt x="704" y="115"/>
                  </a:lnTo>
                  <a:lnTo>
                    <a:pt x="715" y="116"/>
                  </a:lnTo>
                  <a:lnTo>
                    <a:pt x="723" y="115"/>
                  </a:lnTo>
                  <a:lnTo>
                    <a:pt x="727" y="113"/>
                  </a:lnTo>
                  <a:lnTo>
                    <a:pt x="732" y="110"/>
                  </a:lnTo>
                  <a:lnTo>
                    <a:pt x="735" y="104"/>
                  </a:lnTo>
                  <a:lnTo>
                    <a:pt x="743" y="89"/>
                  </a:lnTo>
                  <a:lnTo>
                    <a:pt x="748" y="80"/>
                  </a:lnTo>
                  <a:lnTo>
                    <a:pt x="765" y="61"/>
                  </a:lnTo>
                  <a:lnTo>
                    <a:pt x="772" y="108"/>
                  </a:lnTo>
                  <a:lnTo>
                    <a:pt x="771" y="115"/>
                  </a:lnTo>
                  <a:lnTo>
                    <a:pt x="769" y="132"/>
                  </a:lnTo>
                  <a:lnTo>
                    <a:pt x="766" y="142"/>
                  </a:lnTo>
                  <a:lnTo>
                    <a:pt x="766" y="149"/>
                  </a:lnTo>
                  <a:lnTo>
                    <a:pt x="771" y="157"/>
                  </a:lnTo>
                  <a:lnTo>
                    <a:pt x="774" y="163"/>
                  </a:lnTo>
                  <a:lnTo>
                    <a:pt x="784" y="175"/>
                  </a:lnTo>
                  <a:lnTo>
                    <a:pt x="791" y="187"/>
                  </a:lnTo>
                  <a:lnTo>
                    <a:pt x="793" y="191"/>
                  </a:lnTo>
                  <a:lnTo>
                    <a:pt x="792" y="196"/>
                  </a:lnTo>
                  <a:lnTo>
                    <a:pt x="791" y="200"/>
                  </a:lnTo>
                  <a:lnTo>
                    <a:pt x="790" y="203"/>
                  </a:lnTo>
                  <a:lnTo>
                    <a:pt x="789" y="206"/>
                  </a:lnTo>
                  <a:lnTo>
                    <a:pt x="796" y="219"/>
                  </a:lnTo>
                  <a:lnTo>
                    <a:pt x="796" y="229"/>
                  </a:lnTo>
                  <a:lnTo>
                    <a:pt x="793" y="234"/>
                  </a:lnTo>
                  <a:lnTo>
                    <a:pt x="789" y="238"/>
                  </a:lnTo>
                  <a:lnTo>
                    <a:pt x="786" y="242"/>
                  </a:lnTo>
                  <a:lnTo>
                    <a:pt x="785" y="246"/>
                  </a:lnTo>
                  <a:lnTo>
                    <a:pt x="785" y="257"/>
                  </a:lnTo>
                  <a:lnTo>
                    <a:pt x="783" y="263"/>
                  </a:lnTo>
                  <a:lnTo>
                    <a:pt x="777" y="268"/>
                  </a:lnTo>
                  <a:lnTo>
                    <a:pt x="770" y="272"/>
                  </a:lnTo>
                  <a:lnTo>
                    <a:pt x="749" y="281"/>
                  </a:lnTo>
                  <a:lnTo>
                    <a:pt x="747" y="285"/>
                  </a:lnTo>
                  <a:lnTo>
                    <a:pt x="747" y="291"/>
                  </a:lnTo>
                  <a:lnTo>
                    <a:pt x="747" y="302"/>
                  </a:lnTo>
                  <a:lnTo>
                    <a:pt x="746" y="306"/>
                  </a:lnTo>
                  <a:lnTo>
                    <a:pt x="743" y="307"/>
                  </a:lnTo>
                  <a:lnTo>
                    <a:pt x="734" y="304"/>
                  </a:lnTo>
                  <a:lnTo>
                    <a:pt x="731" y="304"/>
                  </a:lnTo>
                  <a:lnTo>
                    <a:pt x="727" y="307"/>
                  </a:lnTo>
                  <a:lnTo>
                    <a:pt x="724" y="311"/>
                  </a:lnTo>
                  <a:lnTo>
                    <a:pt x="718" y="328"/>
                  </a:lnTo>
                  <a:lnTo>
                    <a:pt x="701" y="355"/>
                  </a:lnTo>
                  <a:lnTo>
                    <a:pt x="695" y="359"/>
                  </a:lnTo>
                  <a:lnTo>
                    <a:pt x="687" y="362"/>
                  </a:lnTo>
                  <a:lnTo>
                    <a:pt x="679" y="363"/>
                  </a:lnTo>
                  <a:lnTo>
                    <a:pt x="666" y="361"/>
                  </a:lnTo>
                  <a:lnTo>
                    <a:pt x="649" y="356"/>
                  </a:lnTo>
                  <a:lnTo>
                    <a:pt x="634" y="349"/>
                  </a:lnTo>
                  <a:lnTo>
                    <a:pt x="606" y="332"/>
                  </a:lnTo>
                  <a:lnTo>
                    <a:pt x="596" y="329"/>
                  </a:lnTo>
                  <a:lnTo>
                    <a:pt x="591" y="330"/>
                  </a:lnTo>
                  <a:lnTo>
                    <a:pt x="589" y="334"/>
                  </a:lnTo>
                  <a:lnTo>
                    <a:pt x="588" y="341"/>
                  </a:lnTo>
                  <a:lnTo>
                    <a:pt x="589" y="348"/>
                  </a:lnTo>
                  <a:lnTo>
                    <a:pt x="587" y="354"/>
                  </a:lnTo>
                  <a:lnTo>
                    <a:pt x="581" y="358"/>
                  </a:lnTo>
                  <a:lnTo>
                    <a:pt x="561" y="371"/>
                  </a:lnTo>
                  <a:lnTo>
                    <a:pt x="554" y="375"/>
                  </a:lnTo>
                  <a:lnTo>
                    <a:pt x="551" y="381"/>
                  </a:lnTo>
                  <a:lnTo>
                    <a:pt x="550" y="386"/>
                  </a:lnTo>
                  <a:lnTo>
                    <a:pt x="552" y="391"/>
                  </a:lnTo>
                  <a:lnTo>
                    <a:pt x="559" y="396"/>
                  </a:lnTo>
                  <a:lnTo>
                    <a:pt x="567" y="398"/>
                  </a:lnTo>
                  <a:lnTo>
                    <a:pt x="574" y="401"/>
                  </a:lnTo>
                  <a:lnTo>
                    <a:pt x="580" y="408"/>
                  </a:lnTo>
                  <a:lnTo>
                    <a:pt x="600" y="432"/>
                  </a:lnTo>
                  <a:lnTo>
                    <a:pt x="606" y="446"/>
                  </a:lnTo>
                  <a:lnTo>
                    <a:pt x="610" y="450"/>
                  </a:lnTo>
                  <a:lnTo>
                    <a:pt x="619" y="455"/>
                  </a:lnTo>
                  <a:lnTo>
                    <a:pt x="624" y="461"/>
                  </a:lnTo>
                  <a:lnTo>
                    <a:pt x="629" y="467"/>
                  </a:lnTo>
                  <a:lnTo>
                    <a:pt x="633" y="485"/>
                  </a:lnTo>
                  <a:lnTo>
                    <a:pt x="634" y="493"/>
                  </a:lnTo>
                  <a:lnTo>
                    <a:pt x="632" y="500"/>
                  </a:lnTo>
                  <a:lnTo>
                    <a:pt x="622" y="512"/>
                  </a:lnTo>
                  <a:lnTo>
                    <a:pt x="618" y="520"/>
                  </a:lnTo>
                  <a:lnTo>
                    <a:pt x="613" y="532"/>
                  </a:lnTo>
                  <a:lnTo>
                    <a:pt x="608" y="544"/>
                  </a:lnTo>
                  <a:lnTo>
                    <a:pt x="608" y="554"/>
                  </a:lnTo>
                  <a:lnTo>
                    <a:pt x="614" y="575"/>
                  </a:lnTo>
                  <a:lnTo>
                    <a:pt x="611" y="584"/>
                  </a:lnTo>
                  <a:lnTo>
                    <a:pt x="596" y="622"/>
                  </a:lnTo>
                  <a:lnTo>
                    <a:pt x="591" y="632"/>
                  </a:lnTo>
                  <a:lnTo>
                    <a:pt x="585" y="639"/>
                  </a:lnTo>
                  <a:lnTo>
                    <a:pt x="578" y="645"/>
                  </a:lnTo>
                  <a:lnTo>
                    <a:pt x="578" y="650"/>
                  </a:lnTo>
                  <a:lnTo>
                    <a:pt x="587" y="656"/>
                  </a:lnTo>
                  <a:lnTo>
                    <a:pt x="602" y="658"/>
                  </a:lnTo>
                  <a:lnTo>
                    <a:pt x="618" y="657"/>
                  </a:lnTo>
                  <a:lnTo>
                    <a:pt x="631" y="655"/>
                  </a:lnTo>
                  <a:lnTo>
                    <a:pt x="643" y="649"/>
                  </a:lnTo>
                  <a:lnTo>
                    <a:pt x="645" y="648"/>
                  </a:lnTo>
                  <a:lnTo>
                    <a:pt x="657" y="644"/>
                  </a:lnTo>
                  <a:lnTo>
                    <a:pt x="665" y="640"/>
                  </a:lnTo>
                  <a:lnTo>
                    <a:pt x="771" y="589"/>
                  </a:lnTo>
                  <a:lnTo>
                    <a:pt x="795" y="580"/>
                  </a:lnTo>
                  <a:lnTo>
                    <a:pt x="800" y="577"/>
                  </a:lnTo>
                  <a:lnTo>
                    <a:pt x="809" y="566"/>
                  </a:lnTo>
                  <a:lnTo>
                    <a:pt x="825" y="533"/>
                  </a:lnTo>
                  <a:lnTo>
                    <a:pt x="855" y="505"/>
                  </a:lnTo>
                  <a:lnTo>
                    <a:pt x="865" y="501"/>
                  </a:lnTo>
                  <a:lnTo>
                    <a:pt x="873" y="495"/>
                  </a:lnTo>
                  <a:lnTo>
                    <a:pt x="882" y="495"/>
                  </a:lnTo>
                  <a:lnTo>
                    <a:pt x="888" y="499"/>
                  </a:lnTo>
                  <a:lnTo>
                    <a:pt x="889" y="503"/>
                  </a:lnTo>
                  <a:lnTo>
                    <a:pt x="887" y="511"/>
                  </a:lnTo>
                  <a:lnTo>
                    <a:pt x="880" y="518"/>
                  </a:lnTo>
                  <a:lnTo>
                    <a:pt x="848" y="549"/>
                  </a:lnTo>
                  <a:lnTo>
                    <a:pt x="840" y="559"/>
                  </a:lnTo>
                  <a:lnTo>
                    <a:pt x="836" y="570"/>
                  </a:lnTo>
                  <a:lnTo>
                    <a:pt x="835" y="581"/>
                  </a:lnTo>
                  <a:lnTo>
                    <a:pt x="837" y="592"/>
                  </a:lnTo>
                  <a:lnTo>
                    <a:pt x="840" y="597"/>
                  </a:lnTo>
                  <a:lnTo>
                    <a:pt x="848" y="601"/>
                  </a:lnTo>
                  <a:lnTo>
                    <a:pt x="853" y="603"/>
                  </a:lnTo>
                  <a:lnTo>
                    <a:pt x="858" y="606"/>
                  </a:lnTo>
                  <a:lnTo>
                    <a:pt x="890" y="627"/>
                  </a:lnTo>
                  <a:lnTo>
                    <a:pt x="901" y="631"/>
                  </a:lnTo>
                  <a:lnTo>
                    <a:pt x="929" y="635"/>
                  </a:lnTo>
                  <a:lnTo>
                    <a:pt x="938" y="637"/>
                  </a:lnTo>
                  <a:lnTo>
                    <a:pt x="942" y="641"/>
                  </a:lnTo>
                  <a:lnTo>
                    <a:pt x="942" y="646"/>
                  </a:lnTo>
                  <a:lnTo>
                    <a:pt x="938" y="652"/>
                  </a:lnTo>
                  <a:lnTo>
                    <a:pt x="926" y="662"/>
                  </a:lnTo>
                  <a:lnTo>
                    <a:pt x="925" y="667"/>
                  </a:lnTo>
                  <a:lnTo>
                    <a:pt x="927" y="672"/>
                  </a:lnTo>
                  <a:lnTo>
                    <a:pt x="931" y="675"/>
                  </a:lnTo>
                  <a:lnTo>
                    <a:pt x="936" y="683"/>
                  </a:lnTo>
                  <a:lnTo>
                    <a:pt x="931" y="698"/>
                  </a:lnTo>
                  <a:lnTo>
                    <a:pt x="819" y="706"/>
                  </a:lnTo>
                  <a:lnTo>
                    <a:pt x="810" y="708"/>
                  </a:lnTo>
                  <a:lnTo>
                    <a:pt x="802" y="711"/>
                  </a:lnTo>
                  <a:lnTo>
                    <a:pt x="795" y="715"/>
                  </a:lnTo>
                  <a:lnTo>
                    <a:pt x="779" y="724"/>
                  </a:lnTo>
                  <a:lnTo>
                    <a:pt x="715" y="744"/>
                  </a:lnTo>
                  <a:lnTo>
                    <a:pt x="697" y="747"/>
                  </a:lnTo>
                  <a:lnTo>
                    <a:pt x="674" y="747"/>
                  </a:lnTo>
                  <a:lnTo>
                    <a:pt x="668" y="749"/>
                  </a:lnTo>
                  <a:lnTo>
                    <a:pt x="659" y="754"/>
                  </a:lnTo>
                  <a:lnTo>
                    <a:pt x="600" y="782"/>
                  </a:lnTo>
                  <a:lnTo>
                    <a:pt x="567" y="785"/>
                  </a:lnTo>
                  <a:lnTo>
                    <a:pt x="558" y="787"/>
                  </a:lnTo>
                  <a:lnTo>
                    <a:pt x="550" y="790"/>
                  </a:lnTo>
                  <a:lnTo>
                    <a:pt x="543" y="791"/>
                  </a:lnTo>
                  <a:lnTo>
                    <a:pt x="536" y="790"/>
                  </a:lnTo>
                  <a:lnTo>
                    <a:pt x="526" y="788"/>
                  </a:lnTo>
                  <a:lnTo>
                    <a:pt x="518" y="789"/>
                  </a:lnTo>
                  <a:lnTo>
                    <a:pt x="510" y="791"/>
                  </a:lnTo>
                  <a:lnTo>
                    <a:pt x="500" y="792"/>
                  </a:lnTo>
                  <a:lnTo>
                    <a:pt x="493" y="796"/>
                  </a:lnTo>
                  <a:lnTo>
                    <a:pt x="480" y="803"/>
                  </a:lnTo>
                  <a:lnTo>
                    <a:pt x="472" y="805"/>
                  </a:lnTo>
                  <a:lnTo>
                    <a:pt x="459" y="810"/>
                  </a:lnTo>
                  <a:lnTo>
                    <a:pt x="451" y="814"/>
                  </a:lnTo>
                  <a:lnTo>
                    <a:pt x="425" y="831"/>
                  </a:lnTo>
                  <a:lnTo>
                    <a:pt x="409" y="840"/>
                  </a:lnTo>
                  <a:lnTo>
                    <a:pt x="399" y="841"/>
                  </a:lnTo>
                  <a:lnTo>
                    <a:pt x="391" y="840"/>
                  </a:lnTo>
                  <a:lnTo>
                    <a:pt x="385" y="836"/>
                  </a:lnTo>
                  <a:lnTo>
                    <a:pt x="378" y="834"/>
                  </a:lnTo>
                  <a:lnTo>
                    <a:pt x="375" y="835"/>
                  </a:lnTo>
                  <a:lnTo>
                    <a:pt x="373" y="837"/>
                  </a:lnTo>
                  <a:lnTo>
                    <a:pt x="369" y="847"/>
                  </a:lnTo>
                  <a:lnTo>
                    <a:pt x="365" y="850"/>
                  </a:lnTo>
                  <a:lnTo>
                    <a:pt x="358" y="849"/>
                  </a:lnTo>
                  <a:lnTo>
                    <a:pt x="352" y="845"/>
                  </a:lnTo>
                  <a:lnTo>
                    <a:pt x="345" y="842"/>
                  </a:lnTo>
                  <a:lnTo>
                    <a:pt x="335" y="841"/>
                  </a:lnTo>
                  <a:lnTo>
                    <a:pt x="319" y="841"/>
                  </a:lnTo>
                  <a:lnTo>
                    <a:pt x="271" y="849"/>
                  </a:lnTo>
                  <a:lnTo>
                    <a:pt x="252" y="850"/>
                  </a:lnTo>
                  <a:lnTo>
                    <a:pt x="218" y="848"/>
                  </a:lnTo>
                  <a:lnTo>
                    <a:pt x="218" y="831"/>
                  </a:lnTo>
                  <a:lnTo>
                    <a:pt x="216" y="825"/>
                  </a:lnTo>
                  <a:lnTo>
                    <a:pt x="212" y="821"/>
                  </a:lnTo>
                  <a:lnTo>
                    <a:pt x="189" y="817"/>
                  </a:lnTo>
                  <a:lnTo>
                    <a:pt x="178" y="814"/>
                  </a:lnTo>
                  <a:lnTo>
                    <a:pt x="172" y="801"/>
                  </a:lnTo>
                  <a:lnTo>
                    <a:pt x="169" y="798"/>
                  </a:lnTo>
                  <a:lnTo>
                    <a:pt x="165" y="798"/>
                  </a:lnTo>
                  <a:lnTo>
                    <a:pt x="157" y="799"/>
                  </a:lnTo>
                  <a:lnTo>
                    <a:pt x="154" y="798"/>
                  </a:lnTo>
                  <a:lnTo>
                    <a:pt x="153" y="791"/>
                  </a:lnTo>
                  <a:lnTo>
                    <a:pt x="151" y="787"/>
                  </a:lnTo>
                  <a:lnTo>
                    <a:pt x="148" y="785"/>
                  </a:lnTo>
                  <a:lnTo>
                    <a:pt x="141" y="786"/>
                  </a:lnTo>
                  <a:lnTo>
                    <a:pt x="129" y="789"/>
                  </a:lnTo>
                  <a:lnTo>
                    <a:pt x="124" y="788"/>
                  </a:lnTo>
                  <a:lnTo>
                    <a:pt x="110" y="785"/>
                  </a:lnTo>
                  <a:lnTo>
                    <a:pt x="101" y="785"/>
                  </a:lnTo>
                  <a:lnTo>
                    <a:pt x="92" y="787"/>
                  </a:lnTo>
                  <a:lnTo>
                    <a:pt x="70" y="801"/>
                  </a:lnTo>
                  <a:lnTo>
                    <a:pt x="65" y="801"/>
                  </a:lnTo>
                  <a:lnTo>
                    <a:pt x="63" y="798"/>
                  </a:lnTo>
                  <a:lnTo>
                    <a:pt x="65" y="790"/>
                  </a:lnTo>
                  <a:lnTo>
                    <a:pt x="71" y="779"/>
                  </a:lnTo>
                  <a:lnTo>
                    <a:pt x="73" y="772"/>
                  </a:lnTo>
                  <a:lnTo>
                    <a:pt x="74" y="763"/>
                  </a:lnTo>
                  <a:lnTo>
                    <a:pt x="74" y="731"/>
                  </a:lnTo>
                  <a:lnTo>
                    <a:pt x="72" y="721"/>
                  </a:lnTo>
                  <a:lnTo>
                    <a:pt x="65" y="710"/>
                  </a:lnTo>
                  <a:lnTo>
                    <a:pt x="48" y="689"/>
                  </a:lnTo>
                  <a:lnTo>
                    <a:pt x="34" y="667"/>
                  </a:lnTo>
                  <a:lnTo>
                    <a:pt x="23" y="660"/>
                  </a:lnTo>
                  <a:lnTo>
                    <a:pt x="8" y="658"/>
                  </a:lnTo>
                  <a:lnTo>
                    <a:pt x="3" y="654"/>
                  </a:lnTo>
                  <a:lnTo>
                    <a:pt x="0" y="649"/>
                  </a:lnTo>
                  <a:lnTo>
                    <a:pt x="3" y="645"/>
                  </a:lnTo>
                  <a:lnTo>
                    <a:pt x="6" y="643"/>
                  </a:lnTo>
                  <a:lnTo>
                    <a:pt x="10" y="640"/>
                  </a:lnTo>
                  <a:lnTo>
                    <a:pt x="13" y="634"/>
                  </a:lnTo>
                  <a:lnTo>
                    <a:pt x="16" y="629"/>
                  </a:lnTo>
                  <a:lnTo>
                    <a:pt x="16" y="619"/>
                  </a:lnTo>
                  <a:lnTo>
                    <a:pt x="17" y="612"/>
                  </a:lnTo>
                  <a:lnTo>
                    <a:pt x="20" y="604"/>
                  </a:lnTo>
                  <a:lnTo>
                    <a:pt x="26" y="593"/>
                  </a:lnTo>
                  <a:lnTo>
                    <a:pt x="34" y="579"/>
                  </a:lnTo>
                  <a:lnTo>
                    <a:pt x="36" y="566"/>
                  </a:lnTo>
                  <a:lnTo>
                    <a:pt x="36" y="552"/>
                  </a:lnTo>
                  <a:lnTo>
                    <a:pt x="32" y="528"/>
                  </a:lnTo>
                  <a:lnTo>
                    <a:pt x="25" y="504"/>
                  </a:lnTo>
                  <a:lnTo>
                    <a:pt x="25" y="497"/>
                  </a:lnTo>
                  <a:lnTo>
                    <a:pt x="31" y="479"/>
                  </a:lnTo>
                  <a:lnTo>
                    <a:pt x="45" y="473"/>
                  </a:lnTo>
                  <a:lnTo>
                    <a:pt x="52" y="471"/>
                  </a:lnTo>
                  <a:lnTo>
                    <a:pt x="70" y="467"/>
                  </a:lnTo>
                  <a:lnTo>
                    <a:pt x="75" y="464"/>
                  </a:lnTo>
                  <a:lnTo>
                    <a:pt x="79" y="459"/>
                  </a:lnTo>
                  <a:lnTo>
                    <a:pt x="82" y="449"/>
                  </a:lnTo>
                  <a:lnTo>
                    <a:pt x="84" y="432"/>
                  </a:lnTo>
                  <a:lnTo>
                    <a:pt x="88" y="422"/>
                  </a:lnTo>
                  <a:lnTo>
                    <a:pt x="95" y="413"/>
                  </a:lnTo>
                  <a:lnTo>
                    <a:pt x="107" y="401"/>
                  </a:lnTo>
                  <a:lnTo>
                    <a:pt x="114" y="390"/>
                  </a:lnTo>
                  <a:lnTo>
                    <a:pt x="121" y="377"/>
                  </a:lnTo>
                  <a:lnTo>
                    <a:pt x="122" y="369"/>
                  </a:lnTo>
                  <a:lnTo>
                    <a:pt x="121" y="361"/>
                  </a:lnTo>
                  <a:lnTo>
                    <a:pt x="123" y="355"/>
                  </a:lnTo>
                  <a:lnTo>
                    <a:pt x="125" y="347"/>
                  </a:lnTo>
                  <a:lnTo>
                    <a:pt x="134" y="333"/>
                  </a:lnTo>
                  <a:lnTo>
                    <a:pt x="137" y="324"/>
                  </a:lnTo>
                  <a:lnTo>
                    <a:pt x="138" y="318"/>
                  </a:lnTo>
                  <a:lnTo>
                    <a:pt x="128" y="299"/>
                  </a:lnTo>
                  <a:lnTo>
                    <a:pt x="131" y="290"/>
                  </a:lnTo>
                  <a:lnTo>
                    <a:pt x="139" y="277"/>
                  </a:lnTo>
                  <a:lnTo>
                    <a:pt x="157" y="252"/>
                  </a:lnTo>
                  <a:lnTo>
                    <a:pt x="166" y="235"/>
                  </a:lnTo>
                  <a:lnTo>
                    <a:pt x="170" y="220"/>
                  </a:lnTo>
                  <a:lnTo>
                    <a:pt x="173" y="160"/>
                  </a:lnTo>
                  <a:lnTo>
                    <a:pt x="172" y="152"/>
                  </a:lnTo>
                  <a:lnTo>
                    <a:pt x="174" y="148"/>
                  </a:lnTo>
                  <a:lnTo>
                    <a:pt x="177" y="142"/>
                  </a:lnTo>
                  <a:lnTo>
                    <a:pt x="185" y="141"/>
                  </a:lnTo>
                  <a:lnTo>
                    <a:pt x="190" y="140"/>
                  </a:lnTo>
                  <a:lnTo>
                    <a:pt x="206" y="135"/>
                  </a:lnTo>
                  <a:lnTo>
                    <a:pt x="212" y="135"/>
                  </a:lnTo>
                  <a:lnTo>
                    <a:pt x="216" y="137"/>
                  </a:lnTo>
                  <a:lnTo>
                    <a:pt x="224" y="143"/>
                  </a:lnTo>
                  <a:lnTo>
                    <a:pt x="228" y="145"/>
                  </a:lnTo>
                  <a:lnTo>
                    <a:pt x="232" y="144"/>
                  </a:lnTo>
                  <a:lnTo>
                    <a:pt x="241" y="141"/>
                  </a:lnTo>
                  <a:lnTo>
                    <a:pt x="246" y="136"/>
                  </a:lnTo>
                  <a:lnTo>
                    <a:pt x="254" y="123"/>
                  </a:lnTo>
                  <a:lnTo>
                    <a:pt x="256" y="115"/>
                  </a:lnTo>
                  <a:lnTo>
                    <a:pt x="258" y="111"/>
                  </a:lnTo>
                  <a:lnTo>
                    <a:pt x="260" y="109"/>
                  </a:lnTo>
                  <a:lnTo>
                    <a:pt x="267" y="109"/>
                  </a:lnTo>
                  <a:lnTo>
                    <a:pt x="281" y="113"/>
                  </a:lnTo>
                  <a:lnTo>
                    <a:pt x="287" y="113"/>
                  </a:lnTo>
                  <a:lnTo>
                    <a:pt x="291" y="110"/>
                  </a:lnTo>
                  <a:lnTo>
                    <a:pt x="298" y="98"/>
                  </a:lnTo>
                  <a:lnTo>
                    <a:pt x="302" y="93"/>
                  </a:lnTo>
                  <a:lnTo>
                    <a:pt x="306" y="92"/>
                  </a:lnTo>
                  <a:lnTo>
                    <a:pt x="309" y="89"/>
                  </a:lnTo>
                  <a:lnTo>
                    <a:pt x="311" y="82"/>
                  </a:lnTo>
                  <a:lnTo>
                    <a:pt x="312" y="64"/>
                  </a:lnTo>
                  <a:lnTo>
                    <a:pt x="316" y="58"/>
                  </a:lnTo>
                  <a:lnTo>
                    <a:pt x="320" y="53"/>
                  </a:lnTo>
                  <a:lnTo>
                    <a:pt x="344" y="45"/>
                  </a:lnTo>
                  <a:lnTo>
                    <a:pt x="391" y="21"/>
                  </a:lnTo>
                  <a:lnTo>
                    <a:pt x="400" y="15"/>
                  </a:lnTo>
                  <a:lnTo>
                    <a:pt x="408" y="0"/>
                  </a:lnTo>
                  <a:lnTo>
                    <a:pt x="438" y="7"/>
                  </a:lnTo>
                  <a:lnTo>
                    <a:pt x="445" y="11"/>
                  </a:lnTo>
                  <a:lnTo>
                    <a:pt x="445" y="12"/>
                  </a:lnTo>
                  <a:lnTo>
                    <a:pt x="445" y="13"/>
                  </a:lnTo>
                  <a:lnTo>
                    <a:pt x="444" y="15"/>
                  </a:lnTo>
                  <a:lnTo>
                    <a:pt x="444" y="17"/>
                  </a:lnTo>
                  <a:lnTo>
                    <a:pt x="442" y="18"/>
                  </a:lnTo>
                  <a:lnTo>
                    <a:pt x="442" y="19"/>
                  </a:lnTo>
                  <a:lnTo>
                    <a:pt x="441" y="20"/>
                  </a:lnTo>
                  <a:lnTo>
                    <a:pt x="440" y="21"/>
                  </a:lnTo>
                  <a:lnTo>
                    <a:pt x="440" y="24"/>
                  </a:lnTo>
                  <a:lnTo>
                    <a:pt x="440" y="31"/>
                  </a:lnTo>
                  <a:lnTo>
                    <a:pt x="445" y="52"/>
                  </a:lnTo>
                  <a:lnTo>
                    <a:pt x="449" y="65"/>
                  </a:lnTo>
                  <a:lnTo>
                    <a:pt x="458" y="72"/>
                  </a:lnTo>
                  <a:lnTo>
                    <a:pt x="470" y="74"/>
                  </a:lnTo>
                  <a:lnTo>
                    <a:pt x="537" y="76"/>
                  </a:lnTo>
                  <a:lnTo>
                    <a:pt x="555" y="80"/>
                  </a:lnTo>
                  <a:lnTo>
                    <a:pt x="564" y="84"/>
                  </a:lnTo>
                  <a:lnTo>
                    <a:pt x="571" y="8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CAFA6D5-7BC2-225A-182A-D1FA8658F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7476" y="3087751"/>
              <a:ext cx="2238707" cy="2101914"/>
            </a:xfrm>
            <a:custGeom>
              <a:avLst/>
              <a:gdLst>
                <a:gd name="T0" fmla="*/ 689 w 1522"/>
                <a:gd name="T1" fmla="*/ 147 h 1429"/>
                <a:gd name="T2" fmla="*/ 720 w 1522"/>
                <a:gd name="T3" fmla="*/ 247 h 1429"/>
                <a:gd name="T4" fmla="*/ 739 w 1522"/>
                <a:gd name="T5" fmla="*/ 312 h 1429"/>
                <a:gd name="T6" fmla="*/ 806 w 1522"/>
                <a:gd name="T7" fmla="*/ 345 h 1429"/>
                <a:gd name="T8" fmla="*/ 836 w 1522"/>
                <a:gd name="T9" fmla="*/ 389 h 1429"/>
                <a:gd name="T10" fmla="*/ 1218 w 1522"/>
                <a:gd name="T11" fmla="*/ 580 h 1429"/>
                <a:gd name="T12" fmla="*/ 1273 w 1522"/>
                <a:gd name="T13" fmla="*/ 653 h 1429"/>
                <a:gd name="T14" fmla="*/ 1305 w 1522"/>
                <a:gd name="T15" fmla="*/ 709 h 1429"/>
                <a:gd name="T16" fmla="*/ 1413 w 1522"/>
                <a:gd name="T17" fmla="*/ 725 h 1429"/>
                <a:gd name="T18" fmla="*/ 1499 w 1522"/>
                <a:gd name="T19" fmla="*/ 752 h 1429"/>
                <a:gd name="T20" fmla="*/ 1450 w 1522"/>
                <a:gd name="T21" fmla="*/ 775 h 1429"/>
                <a:gd name="T22" fmla="*/ 1029 w 1522"/>
                <a:gd name="T23" fmla="*/ 923 h 1429"/>
                <a:gd name="T24" fmla="*/ 732 w 1522"/>
                <a:gd name="T25" fmla="*/ 1027 h 1429"/>
                <a:gd name="T26" fmla="*/ 561 w 1522"/>
                <a:gd name="T27" fmla="*/ 1205 h 1429"/>
                <a:gd name="T28" fmla="*/ 500 w 1522"/>
                <a:gd name="T29" fmla="*/ 1299 h 1429"/>
                <a:gd name="T30" fmla="*/ 522 w 1522"/>
                <a:gd name="T31" fmla="*/ 1361 h 1429"/>
                <a:gd name="T32" fmla="*/ 473 w 1522"/>
                <a:gd name="T33" fmla="*/ 1368 h 1429"/>
                <a:gd name="T34" fmla="*/ 408 w 1522"/>
                <a:gd name="T35" fmla="*/ 1298 h 1429"/>
                <a:gd name="T36" fmla="*/ 393 w 1522"/>
                <a:gd name="T37" fmla="*/ 1339 h 1429"/>
                <a:gd name="T38" fmla="*/ 247 w 1522"/>
                <a:gd name="T39" fmla="*/ 1404 h 1429"/>
                <a:gd name="T40" fmla="*/ 189 w 1522"/>
                <a:gd name="T41" fmla="*/ 1406 h 1429"/>
                <a:gd name="T42" fmla="*/ 169 w 1522"/>
                <a:gd name="T43" fmla="*/ 1428 h 1429"/>
                <a:gd name="T44" fmla="*/ 81 w 1522"/>
                <a:gd name="T45" fmla="*/ 1407 h 1429"/>
                <a:gd name="T46" fmla="*/ 65 w 1522"/>
                <a:gd name="T47" fmla="*/ 1387 h 1429"/>
                <a:gd name="T48" fmla="*/ 50 w 1522"/>
                <a:gd name="T49" fmla="*/ 1363 h 1429"/>
                <a:gd name="T50" fmla="*/ 49 w 1522"/>
                <a:gd name="T51" fmla="*/ 1328 h 1429"/>
                <a:gd name="T52" fmla="*/ 65 w 1522"/>
                <a:gd name="T53" fmla="*/ 1306 h 1429"/>
                <a:gd name="T54" fmla="*/ 1 w 1522"/>
                <a:gd name="T55" fmla="*/ 1239 h 1429"/>
                <a:gd name="T56" fmla="*/ 148 w 1522"/>
                <a:gd name="T57" fmla="*/ 1133 h 1429"/>
                <a:gd name="T58" fmla="*/ 189 w 1522"/>
                <a:gd name="T59" fmla="*/ 1067 h 1429"/>
                <a:gd name="T60" fmla="*/ 214 w 1522"/>
                <a:gd name="T61" fmla="*/ 994 h 1429"/>
                <a:gd name="T62" fmla="*/ 242 w 1522"/>
                <a:gd name="T63" fmla="*/ 913 h 1429"/>
                <a:gd name="T64" fmla="*/ 252 w 1522"/>
                <a:gd name="T65" fmla="*/ 852 h 1429"/>
                <a:gd name="T66" fmla="*/ 349 w 1522"/>
                <a:gd name="T67" fmla="*/ 790 h 1429"/>
                <a:gd name="T68" fmla="*/ 319 w 1522"/>
                <a:gd name="T69" fmla="*/ 753 h 1429"/>
                <a:gd name="T70" fmla="*/ 290 w 1522"/>
                <a:gd name="T71" fmla="*/ 762 h 1429"/>
                <a:gd name="T72" fmla="*/ 274 w 1522"/>
                <a:gd name="T73" fmla="*/ 788 h 1429"/>
                <a:gd name="T74" fmla="*/ 264 w 1522"/>
                <a:gd name="T75" fmla="*/ 747 h 1429"/>
                <a:gd name="T76" fmla="*/ 278 w 1522"/>
                <a:gd name="T77" fmla="*/ 746 h 1429"/>
                <a:gd name="T78" fmla="*/ 304 w 1522"/>
                <a:gd name="T79" fmla="*/ 695 h 1429"/>
                <a:gd name="T80" fmla="*/ 309 w 1522"/>
                <a:gd name="T81" fmla="*/ 625 h 1429"/>
                <a:gd name="T82" fmla="*/ 243 w 1522"/>
                <a:gd name="T83" fmla="*/ 578 h 1429"/>
                <a:gd name="T84" fmla="*/ 276 w 1522"/>
                <a:gd name="T85" fmla="*/ 531 h 1429"/>
                <a:gd name="T86" fmla="*/ 295 w 1522"/>
                <a:gd name="T87" fmla="*/ 503 h 1429"/>
                <a:gd name="T88" fmla="*/ 313 w 1522"/>
                <a:gd name="T89" fmla="*/ 436 h 1429"/>
                <a:gd name="T90" fmla="*/ 323 w 1522"/>
                <a:gd name="T91" fmla="*/ 399 h 1429"/>
                <a:gd name="T92" fmla="*/ 306 w 1522"/>
                <a:gd name="T93" fmla="*/ 359 h 1429"/>
                <a:gd name="T94" fmla="*/ 352 w 1522"/>
                <a:gd name="T95" fmla="*/ 281 h 1429"/>
                <a:gd name="T96" fmla="*/ 340 w 1522"/>
                <a:gd name="T97" fmla="*/ 227 h 1429"/>
                <a:gd name="T98" fmla="*/ 330 w 1522"/>
                <a:gd name="T99" fmla="*/ 181 h 1429"/>
                <a:gd name="T100" fmla="*/ 347 w 1522"/>
                <a:gd name="T101" fmla="*/ 155 h 1429"/>
                <a:gd name="T102" fmla="*/ 385 w 1522"/>
                <a:gd name="T103" fmla="*/ 122 h 1429"/>
                <a:gd name="T104" fmla="*/ 386 w 1522"/>
                <a:gd name="T105" fmla="*/ 78 h 1429"/>
                <a:gd name="T106" fmla="*/ 413 w 1522"/>
                <a:gd name="T107" fmla="*/ 32 h 1429"/>
                <a:gd name="T108" fmla="*/ 485 w 1522"/>
                <a:gd name="T109" fmla="*/ 22 h 1429"/>
                <a:gd name="T110" fmla="*/ 561 w 1522"/>
                <a:gd name="T111" fmla="*/ 19 h 1429"/>
                <a:gd name="T112" fmla="*/ 611 w 1522"/>
                <a:gd name="T113" fmla="*/ 124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22" h="1429">
                  <a:moveTo>
                    <a:pt x="625" y="147"/>
                  </a:moveTo>
                  <a:lnTo>
                    <a:pt x="635" y="146"/>
                  </a:lnTo>
                  <a:lnTo>
                    <a:pt x="666" y="139"/>
                  </a:lnTo>
                  <a:lnTo>
                    <a:pt x="679" y="141"/>
                  </a:lnTo>
                  <a:lnTo>
                    <a:pt x="689" y="147"/>
                  </a:lnTo>
                  <a:lnTo>
                    <a:pt x="696" y="162"/>
                  </a:lnTo>
                  <a:lnTo>
                    <a:pt x="705" y="207"/>
                  </a:lnTo>
                  <a:lnTo>
                    <a:pt x="718" y="226"/>
                  </a:lnTo>
                  <a:lnTo>
                    <a:pt x="720" y="232"/>
                  </a:lnTo>
                  <a:lnTo>
                    <a:pt x="720" y="247"/>
                  </a:lnTo>
                  <a:lnTo>
                    <a:pt x="722" y="255"/>
                  </a:lnTo>
                  <a:lnTo>
                    <a:pt x="732" y="273"/>
                  </a:lnTo>
                  <a:lnTo>
                    <a:pt x="735" y="281"/>
                  </a:lnTo>
                  <a:lnTo>
                    <a:pt x="737" y="302"/>
                  </a:lnTo>
                  <a:lnTo>
                    <a:pt x="739" y="312"/>
                  </a:lnTo>
                  <a:lnTo>
                    <a:pt x="745" y="319"/>
                  </a:lnTo>
                  <a:lnTo>
                    <a:pt x="757" y="326"/>
                  </a:lnTo>
                  <a:lnTo>
                    <a:pt x="784" y="332"/>
                  </a:lnTo>
                  <a:lnTo>
                    <a:pt x="797" y="337"/>
                  </a:lnTo>
                  <a:lnTo>
                    <a:pt x="806" y="345"/>
                  </a:lnTo>
                  <a:lnTo>
                    <a:pt x="809" y="355"/>
                  </a:lnTo>
                  <a:lnTo>
                    <a:pt x="812" y="367"/>
                  </a:lnTo>
                  <a:lnTo>
                    <a:pt x="816" y="377"/>
                  </a:lnTo>
                  <a:lnTo>
                    <a:pt x="825" y="385"/>
                  </a:lnTo>
                  <a:lnTo>
                    <a:pt x="836" y="389"/>
                  </a:lnTo>
                  <a:lnTo>
                    <a:pt x="859" y="395"/>
                  </a:lnTo>
                  <a:lnTo>
                    <a:pt x="1043" y="473"/>
                  </a:lnTo>
                  <a:lnTo>
                    <a:pt x="1197" y="573"/>
                  </a:lnTo>
                  <a:lnTo>
                    <a:pt x="1209" y="576"/>
                  </a:lnTo>
                  <a:lnTo>
                    <a:pt x="1218" y="580"/>
                  </a:lnTo>
                  <a:lnTo>
                    <a:pt x="1226" y="590"/>
                  </a:lnTo>
                  <a:lnTo>
                    <a:pt x="1239" y="612"/>
                  </a:lnTo>
                  <a:lnTo>
                    <a:pt x="1262" y="640"/>
                  </a:lnTo>
                  <a:lnTo>
                    <a:pt x="1268" y="650"/>
                  </a:lnTo>
                  <a:lnTo>
                    <a:pt x="1273" y="653"/>
                  </a:lnTo>
                  <a:lnTo>
                    <a:pt x="1278" y="658"/>
                  </a:lnTo>
                  <a:lnTo>
                    <a:pt x="1280" y="664"/>
                  </a:lnTo>
                  <a:lnTo>
                    <a:pt x="1281" y="667"/>
                  </a:lnTo>
                  <a:lnTo>
                    <a:pt x="1289" y="690"/>
                  </a:lnTo>
                  <a:lnTo>
                    <a:pt x="1305" y="709"/>
                  </a:lnTo>
                  <a:lnTo>
                    <a:pt x="1328" y="723"/>
                  </a:lnTo>
                  <a:lnTo>
                    <a:pt x="1355" y="732"/>
                  </a:lnTo>
                  <a:lnTo>
                    <a:pt x="1385" y="731"/>
                  </a:lnTo>
                  <a:lnTo>
                    <a:pt x="1406" y="725"/>
                  </a:lnTo>
                  <a:lnTo>
                    <a:pt x="1413" y="725"/>
                  </a:lnTo>
                  <a:lnTo>
                    <a:pt x="1424" y="733"/>
                  </a:lnTo>
                  <a:lnTo>
                    <a:pt x="1433" y="738"/>
                  </a:lnTo>
                  <a:lnTo>
                    <a:pt x="1456" y="743"/>
                  </a:lnTo>
                  <a:lnTo>
                    <a:pt x="1484" y="757"/>
                  </a:lnTo>
                  <a:lnTo>
                    <a:pt x="1499" y="752"/>
                  </a:lnTo>
                  <a:lnTo>
                    <a:pt x="1512" y="746"/>
                  </a:lnTo>
                  <a:lnTo>
                    <a:pt x="1522" y="748"/>
                  </a:lnTo>
                  <a:lnTo>
                    <a:pt x="1522" y="748"/>
                  </a:lnTo>
                  <a:lnTo>
                    <a:pt x="1512" y="754"/>
                  </a:lnTo>
                  <a:lnTo>
                    <a:pt x="1450" y="775"/>
                  </a:lnTo>
                  <a:lnTo>
                    <a:pt x="1366" y="806"/>
                  </a:lnTo>
                  <a:lnTo>
                    <a:pt x="1282" y="835"/>
                  </a:lnTo>
                  <a:lnTo>
                    <a:pt x="1198" y="864"/>
                  </a:lnTo>
                  <a:lnTo>
                    <a:pt x="1113" y="894"/>
                  </a:lnTo>
                  <a:lnTo>
                    <a:pt x="1029" y="923"/>
                  </a:lnTo>
                  <a:lnTo>
                    <a:pt x="945" y="953"/>
                  </a:lnTo>
                  <a:lnTo>
                    <a:pt x="861" y="982"/>
                  </a:lnTo>
                  <a:lnTo>
                    <a:pt x="776" y="1012"/>
                  </a:lnTo>
                  <a:lnTo>
                    <a:pt x="758" y="1018"/>
                  </a:lnTo>
                  <a:lnTo>
                    <a:pt x="732" y="1027"/>
                  </a:lnTo>
                  <a:lnTo>
                    <a:pt x="720" y="1033"/>
                  </a:lnTo>
                  <a:lnTo>
                    <a:pt x="670" y="1077"/>
                  </a:lnTo>
                  <a:lnTo>
                    <a:pt x="603" y="1168"/>
                  </a:lnTo>
                  <a:lnTo>
                    <a:pt x="570" y="1195"/>
                  </a:lnTo>
                  <a:lnTo>
                    <a:pt x="561" y="1205"/>
                  </a:lnTo>
                  <a:lnTo>
                    <a:pt x="540" y="1245"/>
                  </a:lnTo>
                  <a:lnTo>
                    <a:pt x="531" y="1257"/>
                  </a:lnTo>
                  <a:lnTo>
                    <a:pt x="508" y="1274"/>
                  </a:lnTo>
                  <a:lnTo>
                    <a:pt x="500" y="1284"/>
                  </a:lnTo>
                  <a:lnTo>
                    <a:pt x="500" y="1299"/>
                  </a:lnTo>
                  <a:lnTo>
                    <a:pt x="508" y="1311"/>
                  </a:lnTo>
                  <a:lnTo>
                    <a:pt x="517" y="1318"/>
                  </a:lnTo>
                  <a:lnTo>
                    <a:pt x="526" y="1328"/>
                  </a:lnTo>
                  <a:lnTo>
                    <a:pt x="528" y="1346"/>
                  </a:lnTo>
                  <a:lnTo>
                    <a:pt x="522" y="1361"/>
                  </a:lnTo>
                  <a:lnTo>
                    <a:pt x="511" y="1365"/>
                  </a:lnTo>
                  <a:lnTo>
                    <a:pt x="499" y="1367"/>
                  </a:lnTo>
                  <a:lnTo>
                    <a:pt x="489" y="1376"/>
                  </a:lnTo>
                  <a:lnTo>
                    <a:pt x="479" y="1380"/>
                  </a:lnTo>
                  <a:lnTo>
                    <a:pt x="473" y="1368"/>
                  </a:lnTo>
                  <a:lnTo>
                    <a:pt x="464" y="1325"/>
                  </a:lnTo>
                  <a:lnTo>
                    <a:pt x="459" y="1315"/>
                  </a:lnTo>
                  <a:lnTo>
                    <a:pt x="450" y="1307"/>
                  </a:lnTo>
                  <a:lnTo>
                    <a:pt x="422" y="1300"/>
                  </a:lnTo>
                  <a:lnTo>
                    <a:pt x="408" y="1298"/>
                  </a:lnTo>
                  <a:lnTo>
                    <a:pt x="396" y="1301"/>
                  </a:lnTo>
                  <a:lnTo>
                    <a:pt x="388" y="1314"/>
                  </a:lnTo>
                  <a:lnTo>
                    <a:pt x="390" y="1318"/>
                  </a:lnTo>
                  <a:lnTo>
                    <a:pt x="394" y="1331"/>
                  </a:lnTo>
                  <a:lnTo>
                    <a:pt x="393" y="1339"/>
                  </a:lnTo>
                  <a:lnTo>
                    <a:pt x="388" y="1368"/>
                  </a:lnTo>
                  <a:lnTo>
                    <a:pt x="380" y="1395"/>
                  </a:lnTo>
                  <a:lnTo>
                    <a:pt x="379" y="1395"/>
                  </a:lnTo>
                  <a:lnTo>
                    <a:pt x="295" y="1394"/>
                  </a:lnTo>
                  <a:lnTo>
                    <a:pt x="247" y="1404"/>
                  </a:lnTo>
                  <a:lnTo>
                    <a:pt x="234" y="1404"/>
                  </a:lnTo>
                  <a:lnTo>
                    <a:pt x="208" y="1401"/>
                  </a:lnTo>
                  <a:lnTo>
                    <a:pt x="199" y="1402"/>
                  </a:lnTo>
                  <a:lnTo>
                    <a:pt x="193" y="1404"/>
                  </a:lnTo>
                  <a:lnTo>
                    <a:pt x="189" y="1406"/>
                  </a:lnTo>
                  <a:lnTo>
                    <a:pt x="187" y="1409"/>
                  </a:lnTo>
                  <a:lnTo>
                    <a:pt x="180" y="1421"/>
                  </a:lnTo>
                  <a:lnTo>
                    <a:pt x="177" y="1426"/>
                  </a:lnTo>
                  <a:lnTo>
                    <a:pt x="173" y="1429"/>
                  </a:lnTo>
                  <a:lnTo>
                    <a:pt x="169" y="1428"/>
                  </a:lnTo>
                  <a:lnTo>
                    <a:pt x="157" y="1422"/>
                  </a:lnTo>
                  <a:lnTo>
                    <a:pt x="150" y="1420"/>
                  </a:lnTo>
                  <a:lnTo>
                    <a:pt x="127" y="1417"/>
                  </a:lnTo>
                  <a:lnTo>
                    <a:pt x="99" y="1409"/>
                  </a:lnTo>
                  <a:lnTo>
                    <a:pt x="81" y="1407"/>
                  </a:lnTo>
                  <a:lnTo>
                    <a:pt x="73" y="1403"/>
                  </a:lnTo>
                  <a:lnTo>
                    <a:pt x="70" y="1400"/>
                  </a:lnTo>
                  <a:lnTo>
                    <a:pt x="69" y="1394"/>
                  </a:lnTo>
                  <a:lnTo>
                    <a:pt x="67" y="1391"/>
                  </a:lnTo>
                  <a:lnTo>
                    <a:pt x="65" y="1387"/>
                  </a:lnTo>
                  <a:lnTo>
                    <a:pt x="59" y="1382"/>
                  </a:lnTo>
                  <a:lnTo>
                    <a:pt x="56" y="1378"/>
                  </a:lnTo>
                  <a:lnTo>
                    <a:pt x="53" y="1374"/>
                  </a:lnTo>
                  <a:lnTo>
                    <a:pt x="52" y="1369"/>
                  </a:lnTo>
                  <a:lnTo>
                    <a:pt x="50" y="1363"/>
                  </a:lnTo>
                  <a:lnTo>
                    <a:pt x="49" y="1351"/>
                  </a:lnTo>
                  <a:lnTo>
                    <a:pt x="46" y="1341"/>
                  </a:lnTo>
                  <a:lnTo>
                    <a:pt x="46" y="1337"/>
                  </a:lnTo>
                  <a:lnTo>
                    <a:pt x="46" y="1332"/>
                  </a:lnTo>
                  <a:lnTo>
                    <a:pt x="49" y="1328"/>
                  </a:lnTo>
                  <a:lnTo>
                    <a:pt x="53" y="1325"/>
                  </a:lnTo>
                  <a:lnTo>
                    <a:pt x="60" y="1317"/>
                  </a:lnTo>
                  <a:lnTo>
                    <a:pt x="63" y="1314"/>
                  </a:lnTo>
                  <a:lnTo>
                    <a:pt x="65" y="1310"/>
                  </a:lnTo>
                  <a:lnTo>
                    <a:pt x="65" y="1306"/>
                  </a:lnTo>
                  <a:lnTo>
                    <a:pt x="62" y="1301"/>
                  </a:lnTo>
                  <a:lnTo>
                    <a:pt x="58" y="1296"/>
                  </a:lnTo>
                  <a:lnTo>
                    <a:pt x="3" y="1257"/>
                  </a:lnTo>
                  <a:lnTo>
                    <a:pt x="0" y="1245"/>
                  </a:lnTo>
                  <a:lnTo>
                    <a:pt x="1" y="1239"/>
                  </a:lnTo>
                  <a:lnTo>
                    <a:pt x="4" y="1233"/>
                  </a:lnTo>
                  <a:lnTo>
                    <a:pt x="86" y="1167"/>
                  </a:lnTo>
                  <a:lnTo>
                    <a:pt x="99" y="1154"/>
                  </a:lnTo>
                  <a:lnTo>
                    <a:pt x="125" y="1146"/>
                  </a:lnTo>
                  <a:lnTo>
                    <a:pt x="148" y="1133"/>
                  </a:lnTo>
                  <a:lnTo>
                    <a:pt x="164" y="1120"/>
                  </a:lnTo>
                  <a:lnTo>
                    <a:pt x="182" y="1101"/>
                  </a:lnTo>
                  <a:lnTo>
                    <a:pt x="188" y="1089"/>
                  </a:lnTo>
                  <a:lnTo>
                    <a:pt x="190" y="1077"/>
                  </a:lnTo>
                  <a:lnTo>
                    <a:pt x="189" y="1067"/>
                  </a:lnTo>
                  <a:lnTo>
                    <a:pt x="189" y="1056"/>
                  </a:lnTo>
                  <a:lnTo>
                    <a:pt x="192" y="1045"/>
                  </a:lnTo>
                  <a:lnTo>
                    <a:pt x="208" y="1012"/>
                  </a:lnTo>
                  <a:lnTo>
                    <a:pt x="210" y="1005"/>
                  </a:lnTo>
                  <a:lnTo>
                    <a:pt x="214" y="994"/>
                  </a:lnTo>
                  <a:lnTo>
                    <a:pt x="245" y="942"/>
                  </a:lnTo>
                  <a:lnTo>
                    <a:pt x="250" y="933"/>
                  </a:lnTo>
                  <a:lnTo>
                    <a:pt x="250" y="926"/>
                  </a:lnTo>
                  <a:lnTo>
                    <a:pt x="247" y="920"/>
                  </a:lnTo>
                  <a:lnTo>
                    <a:pt x="242" y="913"/>
                  </a:lnTo>
                  <a:lnTo>
                    <a:pt x="237" y="907"/>
                  </a:lnTo>
                  <a:lnTo>
                    <a:pt x="232" y="901"/>
                  </a:lnTo>
                  <a:lnTo>
                    <a:pt x="230" y="897"/>
                  </a:lnTo>
                  <a:lnTo>
                    <a:pt x="231" y="892"/>
                  </a:lnTo>
                  <a:lnTo>
                    <a:pt x="252" y="852"/>
                  </a:lnTo>
                  <a:lnTo>
                    <a:pt x="257" y="846"/>
                  </a:lnTo>
                  <a:lnTo>
                    <a:pt x="265" y="840"/>
                  </a:lnTo>
                  <a:lnTo>
                    <a:pt x="339" y="803"/>
                  </a:lnTo>
                  <a:lnTo>
                    <a:pt x="346" y="796"/>
                  </a:lnTo>
                  <a:lnTo>
                    <a:pt x="349" y="790"/>
                  </a:lnTo>
                  <a:lnTo>
                    <a:pt x="349" y="784"/>
                  </a:lnTo>
                  <a:lnTo>
                    <a:pt x="347" y="779"/>
                  </a:lnTo>
                  <a:lnTo>
                    <a:pt x="345" y="773"/>
                  </a:lnTo>
                  <a:lnTo>
                    <a:pt x="340" y="768"/>
                  </a:lnTo>
                  <a:lnTo>
                    <a:pt x="319" y="753"/>
                  </a:lnTo>
                  <a:lnTo>
                    <a:pt x="315" y="751"/>
                  </a:lnTo>
                  <a:lnTo>
                    <a:pt x="309" y="751"/>
                  </a:lnTo>
                  <a:lnTo>
                    <a:pt x="303" y="753"/>
                  </a:lnTo>
                  <a:lnTo>
                    <a:pt x="296" y="756"/>
                  </a:lnTo>
                  <a:lnTo>
                    <a:pt x="290" y="762"/>
                  </a:lnTo>
                  <a:lnTo>
                    <a:pt x="286" y="769"/>
                  </a:lnTo>
                  <a:lnTo>
                    <a:pt x="283" y="777"/>
                  </a:lnTo>
                  <a:lnTo>
                    <a:pt x="281" y="783"/>
                  </a:lnTo>
                  <a:lnTo>
                    <a:pt x="279" y="787"/>
                  </a:lnTo>
                  <a:lnTo>
                    <a:pt x="274" y="788"/>
                  </a:lnTo>
                  <a:lnTo>
                    <a:pt x="268" y="785"/>
                  </a:lnTo>
                  <a:lnTo>
                    <a:pt x="263" y="780"/>
                  </a:lnTo>
                  <a:lnTo>
                    <a:pt x="261" y="773"/>
                  </a:lnTo>
                  <a:lnTo>
                    <a:pt x="260" y="767"/>
                  </a:lnTo>
                  <a:lnTo>
                    <a:pt x="264" y="747"/>
                  </a:lnTo>
                  <a:lnTo>
                    <a:pt x="268" y="749"/>
                  </a:lnTo>
                  <a:lnTo>
                    <a:pt x="270" y="749"/>
                  </a:lnTo>
                  <a:lnTo>
                    <a:pt x="273" y="749"/>
                  </a:lnTo>
                  <a:lnTo>
                    <a:pt x="275" y="748"/>
                  </a:lnTo>
                  <a:lnTo>
                    <a:pt x="278" y="746"/>
                  </a:lnTo>
                  <a:lnTo>
                    <a:pt x="284" y="739"/>
                  </a:lnTo>
                  <a:lnTo>
                    <a:pt x="301" y="714"/>
                  </a:lnTo>
                  <a:lnTo>
                    <a:pt x="303" y="708"/>
                  </a:lnTo>
                  <a:lnTo>
                    <a:pt x="304" y="703"/>
                  </a:lnTo>
                  <a:lnTo>
                    <a:pt x="304" y="695"/>
                  </a:lnTo>
                  <a:lnTo>
                    <a:pt x="305" y="689"/>
                  </a:lnTo>
                  <a:lnTo>
                    <a:pt x="307" y="677"/>
                  </a:lnTo>
                  <a:lnTo>
                    <a:pt x="306" y="639"/>
                  </a:lnTo>
                  <a:lnTo>
                    <a:pt x="307" y="631"/>
                  </a:lnTo>
                  <a:lnTo>
                    <a:pt x="309" y="625"/>
                  </a:lnTo>
                  <a:lnTo>
                    <a:pt x="305" y="617"/>
                  </a:lnTo>
                  <a:lnTo>
                    <a:pt x="294" y="610"/>
                  </a:lnTo>
                  <a:lnTo>
                    <a:pt x="253" y="591"/>
                  </a:lnTo>
                  <a:lnTo>
                    <a:pt x="244" y="586"/>
                  </a:lnTo>
                  <a:lnTo>
                    <a:pt x="243" y="578"/>
                  </a:lnTo>
                  <a:lnTo>
                    <a:pt x="266" y="562"/>
                  </a:lnTo>
                  <a:lnTo>
                    <a:pt x="270" y="556"/>
                  </a:lnTo>
                  <a:lnTo>
                    <a:pt x="274" y="547"/>
                  </a:lnTo>
                  <a:lnTo>
                    <a:pt x="274" y="540"/>
                  </a:lnTo>
                  <a:lnTo>
                    <a:pt x="276" y="531"/>
                  </a:lnTo>
                  <a:lnTo>
                    <a:pt x="282" y="524"/>
                  </a:lnTo>
                  <a:lnTo>
                    <a:pt x="294" y="516"/>
                  </a:lnTo>
                  <a:lnTo>
                    <a:pt x="297" y="511"/>
                  </a:lnTo>
                  <a:lnTo>
                    <a:pt x="297" y="507"/>
                  </a:lnTo>
                  <a:lnTo>
                    <a:pt x="295" y="503"/>
                  </a:lnTo>
                  <a:lnTo>
                    <a:pt x="294" y="500"/>
                  </a:lnTo>
                  <a:lnTo>
                    <a:pt x="292" y="474"/>
                  </a:lnTo>
                  <a:lnTo>
                    <a:pt x="296" y="455"/>
                  </a:lnTo>
                  <a:lnTo>
                    <a:pt x="303" y="444"/>
                  </a:lnTo>
                  <a:lnTo>
                    <a:pt x="313" y="436"/>
                  </a:lnTo>
                  <a:lnTo>
                    <a:pt x="322" y="432"/>
                  </a:lnTo>
                  <a:lnTo>
                    <a:pt x="331" y="425"/>
                  </a:lnTo>
                  <a:lnTo>
                    <a:pt x="333" y="420"/>
                  </a:lnTo>
                  <a:lnTo>
                    <a:pt x="326" y="407"/>
                  </a:lnTo>
                  <a:lnTo>
                    <a:pt x="323" y="399"/>
                  </a:lnTo>
                  <a:lnTo>
                    <a:pt x="323" y="383"/>
                  </a:lnTo>
                  <a:lnTo>
                    <a:pt x="321" y="375"/>
                  </a:lnTo>
                  <a:lnTo>
                    <a:pt x="316" y="368"/>
                  </a:lnTo>
                  <a:lnTo>
                    <a:pt x="312" y="365"/>
                  </a:lnTo>
                  <a:lnTo>
                    <a:pt x="306" y="359"/>
                  </a:lnTo>
                  <a:lnTo>
                    <a:pt x="304" y="354"/>
                  </a:lnTo>
                  <a:lnTo>
                    <a:pt x="303" y="346"/>
                  </a:lnTo>
                  <a:lnTo>
                    <a:pt x="306" y="339"/>
                  </a:lnTo>
                  <a:lnTo>
                    <a:pt x="325" y="311"/>
                  </a:lnTo>
                  <a:lnTo>
                    <a:pt x="352" y="281"/>
                  </a:lnTo>
                  <a:lnTo>
                    <a:pt x="353" y="273"/>
                  </a:lnTo>
                  <a:lnTo>
                    <a:pt x="348" y="252"/>
                  </a:lnTo>
                  <a:lnTo>
                    <a:pt x="346" y="236"/>
                  </a:lnTo>
                  <a:lnTo>
                    <a:pt x="344" y="230"/>
                  </a:lnTo>
                  <a:lnTo>
                    <a:pt x="340" y="227"/>
                  </a:lnTo>
                  <a:lnTo>
                    <a:pt x="336" y="223"/>
                  </a:lnTo>
                  <a:lnTo>
                    <a:pt x="333" y="217"/>
                  </a:lnTo>
                  <a:lnTo>
                    <a:pt x="331" y="207"/>
                  </a:lnTo>
                  <a:lnTo>
                    <a:pt x="330" y="195"/>
                  </a:lnTo>
                  <a:lnTo>
                    <a:pt x="330" y="181"/>
                  </a:lnTo>
                  <a:lnTo>
                    <a:pt x="331" y="173"/>
                  </a:lnTo>
                  <a:lnTo>
                    <a:pt x="334" y="167"/>
                  </a:lnTo>
                  <a:lnTo>
                    <a:pt x="339" y="163"/>
                  </a:lnTo>
                  <a:lnTo>
                    <a:pt x="343" y="159"/>
                  </a:lnTo>
                  <a:lnTo>
                    <a:pt x="347" y="155"/>
                  </a:lnTo>
                  <a:lnTo>
                    <a:pt x="353" y="147"/>
                  </a:lnTo>
                  <a:lnTo>
                    <a:pt x="357" y="142"/>
                  </a:lnTo>
                  <a:lnTo>
                    <a:pt x="364" y="136"/>
                  </a:lnTo>
                  <a:lnTo>
                    <a:pt x="379" y="128"/>
                  </a:lnTo>
                  <a:lnTo>
                    <a:pt x="385" y="122"/>
                  </a:lnTo>
                  <a:lnTo>
                    <a:pt x="391" y="117"/>
                  </a:lnTo>
                  <a:lnTo>
                    <a:pt x="393" y="110"/>
                  </a:lnTo>
                  <a:lnTo>
                    <a:pt x="394" y="103"/>
                  </a:lnTo>
                  <a:lnTo>
                    <a:pt x="393" y="96"/>
                  </a:lnTo>
                  <a:lnTo>
                    <a:pt x="386" y="78"/>
                  </a:lnTo>
                  <a:lnTo>
                    <a:pt x="386" y="68"/>
                  </a:lnTo>
                  <a:lnTo>
                    <a:pt x="388" y="62"/>
                  </a:lnTo>
                  <a:lnTo>
                    <a:pt x="395" y="53"/>
                  </a:lnTo>
                  <a:lnTo>
                    <a:pt x="406" y="38"/>
                  </a:lnTo>
                  <a:lnTo>
                    <a:pt x="413" y="32"/>
                  </a:lnTo>
                  <a:lnTo>
                    <a:pt x="426" y="25"/>
                  </a:lnTo>
                  <a:lnTo>
                    <a:pt x="435" y="22"/>
                  </a:lnTo>
                  <a:lnTo>
                    <a:pt x="458" y="27"/>
                  </a:lnTo>
                  <a:lnTo>
                    <a:pt x="475" y="26"/>
                  </a:lnTo>
                  <a:lnTo>
                    <a:pt x="485" y="22"/>
                  </a:lnTo>
                  <a:lnTo>
                    <a:pt x="496" y="18"/>
                  </a:lnTo>
                  <a:lnTo>
                    <a:pt x="502" y="13"/>
                  </a:lnTo>
                  <a:lnTo>
                    <a:pt x="515" y="0"/>
                  </a:lnTo>
                  <a:lnTo>
                    <a:pt x="544" y="5"/>
                  </a:lnTo>
                  <a:lnTo>
                    <a:pt x="561" y="19"/>
                  </a:lnTo>
                  <a:lnTo>
                    <a:pt x="570" y="29"/>
                  </a:lnTo>
                  <a:lnTo>
                    <a:pt x="579" y="39"/>
                  </a:lnTo>
                  <a:lnTo>
                    <a:pt x="585" y="48"/>
                  </a:lnTo>
                  <a:lnTo>
                    <a:pt x="605" y="102"/>
                  </a:lnTo>
                  <a:lnTo>
                    <a:pt x="611" y="124"/>
                  </a:lnTo>
                  <a:lnTo>
                    <a:pt x="617" y="139"/>
                  </a:lnTo>
                  <a:lnTo>
                    <a:pt x="625" y="14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27D27567-E496-A4C3-2913-F763204B9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4420" y="1293255"/>
              <a:ext cx="1487078" cy="2182813"/>
            </a:xfrm>
            <a:custGeom>
              <a:avLst/>
              <a:gdLst>
                <a:gd name="T0" fmla="*/ 843 w 1011"/>
                <a:gd name="T1" fmla="*/ 134 h 1484"/>
                <a:gd name="T2" fmla="*/ 853 w 1011"/>
                <a:gd name="T3" fmla="*/ 152 h 1484"/>
                <a:gd name="T4" fmla="*/ 890 w 1011"/>
                <a:gd name="T5" fmla="*/ 170 h 1484"/>
                <a:gd name="T6" fmla="*/ 885 w 1011"/>
                <a:gd name="T7" fmla="*/ 194 h 1484"/>
                <a:gd name="T8" fmla="*/ 879 w 1011"/>
                <a:gd name="T9" fmla="*/ 210 h 1484"/>
                <a:gd name="T10" fmla="*/ 869 w 1011"/>
                <a:gd name="T11" fmla="*/ 220 h 1484"/>
                <a:gd name="T12" fmla="*/ 884 w 1011"/>
                <a:gd name="T13" fmla="*/ 260 h 1484"/>
                <a:gd name="T14" fmla="*/ 893 w 1011"/>
                <a:gd name="T15" fmla="*/ 304 h 1484"/>
                <a:gd name="T16" fmla="*/ 954 w 1011"/>
                <a:gd name="T17" fmla="*/ 361 h 1484"/>
                <a:gd name="T18" fmla="*/ 1006 w 1011"/>
                <a:gd name="T19" fmla="*/ 388 h 1484"/>
                <a:gd name="T20" fmla="*/ 973 w 1011"/>
                <a:gd name="T21" fmla="*/ 600 h 1484"/>
                <a:gd name="T22" fmla="*/ 915 w 1011"/>
                <a:gd name="T23" fmla="*/ 721 h 1484"/>
                <a:gd name="T24" fmla="*/ 824 w 1011"/>
                <a:gd name="T25" fmla="*/ 826 h 1484"/>
                <a:gd name="T26" fmla="*/ 765 w 1011"/>
                <a:gd name="T27" fmla="*/ 899 h 1484"/>
                <a:gd name="T28" fmla="*/ 744 w 1011"/>
                <a:gd name="T29" fmla="*/ 936 h 1484"/>
                <a:gd name="T30" fmla="*/ 655 w 1011"/>
                <a:gd name="T31" fmla="*/ 1016 h 1484"/>
                <a:gd name="T32" fmla="*/ 630 w 1011"/>
                <a:gd name="T33" fmla="*/ 999 h 1484"/>
                <a:gd name="T34" fmla="*/ 598 w 1011"/>
                <a:gd name="T35" fmla="*/ 1066 h 1484"/>
                <a:gd name="T36" fmla="*/ 524 w 1011"/>
                <a:gd name="T37" fmla="*/ 1167 h 1484"/>
                <a:gd name="T38" fmla="*/ 488 w 1011"/>
                <a:gd name="T39" fmla="*/ 1203 h 1484"/>
                <a:gd name="T40" fmla="*/ 491 w 1011"/>
                <a:gd name="T41" fmla="*/ 1268 h 1484"/>
                <a:gd name="T42" fmla="*/ 434 w 1011"/>
                <a:gd name="T43" fmla="*/ 1318 h 1484"/>
                <a:gd name="T44" fmla="*/ 460 w 1011"/>
                <a:gd name="T45" fmla="*/ 1343 h 1484"/>
                <a:gd name="T46" fmla="*/ 417 w 1011"/>
                <a:gd name="T47" fmla="*/ 1387 h 1484"/>
                <a:gd name="T48" fmla="*/ 381 w 1011"/>
                <a:gd name="T49" fmla="*/ 1396 h 1484"/>
                <a:gd name="T50" fmla="*/ 339 w 1011"/>
                <a:gd name="T51" fmla="*/ 1435 h 1484"/>
                <a:gd name="T52" fmla="*/ 324 w 1011"/>
                <a:gd name="T53" fmla="*/ 1476 h 1484"/>
                <a:gd name="T54" fmla="*/ 237 w 1011"/>
                <a:gd name="T55" fmla="*/ 1467 h 1484"/>
                <a:gd name="T56" fmla="*/ 252 w 1011"/>
                <a:gd name="T57" fmla="*/ 1407 h 1484"/>
                <a:gd name="T58" fmla="*/ 236 w 1011"/>
                <a:gd name="T59" fmla="*/ 1367 h 1484"/>
                <a:gd name="T60" fmla="*/ 101 w 1011"/>
                <a:gd name="T61" fmla="*/ 1370 h 1484"/>
                <a:gd name="T62" fmla="*/ 41 w 1011"/>
                <a:gd name="T63" fmla="*/ 1324 h 1484"/>
                <a:gd name="T64" fmla="*/ 78 w 1011"/>
                <a:gd name="T65" fmla="*/ 1242 h 1484"/>
                <a:gd name="T66" fmla="*/ 102 w 1011"/>
                <a:gd name="T67" fmla="*/ 1182 h 1484"/>
                <a:gd name="T68" fmla="*/ 9 w 1011"/>
                <a:gd name="T69" fmla="*/ 983 h 1484"/>
                <a:gd name="T70" fmla="*/ 41 w 1011"/>
                <a:gd name="T71" fmla="*/ 912 h 1484"/>
                <a:gd name="T72" fmla="*/ 95 w 1011"/>
                <a:gd name="T73" fmla="*/ 882 h 1484"/>
                <a:gd name="T74" fmla="*/ 150 w 1011"/>
                <a:gd name="T75" fmla="*/ 886 h 1484"/>
                <a:gd name="T76" fmla="*/ 200 w 1011"/>
                <a:gd name="T77" fmla="*/ 881 h 1484"/>
                <a:gd name="T78" fmla="*/ 280 w 1011"/>
                <a:gd name="T79" fmla="*/ 714 h 1484"/>
                <a:gd name="T80" fmla="*/ 332 w 1011"/>
                <a:gd name="T81" fmla="*/ 669 h 1484"/>
                <a:gd name="T82" fmla="*/ 374 w 1011"/>
                <a:gd name="T83" fmla="*/ 677 h 1484"/>
                <a:gd name="T84" fmla="*/ 319 w 1011"/>
                <a:gd name="T85" fmla="*/ 607 h 1484"/>
                <a:gd name="T86" fmla="*/ 302 w 1011"/>
                <a:gd name="T87" fmla="*/ 495 h 1484"/>
                <a:gd name="T88" fmla="*/ 379 w 1011"/>
                <a:gd name="T89" fmla="*/ 395 h 1484"/>
                <a:gd name="T90" fmla="*/ 498 w 1011"/>
                <a:gd name="T91" fmla="*/ 301 h 1484"/>
                <a:gd name="T92" fmla="*/ 569 w 1011"/>
                <a:gd name="T93" fmla="*/ 215 h 1484"/>
                <a:gd name="T94" fmla="*/ 587 w 1011"/>
                <a:gd name="T95" fmla="*/ 19 h 1484"/>
                <a:gd name="T96" fmla="*/ 610 w 1011"/>
                <a:gd name="T97" fmla="*/ 33 h 1484"/>
                <a:gd name="T98" fmla="*/ 649 w 1011"/>
                <a:gd name="T99" fmla="*/ 75 h 1484"/>
                <a:gd name="T100" fmla="*/ 673 w 1011"/>
                <a:gd name="T101" fmla="*/ 67 h 1484"/>
                <a:gd name="T102" fmla="*/ 686 w 1011"/>
                <a:gd name="T103" fmla="*/ 38 h 1484"/>
                <a:gd name="T104" fmla="*/ 746 w 1011"/>
                <a:gd name="T105" fmla="*/ 31 h 1484"/>
                <a:gd name="T106" fmla="*/ 792 w 1011"/>
                <a:gd name="T107" fmla="*/ 0 h 1484"/>
                <a:gd name="T108" fmla="*/ 817 w 1011"/>
                <a:gd name="T109" fmla="*/ 17 h 1484"/>
                <a:gd name="T110" fmla="*/ 805 w 1011"/>
                <a:gd name="T111" fmla="*/ 35 h 1484"/>
                <a:gd name="T112" fmla="*/ 810 w 1011"/>
                <a:gd name="T113" fmla="*/ 52 h 1484"/>
                <a:gd name="T114" fmla="*/ 844 w 1011"/>
                <a:gd name="T115" fmla="*/ 82 h 1484"/>
                <a:gd name="T116" fmla="*/ 811 w 1011"/>
                <a:gd name="T117" fmla="*/ 122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1" h="1484">
                  <a:moveTo>
                    <a:pt x="830" y="137"/>
                  </a:moveTo>
                  <a:lnTo>
                    <a:pt x="832" y="136"/>
                  </a:lnTo>
                  <a:lnTo>
                    <a:pt x="833" y="135"/>
                  </a:lnTo>
                  <a:lnTo>
                    <a:pt x="835" y="134"/>
                  </a:lnTo>
                  <a:lnTo>
                    <a:pt x="837" y="133"/>
                  </a:lnTo>
                  <a:lnTo>
                    <a:pt x="841" y="133"/>
                  </a:lnTo>
                  <a:lnTo>
                    <a:pt x="843" y="134"/>
                  </a:lnTo>
                  <a:lnTo>
                    <a:pt x="844" y="136"/>
                  </a:lnTo>
                  <a:lnTo>
                    <a:pt x="845" y="148"/>
                  </a:lnTo>
                  <a:lnTo>
                    <a:pt x="846" y="151"/>
                  </a:lnTo>
                  <a:lnTo>
                    <a:pt x="847" y="152"/>
                  </a:lnTo>
                  <a:lnTo>
                    <a:pt x="849" y="153"/>
                  </a:lnTo>
                  <a:lnTo>
                    <a:pt x="851" y="153"/>
                  </a:lnTo>
                  <a:lnTo>
                    <a:pt x="853" y="152"/>
                  </a:lnTo>
                  <a:lnTo>
                    <a:pt x="858" y="148"/>
                  </a:lnTo>
                  <a:lnTo>
                    <a:pt x="862" y="147"/>
                  </a:lnTo>
                  <a:lnTo>
                    <a:pt x="866" y="147"/>
                  </a:lnTo>
                  <a:lnTo>
                    <a:pt x="868" y="150"/>
                  </a:lnTo>
                  <a:lnTo>
                    <a:pt x="872" y="155"/>
                  </a:lnTo>
                  <a:lnTo>
                    <a:pt x="885" y="166"/>
                  </a:lnTo>
                  <a:lnTo>
                    <a:pt x="890" y="170"/>
                  </a:lnTo>
                  <a:lnTo>
                    <a:pt x="895" y="171"/>
                  </a:lnTo>
                  <a:lnTo>
                    <a:pt x="899" y="171"/>
                  </a:lnTo>
                  <a:lnTo>
                    <a:pt x="901" y="172"/>
                  </a:lnTo>
                  <a:lnTo>
                    <a:pt x="902" y="172"/>
                  </a:lnTo>
                  <a:lnTo>
                    <a:pt x="902" y="174"/>
                  </a:lnTo>
                  <a:lnTo>
                    <a:pt x="902" y="175"/>
                  </a:lnTo>
                  <a:lnTo>
                    <a:pt x="885" y="194"/>
                  </a:lnTo>
                  <a:lnTo>
                    <a:pt x="883" y="197"/>
                  </a:lnTo>
                  <a:lnTo>
                    <a:pt x="882" y="199"/>
                  </a:lnTo>
                  <a:lnTo>
                    <a:pt x="882" y="203"/>
                  </a:lnTo>
                  <a:lnTo>
                    <a:pt x="881" y="207"/>
                  </a:lnTo>
                  <a:lnTo>
                    <a:pt x="881" y="209"/>
                  </a:lnTo>
                  <a:lnTo>
                    <a:pt x="880" y="210"/>
                  </a:lnTo>
                  <a:lnTo>
                    <a:pt x="879" y="210"/>
                  </a:lnTo>
                  <a:lnTo>
                    <a:pt x="877" y="211"/>
                  </a:lnTo>
                  <a:lnTo>
                    <a:pt x="875" y="212"/>
                  </a:lnTo>
                  <a:lnTo>
                    <a:pt x="873" y="212"/>
                  </a:lnTo>
                  <a:lnTo>
                    <a:pt x="872" y="214"/>
                  </a:lnTo>
                  <a:lnTo>
                    <a:pt x="871" y="215"/>
                  </a:lnTo>
                  <a:lnTo>
                    <a:pt x="870" y="217"/>
                  </a:lnTo>
                  <a:lnTo>
                    <a:pt x="869" y="220"/>
                  </a:lnTo>
                  <a:lnTo>
                    <a:pt x="869" y="222"/>
                  </a:lnTo>
                  <a:lnTo>
                    <a:pt x="869" y="225"/>
                  </a:lnTo>
                  <a:lnTo>
                    <a:pt x="871" y="230"/>
                  </a:lnTo>
                  <a:lnTo>
                    <a:pt x="871" y="233"/>
                  </a:lnTo>
                  <a:lnTo>
                    <a:pt x="871" y="238"/>
                  </a:lnTo>
                  <a:lnTo>
                    <a:pt x="873" y="242"/>
                  </a:lnTo>
                  <a:lnTo>
                    <a:pt x="884" y="260"/>
                  </a:lnTo>
                  <a:lnTo>
                    <a:pt x="879" y="265"/>
                  </a:lnTo>
                  <a:lnTo>
                    <a:pt x="877" y="270"/>
                  </a:lnTo>
                  <a:lnTo>
                    <a:pt x="876" y="278"/>
                  </a:lnTo>
                  <a:lnTo>
                    <a:pt x="879" y="291"/>
                  </a:lnTo>
                  <a:lnTo>
                    <a:pt x="882" y="299"/>
                  </a:lnTo>
                  <a:lnTo>
                    <a:pt x="888" y="303"/>
                  </a:lnTo>
                  <a:lnTo>
                    <a:pt x="893" y="304"/>
                  </a:lnTo>
                  <a:lnTo>
                    <a:pt x="897" y="306"/>
                  </a:lnTo>
                  <a:lnTo>
                    <a:pt x="902" y="312"/>
                  </a:lnTo>
                  <a:lnTo>
                    <a:pt x="911" y="317"/>
                  </a:lnTo>
                  <a:lnTo>
                    <a:pt x="915" y="321"/>
                  </a:lnTo>
                  <a:lnTo>
                    <a:pt x="933" y="343"/>
                  </a:lnTo>
                  <a:lnTo>
                    <a:pt x="950" y="359"/>
                  </a:lnTo>
                  <a:lnTo>
                    <a:pt x="954" y="361"/>
                  </a:lnTo>
                  <a:lnTo>
                    <a:pt x="978" y="368"/>
                  </a:lnTo>
                  <a:lnTo>
                    <a:pt x="983" y="369"/>
                  </a:lnTo>
                  <a:lnTo>
                    <a:pt x="993" y="368"/>
                  </a:lnTo>
                  <a:lnTo>
                    <a:pt x="998" y="368"/>
                  </a:lnTo>
                  <a:lnTo>
                    <a:pt x="1004" y="370"/>
                  </a:lnTo>
                  <a:lnTo>
                    <a:pt x="1007" y="377"/>
                  </a:lnTo>
                  <a:lnTo>
                    <a:pt x="1006" y="388"/>
                  </a:lnTo>
                  <a:lnTo>
                    <a:pt x="1011" y="507"/>
                  </a:lnTo>
                  <a:lnTo>
                    <a:pt x="1009" y="518"/>
                  </a:lnTo>
                  <a:lnTo>
                    <a:pt x="1004" y="527"/>
                  </a:lnTo>
                  <a:lnTo>
                    <a:pt x="983" y="560"/>
                  </a:lnTo>
                  <a:lnTo>
                    <a:pt x="981" y="575"/>
                  </a:lnTo>
                  <a:lnTo>
                    <a:pt x="980" y="580"/>
                  </a:lnTo>
                  <a:lnTo>
                    <a:pt x="973" y="600"/>
                  </a:lnTo>
                  <a:lnTo>
                    <a:pt x="961" y="615"/>
                  </a:lnTo>
                  <a:lnTo>
                    <a:pt x="952" y="645"/>
                  </a:lnTo>
                  <a:lnTo>
                    <a:pt x="947" y="659"/>
                  </a:lnTo>
                  <a:lnTo>
                    <a:pt x="932" y="690"/>
                  </a:lnTo>
                  <a:lnTo>
                    <a:pt x="924" y="714"/>
                  </a:lnTo>
                  <a:lnTo>
                    <a:pt x="922" y="717"/>
                  </a:lnTo>
                  <a:lnTo>
                    <a:pt x="915" y="721"/>
                  </a:lnTo>
                  <a:lnTo>
                    <a:pt x="908" y="723"/>
                  </a:lnTo>
                  <a:lnTo>
                    <a:pt x="902" y="727"/>
                  </a:lnTo>
                  <a:lnTo>
                    <a:pt x="895" y="734"/>
                  </a:lnTo>
                  <a:lnTo>
                    <a:pt x="890" y="746"/>
                  </a:lnTo>
                  <a:lnTo>
                    <a:pt x="881" y="793"/>
                  </a:lnTo>
                  <a:lnTo>
                    <a:pt x="868" y="820"/>
                  </a:lnTo>
                  <a:lnTo>
                    <a:pt x="824" y="826"/>
                  </a:lnTo>
                  <a:lnTo>
                    <a:pt x="814" y="831"/>
                  </a:lnTo>
                  <a:lnTo>
                    <a:pt x="806" y="835"/>
                  </a:lnTo>
                  <a:lnTo>
                    <a:pt x="799" y="840"/>
                  </a:lnTo>
                  <a:lnTo>
                    <a:pt x="773" y="876"/>
                  </a:lnTo>
                  <a:lnTo>
                    <a:pt x="770" y="884"/>
                  </a:lnTo>
                  <a:lnTo>
                    <a:pt x="768" y="892"/>
                  </a:lnTo>
                  <a:lnTo>
                    <a:pt x="765" y="899"/>
                  </a:lnTo>
                  <a:lnTo>
                    <a:pt x="754" y="905"/>
                  </a:lnTo>
                  <a:lnTo>
                    <a:pt x="751" y="909"/>
                  </a:lnTo>
                  <a:lnTo>
                    <a:pt x="750" y="914"/>
                  </a:lnTo>
                  <a:lnTo>
                    <a:pt x="751" y="920"/>
                  </a:lnTo>
                  <a:lnTo>
                    <a:pt x="750" y="924"/>
                  </a:lnTo>
                  <a:lnTo>
                    <a:pt x="747" y="929"/>
                  </a:lnTo>
                  <a:lnTo>
                    <a:pt x="744" y="936"/>
                  </a:lnTo>
                  <a:lnTo>
                    <a:pt x="740" y="942"/>
                  </a:lnTo>
                  <a:lnTo>
                    <a:pt x="730" y="952"/>
                  </a:lnTo>
                  <a:lnTo>
                    <a:pt x="719" y="970"/>
                  </a:lnTo>
                  <a:lnTo>
                    <a:pt x="712" y="979"/>
                  </a:lnTo>
                  <a:lnTo>
                    <a:pt x="677" y="1007"/>
                  </a:lnTo>
                  <a:lnTo>
                    <a:pt x="667" y="1013"/>
                  </a:lnTo>
                  <a:lnTo>
                    <a:pt x="655" y="1016"/>
                  </a:lnTo>
                  <a:lnTo>
                    <a:pt x="649" y="1014"/>
                  </a:lnTo>
                  <a:lnTo>
                    <a:pt x="645" y="1013"/>
                  </a:lnTo>
                  <a:lnTo>
                    <a:pt x="634" y="1014"/>
                  </a:lnTo>
                  <a:lnTo>
                    <a:pt x="629" y="1013"/>
                  </a:lnTo>
                  <a:lnTo>
                    <a:pt x="628" y="1009"/>
                  </a:lnTo>
                  <a:lnTo>
                    <a:pt x="630" y="1003"/>
                  </a:lnTo>
                  <a:lnTo>
                    <a:pt x="630" y="999"/>
                  </a:lnTo>
                  <a:lnTo>
                    <a:pt x="628" y="996"/>
                  </a:lnTo>
                  <a:lnTo>
                    <a:pt x="624" y="1000"/>
                  </a:lnTo>
                  <a:lnTo>
                    <a:pt x="617" y="1006"/>
                  </a:lnTo>
                  <a:lnTo>
                    <a:pt x="613" y="1016"/>
                  </a:lnTo>
                  <a:lnTo>
                    <a:pt x="609" y="1031"/>
                  </a:lnTo>
                  <a:lnTo>
                    <a:pt x="603" y="1045"/>
                  </a:lnTo>
                  <a:lnTo>
                    <a:pt x="598" y="1066"/>
                  </a:lnTo>
                  <a:lnTo>
                    <a:pt x="584" y="1102"/>
                  </a:lnTo>
                  <a:lnTo>
                    <a:pt x="578" y="1110"/>
                  </a:lnTo>
                  <a:lnTo>
                    <a:pt x="552" y="1131"/>
                  </a:lnTo>
                  <a:lnTo>
                    <a:pt x="537" y="1137"/>
                  </a:lnTo>
                  <a:lnTo>
                    <a:pt x="530" y="1144"/>
                  </a:lnTo>
                  <a:lnTo>
                    <a:pt x="525" y="1154"/>
                  </a:lnTo>
                  <a:lnTo>
                    <a:pt x="524" y="1167"/>
                  </a:lnTo>
                  <a:lnTo>
                    <a:pt x="526" y="1183"/>
                  </a:lnTo>
                  <a:lnTo>
                    <a:pt x="525" y="1186"/>
                  </a:lnTo>
                  <a:lnTo>
                    <a:pt x="522" y="1189"/>
                  </a:lnTo>
                  <a:lnTo>
                    <a:pt x="507" y="1194"/>
                  </a:lnTo>
                  <a:lnTo>
                    <a:pt x="496" y="1200"/>
                  </a:lnTo>
                  <a:lnTo>
                    <a:pt x="492" y="1201"/>
                  </a:lnTo>
                  <a:lnTo>
                    <a:pt x="488" y="1203"/>
                  </a:lnTo>
                  <a:lnTo>
                    <a:pt x="485" y="1209"/>
                  </a:lnTo>
                  <a:lnTo>
                    <a:pt x="482" y="1216"/>
                  </a:lnTo>
                  <a:lnTo>
                    <a:pt x="479" y="1234"/>
                  </a:lnTo>
                  <a:lnTo>
                    <a:pt x="479" y="1242"/>
                  </a:lnTo>
                  <a:lnTo>
                    <a:pt x="480" y="1250"/>
                  </a:lnTo>
                  <a:lnTo>
                    <a:pt x="483" y="1258"/>
                  </a:lnTo>
                  <a:lnTo>
                    <a:pt x="491" y="1268"/>
                  </a:lnTo>
                  <a:lnTo>
                    <a:pt x="491" y="1274"/>
                  </a:lnTo>
                  <a:lnTo>
                    <a:pt x="487" y="1279"/>
                  </a:lnTo>
                  <a:lnTo>
                    <a:pt x="465" y="1294"/>
                  </a:lnTo>
                  <a:lnTo>
                    <a:pt x="423" y="1300"/>
                  </a:lnTo>
                  <a:lnTo>
                    <a:pt x="423" y="1305"/>
                  </a:lnTo>
                  <a:lnTo>
                    <a:pt x="427" y="1311"/>
                  </a:lnTo>
                  <a:lnTo>
                    <a:pt x="434" y="1318"/>
                  </a:lnTo>
                  <a:lnTo>
                    <a:pt x="443" y="1326"/>
                  </a:lnTo>
                  <a:lnTo>
                    <a:pt x="449" y="1329"/>
                  </a:lnTo>
                  <a:lnTo>
                    <a:pt x="456" y="1330"/>
                  </a:lnTo>
                  <a:lnTo>
                    <a:pt x="460" y="1332"/>
                  </a:lnTo>
                  <a:lnTo>
                    <a:pt x="461" y="1335"/>
                  </a:lnTo>
                  <a:lnTo>
                    <a:pt x="461" y="1338"/>
                  </a:lnTo>
                  <a:lnTo>
                    <a:pt x="460" y="1343"/>
                  </a:lnTo>
                  <a:lnTo>
                    <a:pt x="461" y="1350"/>
                  </a:lnTo>
                  <a:lnTo>
                    <a:pt x="468" y="1369"/>
                  </a:lnTo>
                  <a:lnTo>
                    <a:pt x="465" y="1376"/>
                  </a:lnTo>
                  <a:lnTo>
                    <a:pt x="456" y="1379"/>
                  </a:lnTo>
                  <a:lnTo>
                    <a:pt x="430" y="1377"/>
                  </a:lnTo>
                  <a:lnTo>
                    <a:pt x="420" y="1382"/>
                  </a:lnTo>
                  <a:lnTo>
                    <a:pt x="417" y="1387"/>
                  </a:lnTo>
                  <a:lnTo>
                    <a:pt x="413" y="1388"/>
                  </a:lnTo>
                  <a:lnTo>
                    <a:pt x="408" y="1384"/>
                  </a:lnTo>
                  <a:lnTo>
                    <a:pt x="403" y="1380"/>
                  </a:lnTo>
                  <a:lnTo>
                    <a:pt x="399" y="1378"/>
                  </a:lnTo>
                  <a:lnTo>
                    <a:pt x="393" y="1380"/>
                  </a:lnTo>
                  <a:lnTo>
                    <a:pt x="388" y="1385"/>
                  </a:lnTo>
                  <a:lnTo>
                    <a:pt x="381" y="1396"/>
                  </a:lnTo>
                  <a:lnTo>
                    <a:pt x="377" y="1401"/>
                  </a:lnTo>
                  <a:lnTo>
                    <a:pt x="367" y="1404"/>
                  </a:lnTo>
                  <a:lnTo>
                    <a:pt x="361" y="1407"/>
                  </a:lnTo>
                  <a:lnTo>
                    <a:pt x="353" y="1414"/>
                  </a:lnTo>
                  <a:lnTo>
                    <a:pt x="348" y="1420"/>
                  </a:lnTo>
                  <a:lnTo>
                    <a:pt x="344" y="1428"/>
                  </a:lnTo>
                  <a:lnTo>
                    <a:pt x="339" y="1435"/>
                  </a:lnTo>
                  <a:lnTo>
                    <a:pt x="334" y="1442"/>
                  </a:lnTo>
                  <a:lnTo>
                    <a:pt x="328" y="1449"/>
                  </a:lnTo>
                  <a:lnTo>
                    <a:pt x="327" y="1456"/>
                  </a:lnTo>
                  <a:lnTo>
                    <a:pt x="327" y="1462"/>
                  </a:lnTo>
                  <a:lnTo>
                    <a:pt x="326" y="1467"/>
                  </a:lnTo>
                  <a:lnTo>
                    <a:pt x="325" y="1471"/>
                  </a:lnTo>
                  <a:lnTo>
                    <a:pt x="324" y="1476"/>
                  </a:lnTo>
                  <a:lnTo>
                    <a:pt x="321" y="1480"/>
                  </a:lnTo>
                  <a:lnTo>
                    <a:pt x="315" y="1482"/>
                  </a:lnTo>
                  <a:lnTo>
                    <a:pt x="296" y="1484"/>
                  </a:lnTo>
                  <a:lnTo>
                    <a:pt x="267" y="1483"/>
                  </a:lnTo>
                  <a:lnTo>
                    <a:pt x="253" y="1480"/>
                  </a:lnTo>
                  <a:lnTo>
                    <a:pt x="244" y="1474"/>
                  </a:lnTo>
                  <a:lnTo>
                    <a:pt x="237" y="1467"/>
                  </a:lnTo>
                  <a:lnTo>
                    <a:pt x="236" y="1461"/>
                  </a:lnTo>
                  <a:lnTo>
                    <a:pt x="236" y="1455"/>
                  </a:lnTo>
                  <a:lnTo>
                    <a:pt x="238" y="1448"/>
                  </a:lnTo>
                  <a:lnTo>
                    <a:pt x="240" y="1443"/>
                  </a:lnTo>
                  <a:lnTo>
                    <a:pt x="248" y="1431"/>
                  </a:lnTo>
                  <a:lnTo>
                    <a:pt x="249" y="1427"/>
                  </a:lnTo>
                  <a:lnTo>
                    <a:pt x="252" y="1407"/>
                  </a:lnTo>
                  <a:lnTo>
                    <a:pt x="251" y="1401"/>
                  </a:lnTo>
                  <a:lnTo>
                    <a:pt x="248" y="1396"/>
                  </a:lnTo>
                  <a:lnTo>
                    <a:pt x="239" y="1388"/>
                  </a:lnTo>
                  <a:lnTo>
                    <a:pt x="238" y="1383"/>
                  </a:lnTo>
                  <a:lnTo>
                    <a:pt x="238" y="1379"/>
                  </a:lnTo>
                  <a:lnTo>
                    <a:pt x="239" y="1372"/>
                  </a:lnTo>
                  <a:lnTo>
                    <a:pt x="236" y="1367"/>
                  </a:lnTo>
                  <a:lnTo>
                    <a:pt x="226" y="1362"/>
                  </a:lnTo>
                  <a:lnTo>
                    <a:pt x="207" y="1359"/>
                  </a:lnTo>
                  <a:lnTo>
                    <a:pt x="195" y="1359"/>
                  </a:lnTo>
                  <a:lnTo>
                    <a:pt x="171" y="1367"/>
                  </a:lnTo>
                  <a:lnTo>
                    <a:pt x="158" y="1370"/>
                  </a:lnTo>
                  <a:lnTo>
                    <a:pt x="110" y="1367"/>
                  </a:lnTo>
                  <a:lnTo>
                    <a:pt x="101" y="1370"/>
                  </a:lnTo>
                  <a:lnTo>
                    <a:pt x="96" y="1371"/>
                  </a:lnTo>
                  <a:lnTo>
                    <a:pt x="83" y="1369"/>
                  </a:lnTo>
                  <a:lnTo>
                    <a:pt x="66" y="1374"/>
                  </a:lnTo>
                  <a:lnTo>
                    <a:pt x="66" y="1374"/>
                  </a:lnTo>
                  <a:lnTo>
                    <a:pt x="54" y="1344"/>
                  </a:lnTo>
                  <a:lnTo>
                    <a:pt x="44" y="1332"/>
                  </a:lnTo>
                  <a:lnTo>
                    <a:pt x="41" y="1324"/>
                  </a:lnTo>
                  <a:lnTo>
                    <a:pt x="40" y="1314"/>
                  </a:lnTo>
                  <a:lnTo>
                    <a:pt x="43" y="1306"/>
                  </a:lnTo>
                  <a:lnTo>
                    <a:pt x="67" y="1290"/>
                  </a:lnTo>
                  <a:lnTo>
                    <a:pt x="64" y="1274"/>
                  </a:lnTo>
                  <a:lnTo>
                    <a:pt x="64" y="1254"/>
                  </a:lnTo>
                  <a:lnTo>
                    <a:pt x="70" y="1249"/>
                  </a:lnTo>
                  <a:lnTo>
                    <a:pt x="78" y="1242"/>
                  </a:lnTo>
                  <a:lnTo>
                    <a:pt x="87" y="1240"/>
                  </a:lnTo>
                  <a:lnTo>
                    <a:pt x="97" y="1240"/>
                  </a:lnTo>
                  <a:lnTo>
                    <a:pt x="100" y="1232"/>
                  </a:lnTo>
                  <a:lnTo>
                    <a:pt x="100" y="1222"/>
                  </a:lnTo>
                  <a:lnTo>
                    <a:pt x="101" y="1209"/>
                  </a:lnTo>
                  <a:lnTo>
                    <a:pt x="105" y="1197"/>
                  </a:lnTo>
                  <a:lnTo>
                    <a:pt x="102" y="1182"/>
                  </a:lnTo>
                  <a:lnTo>
                    <a:pt x="104" y="1172"/>
                  </a:lnTo>
                  <a:lnTo>
                    <a:pt x="116" y="1167"/>
                  </a:lnTo>
                  <a:lnTo>
                    <a:pt x="115" y="1150"/>
                  </a:lnTo>
                  <a:lnTo>
                    <a:pt x="95" y="1122"/>
                  </a:lnTo>
                  <a:lnTo>
                    <a:pt x="55" y="1074"/>
                  </a:lnTo>
                  <a:lnTo>
                    <a:pt x="23" y="1018"/>
                  </a:lnTo>
                  <a:lnTo>
                    <a:pt x="9" y="983"/>
                  </a:lnTo>
                  <a:lnTo>
                    <a:pt x="0" y="964"/>
                  </a:lnTo>
                  <a:lnTo>
                    <a:pt x="4" y="950"/>
                  </a:lnTo>
                  <a:lnTo>
                    <a:pt x="13" y="942"/>
                  </a:lnTo>
                  <a:lnTo>
                    <a:pt x="22" y="934"/>
                  </a:lnTo>
                  <a:lnTo>
                    <a:pt x="30" y="925"/>
                  </a:lnTo>
                  <a:lnTo>
                    <a:pt x="36" y="918"/>
                  </a:lnTo>
                  <a:lnTo>
                    <a:pt x="41" y="912"/>
                  </a:lnTo>
                  <a:lnTo>
                    <a:pt x="50" y="902"/>
                  </a:lnTo>
                  <a:lnTo>
                    <a:pt x="57" y="892"/>
                  </a:lnTo>
                  <a:lnTo>
                    <a:pt x="59" y="887"/>
                  </a:lnTo>
                  <a:lnTo>
                    <a:pt x="67" y="884"/>
                  </a:lnTo>
                  <a:lnTo>
                    <a:pt x="76" y="887"/>
                  </a:lnTo>
                  <a:lnTo>
                    <a:pt x="85" y="887"/>
                  </a:lnTo>
                  <a:lnTo>
                    <a:pt x="95" y="882"/>
                  </a:lnTo>
                  <a:lnTo>
                    <a:pt x="104" y="877"/>
                  </a:lnTo>
                  <a:lnTo>
                    <a:pt x="114" y="879"/>
                  </a:lnTo>
                  <a:lnTo>
                    <a:pt x="121" y="877"/>
                  </a:lnTo>
                  <a:lnTo>
                    <a:pt x="130" y="874"/>
                  </a:lnTo>
                  <a:lnTo>
                    <a:pt x="129" y="879"/>
                  </a:lnTo>
                  <a:lnTo>
                    <a:pt x="141" y="886"/>
                  </a:lnTo>
                  <a:lnTo>
                    <a:pt x="150" y="886"/>
                  </a:lnTo>
                  <a:lnTo>
                    <a:pt x="159" y="879"/>
                  </a:lnTo>
                  <a:lnTo>
                    <a:pt x="163" y="877"/>
                  </a:lnTo>
                  <a:lnTo>
                    <a:pt x="169" y="871"/>
                  </a:lnTo>
                  <a:lnTo>
                    <a:pt x="176" y="869"/>
                  </a:lnTo>
                  <a:lnTo>
                    <a:pt x="183" y="878"/>
                  </a:lnTo>
                  <a:lnTo>
                    <a:pt x="188" y="879"/>
                  </a:lnTo>
                  <a:lnTo>
                    <a:pt x="200" y="881"/>
                  </a:lnTo>
                  <a:lnTo>
                    <a:pt x="218" y="874"/>
                  </a:lnTo>
                  <a:lnTo>
                    <a:pt x="232" y="861"/>
                  </a:lnTo>
                  <a:lnTo>
                    <a:pt x="247" y="846"/>
                  </a:lnTo>
                  <a:lnTo>
                    <a:pt x="257" y="804"/>
                  </a:lnTo>
                  <a:lnTo>
                    <a:pt x="259" y="791"/>
                  </a:lnTo>
                  <a:lnTo>
                    <a:pt x="267" y="747"/>
                  </a:lnTo>
                  <a:lnTo>
                    <a:pt x="280" y="714"/>
                  </a:lnTo>
                  <a:lnTo>
                    <a:pt x="296" y="683"/>
                  </a:lnTo>
                  <a:lnTo>
                    <a:pt x="303" y="664"/>
                  </a:lnTo>
                  <a:lnTo>
                    <a:pt x="306" y="661"/>
                  </a:lnTo>
                  <a:lnTo>
                    <a:pt x="313" y="656"/>
                  </a:lnTo>
                  <a:lnTo>
                    <a:pt x="322" y="655"/>
                  </a:lnTo>
                  <a:lnTo>
                    <a:pt x="330" y="652"/>
                  </a:lnTo>
                  <a:lnTo>
                    <a:pt x="332" y="669"/>
                  </a:lnTo>
                  <a:lnTo>
                    <a:pt x="341" y="683"/>
                  </a:lnTo>
                  <a:lnTo>
                    <a:pt x="360" y="691"/>
                  </a:lnTo>
                  <a:lnTo>
                    <a:pt x="377" y="693"/>
                  </a:lnTo>
                  <a:lnTo>
                    <a:pt x="413" y="694"/>
                  </a:lnTo>
                  <a:lnTo>
                    <a:pt x="413" y="685"/>
                  </a:lnTo>
                  <a:lnTo>
                    <a:pt x="394" y="681"/>
                  </a:lnTo>
                  <a:lnTo>
                    <a:pt x="374" y="677"/>
                  </a:lnTo>
                  <a:lnTo>
                    <a:pt x="361" y="677"/>
                  </a:lnTo>
                  <a:lnTo>
                    <a:pt x="351" y="669"/>
                  </a:lnTo>
                  <a:lnTo>
                    <a:pt x="343" y="651"/>
                  </a:lnTo>
                  <a:lnTo>
                    <a:pt x="335" y="635"/>
                  </a:lnTo>
                  <a:lnTo>
                    <a:pt x="326" y="631"/>
                  </a:lnTo>
                  <a:lnTo>
                    <a:pt x="321" y="624"/>
                  </a:lnTo>
                  <a:lnTo>
                    <a:pt x="319" y="607"/>
                  </a:lnTo>
                  <a:lnTo>
                    <a:pt x="313" y="589"/>
                  </a:lnTo>
                  <a:lnTo>
                    <a:pt x="311" y="570"/>
                  </a:lnTo>
                  <a:lnTo>
                    <a:pt x="301" y="549"/>
                  </a:lnTo>
                  <a:lnTo>
                    <a:pt x="289" y="534"/>
                  </a:lnTo>
                  <a:lnTo>
                    <a:pt x="280" y="506"/>
                  </a:lnTo>
                  <a:lnTo>
                    <a:pt x="288" y="496"/>
                  </a:lnTo>
                  <a:lnTo>
                    <a:pt x="302" y="495"/>
                  </a:lnTo>
                  <a:lnTo>
                    <a:pt x="324" y="477"/>
                  </a:lnTo>
                  <a:lnTo>
                    <a:pt x="344" y="446"/>
                  </a:lnTo>
                  <a:lnTo>
                    <a:pt x="351" y="434"/>
                  </a:lnTo>
                  <a:lnTo>
                    <a:pt x="353" y="425"/>
                  </a:lnTo>
                  <a:lnTo>
                    <a:pt x="358" y="410"/>
                  </a:lnTo>
                  <a:lnTo>
                    <a:pt x="365" y="399"/>
                  </a:lnTo>
                  <a:lnTo>
                    <a:pt x="379" y="395"/>
                  </a:lnTo>
                  <a:lnTo>
                    <a:pt x="388" y="381"/>
                  </a:lnTo>
                  <a:lnTo>
                    <a:pt x="396" y="367"/>
                  </a:lnTo>
                  <a:lnTo>
                    <a:pt x="408" y="378"/>
                  </a:lnTo>
                  <a:lnTo>
                    <a:pt x="423" y="370"/>
                  </a:lnTo>
                  <a:lnTo>
                    <a:pt x="440" y="358"/>
                  </a:lnTo>
                  <a:lnTo>
                    <a:pt x="458" y="344"/>
                  </a:lnTo>
                  <a:lnTo>
                    <a:pt x="498" y="301"/>
                  </a:lnTo>
                  <a:lnTo>
                    <a:pt x="530" y="260"/>
                  </a:lnTo>
                  <a:lnTo>
                    <a:pt x="541" y="246"/>
                  </a:lnTo>
                  <a:lnTo>
                    <a:pt x="546" y="233"/>
                  </a:lnTo>
                  <a:lnTo>
                    <a:pt x="547" y="224"/>
                  </a:lnTo>
                  <a:lnTo>
                    <a:pt x="550" y="222"/>
                  </a:lnTo>
                  <a:lnTo>
                    <a:pt x="555" y="220"/>
                  </a:lnTo>
                  <a:lnTo>
                    <a:pt x="569" y="215"/>
                  </a:lnTo>
                  <a:lnTo>
                    <a:pt x="578" y="190"/>
                  </a:lnTo>
                  <a:lnTo>
                    <a:pt x="585" y="168"/>
                  </a:lnTo>
                  <a:lnTo>
                    <a:pt x="588" y="133"/>
                  </a:lnTo>
                  <a:lnTo>
                    <a:pt x="587" y="117"/>
                  </a:lnTo>
                  <a:lnTo>
                    <a:pt x="583" y="88"/>
                  </a:lnTo>
                  <a:lnTo>
                    <a:pt x="581" y="38"/>
                  </a:lnTo>
                  <a:lnTo>
                    <a:pt x="587" y="19"/>
                  </a:lnTo>
                  <a:lnTo>
                    <a:pt x="587" y="14"/>
                  </a:lnTo>
                  <a:lnTo>
                    <a:pt x="589" y="12"/>
                  </a:lnTo>
                  <a:lnTo>
                    <a:pt x="596" y="15"/>
                  </a:lnTo>
                  <a:lnTo>
                    <a:pt x="599" y="18"/>
                  </a:lnTo>
                  <a:lnTo>
                    <a:pt x="601" y="23"/>
                  </a:lnTo>
                  <a:lnTo>
                    <a:pt x="604" y="33"/>
                  </a:lnTo>
                  <a:lnTo>
                    <a:pt x="610" y="33"/>
                  </a:lnTo>
                  <a:lnTo>
                    <a:pt x="611" y="25"/>
                  </a:lnTo>
                  <a:lnTo>
                    <a:pt x="613" y="19"/>
                  </a:lnTo>
                  <a:lnTo>
                    <a:pt x="613" y="19"/>
                  </a:lnTo>
                  <a:lnTo>
                    <a:pt x="630" y="60"/>
                  </a:lnTo>
                  <a:lnTo>
                    <a:pt x="639" y="72"/>
                  </a:lnTo>
                  <a:lnTo>
                    <a:pt x="643" y="74"/>
                  </a:lnTo>
                  <a:lnTo>
                    <a:pt x="649" y="75"/>
                  </a:lnTo>
                  <a:lnTo>
                    <a:pt x="653" y="77"/>
                  </a:lnTo>
                  <a:lnTo>
                    <a:pt x="658" y="77"/>
                  </a:lnTo>
                  <a:lnTo>
                    <a:pt x="661" y="77"/>
                  </a:lnTo>
                  <a:lnTo>
                    <a:pt x="663" y="75"/>
                  </a:lnTo>
                  <a:lnTo>
                    <a:pt x="667" y="71"/>
                  </a:lnTo>
                  <a:lnTo>
                    <a:pt x="669" y="69"/>
                  </a:lnTo>
                  <a:lnTo>
                    <a:pt x="673" y="67"/>
                  </a:lnTo>
                  <a:lnTo>
                    <a:pt x="675" y="65"/>
                  </a:lnTo>
                  <a:lnTo>
                    <a:pt x="677" y="61"/>
                  </a:lnTo>
                  <a:lnTo>
                    <a:pt x="679" y="56"/>
                  </a:lnTo>
                  <a:lnTo>
                    <a:pt x="682" y="48"/>
                  </a:lnTo>
                  <a:lnTo>
                    <a:pt x="685" y="41"/>
                  </a:lnTo>
                  <a:lnTo>
                    <a:pt x="685" y="40"/>
                  </a:lnTo>
                  <a:lnTo>
                    <a:pt x="686" y="38"/>
                  </a:lnTo>
                  <a:lnTo>
                    <a:pt x="687" y="38"/>
                  </a:lnTo>
                  <a:lnTo>
                    <a:pt x="689" y="36"/>
                  </a:lnTo>
                  <a:lnTo>
                    <a:pt x="691" y="36"/>
                  </a:lnTo>
                  <a:lnTo>
                    <a:pt x="714" y="38"/>
                  </a:lnTo>
                  <a:lnTo>
                    <a:pt x="725" y="36"/>
                  </a:lnTo>
                  <a:lnTo>
                    <a:pt x="738" y="34"/>
                  </a:lnTo>
                  <a:lnTo>
                    <a:pt x="746" y="31"/>
                  </a:lnTo>
                  <a:lnTo>
                    <a:pt x="750" y="29"/>
                  </a:lnTo>
                  <a:lnTo>
                    <a:pt x="757" y="23"/>
                  </a:lnTo>
                  <a:lnTo>
                    <a:pt x="771" y="8"/>
                  </a:lnTo>
                  <a:lnTo>
                    <a:pt x="775" y="6"/>
                  </a:lnTo>
                  <a:lnTo>
                    <a:pt x="779" y="3"/>
                  </a:lnTo>
                  <a:lnTo>
                    <a:pt x="786" y="0"/>
                  </a:lnTo>
                  <a:lnTo>
                    <a:pt x="792" y="0"/>
                  </a:lnTo>
                  <a:lnTo>
                    <a:pt x="796" y="0"/>
                  </a:lnTo>
                  <a:lnTo>
                    <a:pt x="799" y="1"/>
                  </a:lnTo>
                  <a:lnTo>
                    <a:pt x="803" y="2"/>
                  </a:lnTo>
                  <a:lnTo>
                    <a:pt x="809" y="7"/>
                  </a:lnTo>
                  <a:lnTo>
                    <a:pt x="815" y="13"/>
                  </a:lnTo>
                  <a:lnTo>
                    <a:pt x="816" y="15"/>
                  </a:lnTo>
                  <a:lnTo>
                    <a:pt x="817" y="17"/>
                  </a:lnTo>
                  <a:lnTo>
                    <a:pt x="817" y="18"/>
                  </a:lnTo>
                  <a:lnTo>
                    <a:pt x="817" y="19"/>
                  </a:lnTo>
                  <a:lnTo>
                    <a:pt x="817" y="20"/>
                  </a:lnTo>
                  <a:lnTo>
                    <a:pt x="816" y="21"/>
                  </a:lnTo>
                  <a:lnTo>
                    <a:pt x="809" y="29"/>
                  </a:lnTo>
                  <a:lnTo>
                    <a:pt x="807" y="33"/>
                  </a:lnTo>
                  <a:lnTo>
                    <a:pt x="805" y="35"/>
                  </a:lnTo>
                  <a:lnTo>
                    <a:pt x="805" y="38"/>
                  </a:lnTo>
                  <a:lnTo>
                    <a:pt x="804" y="40"/>
                  </a:lnTo>
                  <a:lnTo>
                    <a:pt x="804" y="42"/>
                  </a:lnTo>
                  <a:lnTo>
                    <a:pt x="805" y="45"/>
                  </a:lnTo>
                  <a:lnTo>
                    <a:pt x="806" y="47"/>
                  </a:lnTo>
                  <a:lnTo>
                    <a:pt x="808" y="49"/>
                  </a:lnTo>
                  <a:lnTo>
                    <a:pt x="810" y="52"/>
                  </a:lnTo>
                  <a:lnTo>
                    <a:pt x="842" y="71"/>
                  </a:lnTo>
                  <a:lnTo>
                    <a:pt x="844" y="73"/>
                  </a:lnTo>
                  <a:lnTo>
                    <a:pt x="846" y="75"/>
                  </a:lnTo>
                  <a:lnTo>
                    <a:pt x="846" y="77"/>
                  </a:lnTo>
                  <a:lnTo>
                    <a:pt x="846" y="79"/>
                  </a:lnTo>
                  <a:lnTo>
                    <a:pt x="845" y="80"/>
                  </a:lnTo>
                  <a:lnTo>
                    <a:pt x="844" y="82"/>
                  </a:lnTo>
                  <a:lnTo>
                    <a:pt x="840" y="86"/>
                  </a:lnTo>
                  <a:lnTo>
                    <a:pt x="835" y="90"/>
                  </a:lnTo>
                  <a:lnTo>
                    <a:pt x="832" y="93"/>
                  </a:lnTo>
                  <a:lnTo>
                    <a:pt x="828" y="98"/>
                  </a:lnTo>
                  <a:lnTo>
                    <a:pt x="825" y="103"/>
                  </a:lnTo>
                  <a:lnTo>
                    <a:pt x="812" y="121"/>
                  </a:lnTo>
                  <a:lnTo>
                    <a:pt x="811" y="122"/>
                  </a:lnTo>
                  <a:lnTo>
                    <a:pt x="812" y="125"/>
                  </a:lnTo>
                  <a:lnTo>
                    <a:pt x="815" y="127"/>
                  </a:lnTo>
                  <a:lnTo>
                    <a:pt x="822" y="134"/>
                  </a:lnTo>
                  <a:lnTo>
                    <a:pt x="827" y="136"/>
                  </a:lnTo>
                  <a:lnTo>
                    <a:pt x="830" y="13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5BD0C8D4-B3BE-2725-F920-26CB6074A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048" y="2197857"/>
              <a:ext cx="770751" cy="1585628"/>
            </a:xfrm>
            <a:custGeom>
              <a:avLst/>
              <a:gdLst>
                <a:gd name="T0" fmla="*/ 354 w 524"/>
                <a:gd name="T1" fmla="*/ 7 h 1078"/>
                <a:gd name="T2" fmla="*/ 345 w 524"/>
                <a:gd name="T3" fmla="*/ 31 h 1078"/>
                <a:gd name="T4" fmla="*/ 343 w 524"/>
                <a:gd name="T5" fmla="*/ 68 h 1078"/>
                <a:gd name="T6" fmla="*/ 348 w 524"/>
                <a:gd name="T7" fmla="*/ 92 h 1078"/>
                <a:gd name="T8" fmla="*/ 380 w 524"/>
                <a:gd name="T9" fmla="*/ 101 h 1078"/>
                <a:gd name="T10" fmla="*/ 411 w 524"/>
                <a:gd name="T11" fmla="*/ 77 h 1078"/>
                <a:gd name="T12" fmla="*/ 495 w 524"/>
                <a:gd name="T13" fmla="*/ 8 h 1078"/>
                <a:gd name="T14" fmla="*/ 518 w 524"/>
                <a:gd name="T15" fmla="*/ 35 h 1078"/>
                <a:gd name="T16" fmla="*/ 452 w 524"/>
                <a:gd name="T17" fmla="*/ 170 h 1078"/>
                <a:gd name="T18" fmla="*/ 417 w 524"/>
                <a:gd name="T19" fmla="*/ 218 h 1078"/>
                <a:gd name="T20" fmla="*/ 388 w 524"/>
                <a:gd name="T21" fmla="*/ 247 h 1078"/>
                <a:gd name="T22" fmla="*/ 379 w 524"/>
                <a:gd name="T23" fmla="*/ 307 h 1078"/>
                <a:gd name="T24" fmla="*/ 372 w 524"/>
                <a:gd name="T25" fmla="*/ 397 h 1078"/>
                <a:gd name="T26" fmla="*/ 351 w 524"/>
                <a:gd name="T27" fmla="*/ 472 h 1078"/>
                <a:gd name="T28" fmla="*/ 325 w 524"/>
                <a:gd name="T29" fmla="*/ 522 h 1078"/>
                <a:gd name="T30" fmla="*/ 349 w 524"/>
                <a:gd name="T31" fmla="*/ 504 h 1078"/>
                <a:gd name="T32" fmla="*/ 368 w 524"/>
                <a:gd name="T33" fmla="*/ 515 h 1078"/>
                <a:gd name="T34" fmla="*/ 382 w 524"/>
                <a:gd name="T35" fmla="*/ 539 h 1078"/>
                <a:gd name="T36" fmla="*/ 369 w 524"/>
                <a:gd name="T37" fmla="*/ 546 h 1078"/>
                <a:gd name="T38" fmla="*/ 376 w 524"/>
                <a:gd name="T39" fmla="*/ 630 h 1078"/>
                <a:gd name="T40" fmla="*/ 416 w 524"/>
                <a:gd name="T41" fmla="*/ 667 h 1078"/>
                <a:gd name="T42" fmla="*/ 404 w 524"/>
                <a:gd name="T43" fmla="*/ 698 h 1078"/>
                <a:gd name="T44" fmla="*/ 391 w 524"/>
                <a:gd name="T45" fmla="*/ 696 h 1078"/>
                <a:gd name="T46" fmla="*/ 358 w 524"/>
                <a:gd name="T47" fmla="*/ 726 h 1078"/>
                <a:gd name="T48" fmla="*/ 358 w 524"/>
                <a:gd name="T49" fmla="*/ 737 h 1078"/>
                <a:gd name="T50" fmla="*/ 374 w 524"/>
                <a:gd name="T51" fmla="*/ 746 h 1078"/>
                <a:gd name="T52" fmla="*/ 395 w 524"/>
                <a:gd name="T53" fmla="*/ 768 h 1078"/>
                <a:gd name="T54" fmla="*/ 414 w 524"/>
                <a:gd name="T55" fmla="*/ 824 h 1078"/>
                <a:gd name="T56" fmla="*/ 429 w 524"/>
                <a:gd name="T57" fmla="*/ 856 h 1078"/>
                <a:gd name="T58" fmla="*/ 407 w 524"/>
                <a:gd name="T59" fmla="*/ 926 h 1078"/>
                <a:gd name="T60" fmla="*/ 418 w 524"/>
                <a:gd name="T61" fmla="*/ 972 h 1078"/>
                <a:gd name="T62" fmla="*/ 441 w 524"/>
                <a:gd name="T63" fmla="*/ 1035 h 1078"/>
                <a:gd name="T64" fmla="*/ 341 w 524"/>
                <a:gd name="T65" fmla="*/ 963 h 1078"/>
                <a:gd name="T66" fmla="*/ 290 w 524"/>
                <a:gd name="T67" fmla="*/ 926 h 1078"/>
                <a:gd name="T68" fmla="*/ 220 w 524"/>
                <a:gd name="T69" fmla="*/ 899 h 1078"/>
                <a:gd name="T70" fmla="*/ 143 w 524"/>
                <a:gd name="T71" fmla="*/ 907 h 1078"/>
                <a:gd name="T72" fmla="*/ 110 w 524"/>
                <a:gd name="T73" fmla="*/ 833 h 1078"/>
                <a:gd name="T74" fmla="*/ 75 w 524"/>
                <a:gd name="T75" fmla="*/ 772 h 1078"/>
                <a:gd name="T76" fmla="*/ 5 w 524"/>
                <a:gd name="T77" fmla="*/ 723 h 1078"/>
                <a:gd name="T78" fmla="*/ 10 w 524"/>
                <a:gd name="T79" fmla="*/ 689 h 1078"/>
                <a:gd name="T80" fmla="*/ 5 w 524"/>
                <a:gd name="T81" fmla="*/ 602 h 1078"/>
                <a:gd name="T82" fmla="*/ 39 w 524"/>
                <a:gd name="T83" fmla="*/ 541 h 1078"/>
                <a:gd name="T84" fmla="*/ 85 w 524"/>
                <a:gd name="T85" fmla="*/ 450 h 1078"/>
                <a:gd name="T86" fmla="*/ 91 w 524"/>
                <a:gd name="T87" fmla="*/ 427 h 1078"/>
                <a:gd name="T88" fmla="*/ 107 w 524"/>
                <a:gd name="T89" fmla="*/ 419 h 1078"/>
                <a:gd name="T90" fmla="*/ 115 w 524"/>
                <a:gd name="T91" fmla="*/ 406 h 1078"/>
                <a:gd name="T92" fmla="*/ 128 w 524"/>
                <a:gd name="T93" fmla="*/ 394 h 1078"/>
                <a:gd name="T94" fmla="*/ 146 w 524"/>
                <a:gd name="T95" fmla="*/ 378 h 1078"/>
                <a:gd name="T96" fmla="*/ 167 w 524"/>
                <a:gd name="T97" fmla="*/ 353 h 1078"/>
                <a:gd name="T98" fmla="*/ 189 w 524"/>
                <a:gd name="T99" fmla="*/ 344 h 1078"/>
                <a:gd name="T100" fmla="*/ 203 w 524"/>
                <a:gd name="T101" fmla="*/ 303 h 1078"/>
                <a:gd name="T102" fmla="*/ 222 w 524"/>
                <a:gd name="T103" fmla="*/ 284 h 1078"/>
                <a:gd name="T104" fmla="*/ 223 w 524"/>
                <a:gd name="T105" fmla="*/ 262 h 1078"/>
                <a:gd name="T106" fmla="*/ 224 w 524"/>
                <a:gd name="T107" fmla="*/ 196 h 1078"/>
                <a:gd name="T108" fmla="*/ 181 w 524"/>
                <a:gd name="T109" fmla="*/ 178 h 1078"/>
                <a:gd name="T110" fmla="*/ 208 w 524"/>
                <a:gd name="T111" fmla="*/ 108 h 1078"/>
                <a:gd name="T112" fmla="*/ 232 w 524"/>
                <a:gd name="T113" fmla="*/ 75 h 1078"/>
                <a:gd name="T114" fmla="*/ 281 w 524"/>
                <a:gd name="T11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4" h="1078">
                  <a:moveTo>
                    <a:pt x="296" y="2"/>
                  </a:moveTo>
                  <a:lnTo>
                    <a:pt x="332" y="1"/>
                  </a:lnTo>
                  <a:lnTo>
                    <a:pt x="348" y="3"/>
                  </a:lnTo>
                  <a:lnTo>
                    <a:pt x="354" y="7"/>
                  </a:lnTo>
                  <a:lnTo>
                    <a:pt x="351" y="11"/>
                  </a:lnTo>
                  <a:lnTo>
                    <a:pt x="346" y="15"/>
                  </a:lnTo>
                  <a:lnTo>
                    <a:pt x="343" y="22"/>
                  </a:lnTo>
                  <a:lnTo>
                    <a:pt x="345" y="31"/>
                  </a:lnTo>
                  <a:lnTo>
                    <a:pt x="349" y="42"/>
                  </a:lnTo>
                  <a:lnTo>
                    <a:pt x="351" y="52"/>
                  </a:lnTo>
                  <a:lnTo>
                    <a:pt x="348" y="60"/>
                  </a:lnTo>
                  <a:lnTo>
                    <a:pt x="343" y="68"/>
                  </a:lnTo>
                  <a:lnTo>
                    <a:pt x="341" y="75"/>
                  </a:lnTo>
                  <a:lnTo>
                    <a:pt x="343" y="81"/>
                  </a:lnTo>
                  <a:lnTo>
                    <a:pt x="344" y="87"/>
                  </a:lnTo>
                  <a:lnTo>
                    <a:pt x="348" y="92"/>
                  </a:lnTo>
                  <a:lnTo>
                    <a:pt x="354" y="96"/>
                  </a:lnTo>
                  <a:lnTo>
                    <a:pt x="363" y="100"/>
                  </a:lnTo>
                  <a:lnTo>
                    <a:pt x="371" y="102"/>
                  </a:lnTo>
                  <a:lnTo>
                    <a:pt x="380" y="101"/>
                  </a:lnTo>
                  <a:lnTo>
                    <a:pt x="389" y="99"/>
                  </a:lnTo>
                  <a:lnTo>
                    <a:pt x="395" y="94"/>
                  </a:lnTo>
                  <a:lnTo>
                    <a:pt x="403" y="86"/>
                  </a:lnTo>
                  <a:lnTo>
                    <a:pt x="411" y="77"/>
                  </a:lnTo>
                  <a:lnTo>
                    <a:pt x="420" y="70"/>
                  </a:lnTo>
                  <a:lnTo>
                    <a:pt x="437" y="62"/>
                  </a:lnTo>
                  <a:lnTo>
                    <a:pt x="445" y="56"/>
                  </a:lnTo>
                  <a:lnTo>
                    <a:pt x="495" y="8"/>
                  </a:lnTo>
                  <a:lnTo>
                    <a:pt x="506" y="1"/>
                  </a:lnTo>
                  <a:lnTo>
                    <a:pt x="512" y="1"/>
                  </a:lnTo>
                  <a:lnTo>
                    <a:pt x="524" y="5"/>
                  </a:lnTo>
                  <a:lnTo>
                    <a:pt x="518" y="35"/>
                  </a:lnTo>
                  <a:lnTo>
                    <a:pt x="471" y="143"/>
                  </a:lnTo>
                  <a:lnTo>
                    <a:pt x="461" y="161"/>
                  </a:lnTo>
                  <a:lnTo>
                    <a:pt x="457" y="167"/>
                  </a:lnTo>
                  <a:lnTo>
                    <a:pt x="452" y="170"/>
                  </a:lnTo>
                  <a:lnTo>
                    <a:pt x="446" y="173"/>
                  </a:lnTo>
                  <a:lnTo>
                    <a:pt x="440" y="179"/>
                  </a:lnTo>
                  <a:lnTo>
                    <a:pt x="434" y="184"/>
                  </a:lnTo>
                  <a:lnTo>
                    <a:pt x="417" y="218"/>
                  </a:lnTo>
                  <a:lnTo>
                    <a:pt x="409" y="224"/>
                  </a:lnTo>
                  <a:lnTo>
                    <a:pt x="401" y="231"/>
                  </a:lnTo>
                  <a:lnTo>
                    <a:pt x="394" y="237"/>
                  </a:lnTo>
                  <a:lnTo>
                    <a:pt x="388" y="247"/>
                  </a:lnTo>
                  <a:lnTo>
                    <a:pt x="379" y="271"/>
                  </a:lnTo>
                  <a:lnTo>
                    <a:pt x="378" y="283"/>
                  </a:lnTo>
                  <a:lnTo>
                    <a:pt x="377" y="295"/>
                  </a:lnTo>
                  <a:lnTo>
                    <a:pt x="379" y="307"/>
                  </a:lnTo>
                  <a:lnTo>
                    <a:pt x="368" y="353"/>
                  </a:lnTo>
                  <a:lnTo>
                    <a:pt x="367" y="371"/>
                  </a:lnTo>
                  <a:lnTo>
                    <a:pt x="366" y="386"/>
                  </a:lnTo>
                  <a:lnTo>
                    <a:pt x="372" y="397"/>
                  </a:lnTo>
                  <a:lnTo>
                    <a:pt x="390" y="419"/>
                  </a:lnTo>
                  <a:lnTo>
                    <a:pt x="395" y="441"/>
                  </a:lnTo>
                  <a:lnTo>
                    <a:pt x="363" y="456"/>
                  </a:lnTo>
                  <a:lnTo>
                    <a:pt x="351" y="472"/>
                  </a:lnTo>
                  <a:lnTo>
                    <a:pt x="335" y="498"/>
                  </a:lnTo>
                  <a:lnTo>
                    <a:pt x="325" y="509"/>
                  </a:lnTo>
                  <a:lnTo>
                    <a:pt x="323" y="518"/>
                  </a:lnTo>
                  <a:lnTo>
                    <a:pt x="325" y="522"/>
                  </a:lnTo>
                  <a:lnTo>
                    <a:pt x="330" y="523"/>
                  </a:lnTo>
                  <a:lnTo>
                    <a:pt x="336" y="521"/>
                  </a:lnTo>
                  <a:lnTo>
                    <a:pt x="340" y="517"/>
                  </a:lnTo>
                  <a:lnTo>
                    <a:pt x="349" y="504"/>
                  </a:lnTo>
                  <a:lnTo>
                    <a:pt x="353" y="500"/>
                  </a:lnTo>
                  <a:lnTo>
                    <a:pt x="357" y="500"/>
                  </a:lnTo>
                  <a:lnTo>
                    <a:pt x="362" y="503"/>
                  </a:lnTo>
                  <a:lnTo>
                    <a:pt x="368" y="515"/>
                  </a:lnTo>
                  <a:lnTo>
                    <a:pt x="388" y="529"/>
                  </a:lnTo>
                  <a:lnTo>
                    <a:pt x="388" y="532"/>
                  </a:lnTo>
                  <a:lnTo>
                    <a:pt x="385" y="536"/>
                  </a:lnTo>
                  <a:lnTo>
                    <a:pt x="382" y="539"/>
                  </a:lnTo>
                  <a:lnTo>
                    <a:pt x="379" y="541"/>
                  </a:lnTo>
                  <a:lnTo>
                    <a:pt x="375" y="541"/>
                  </a:lnTo>
                  <a:lnTo>
                    <a:pt x="372" y="542"/>
                  </a:lnTo>
                  <a:lnTo>
                    <a:pt x="369" y="546"/>
                  </a:lnTo>
                  <a:lnTo>
                    <a:pt x="368" y="553"/>
                  </a:lnTo>
                  <a:lnTo>
                    <a:pt x="367" y="605"/>
                  </a:lnTo>
                  <a:lnTo>
                    <a:pt x="369" y="619"/>
                  </a:lnTo>
                  <a:lnTo>
                    <a:pt x="376" y="630"/>
                  </a:lnTo>
                  <a:lnTo>
                    <a:pt x="384" y="639"/>
                  </a:lnTo>
                  <a:lnTo>
                    <a:pt x="406" y="653"/>
                  </a:lnTo>
                  <a:lnTo>
                    <a:pt x="411" y="659"/>
                  </a:lnTo>
                  <a:lnTo>
                    <a:pt x="416" y="667"/>
                  </a:lnTo>
                  <a:lnTo>
                    <a:pt x="415" y="676"/>
                  </a:lnTo>
                  <a:lnTo>
                    <a:pt x="411" y="686"/>
                  </a:lnTo>
                  <a:lnTo>
                    <a:pt x="408" y="691"/>
                  </a:lnTo>
                  <a:lnTo>
                    <a:pt x="404" y="698"/>
                  </a:lnTo>
                  <a:lnTo>
                    <a:pt x="402" y="700"/>
                  </a:lnTo>
                  <a:lnTo>
                    <a:pt x="398" y="700"/>
                  </a:lnTo>
                  <a:lnTo>
                    <a:pt x="394" y="697"/>
                  </a:lnTo>
                  <a:lnTo>
                    <a:pt x="391" y="696"/>
                  </a:lnTo>
                  <a:lnTo>
                    <a:pt x="387" y="697"/>
                  </a:lnTo>
                  <a:lnTo>
                    <a:pt x="368" y="718"/>
                  </a:lnTo>
                  <a:lnTo>
                    <a:pt x="364" y="723"/>
                  </a:lnTo>
                  <a:lnTo>
                    <a:pt x="358" y="726"/>
                  </a:lnTo>
                  <a:lnTo>
                    <a:pt x="354" y="728"/>
                  </a:lnTo>
                  <a:lnTo>
                    <a:pt x="353" y="733"/>
                  </a:lnTo>
                  <a:lnTo>
                    <a:pt x="355" y="736"/>
                  </a:lnTo>
                  <a:lnTo>
                    <a:pt x="358" y="737"/>
                  </a:lnTo>
                  <a:lnTo>
                    <a:pt x="364" y="738"/>
                  </a:lnTo>
                  <a:lnTo>
                    <a:pt x="367" y="740"/>
                  </a:lnTo>
                  <a:lnTo>
                    <a:pt x="370" y="743"/>
                  </a:lnTo>
                  <a:lnTo>
                    <a:pt x="374" y="746"/>
                  </a:lnTo>
                  <a:lnTo>
                    <a:pt x="378" y="744"/>
                  </a:lnTo>
                  <a:lnTo>
                    <a:pt x="382" y="747"/>
                  </a:lnTo>
                  <a:lnTo>
                    <a:pt x="388" y="754"/>
                  </a:lnTo>
                  <a:lnTo>
                    <a:pt x="395" y="768"/>
                  </a:lnTo>
                  <a:lnTo>
                    <a:pt x="415" y="799"/>
                  </a:lnTo>
                  <a:lnTo>
                    <a:pt x="416" y="804"/>
                  </a:lnTo>
                  <a:lnTo>
                    <a:pt x="413" y="817"/>
                  </a:lnTo>
                  <a:lnTo>
                    <a:pt x="414" y="824"/>
                  </a:lnTo>
                  <a:lnTo>
                    <a:pt x="416" y="832"/>
                  </a:lnTo>
                  <a:lnTo>
                    <a:pt x="421" y="842"/>
                  </a:lnTo>
                  <a:lnTo>
                    <a:pt x="426" y="848"/>
                  </a:lnTo>
                  <a:lnTo>
                    <a:pt x="429" y="856"/>
                  </a:lnTo>
                  <a:lnTo>
                    <a:pt x="428" y="866"/>
                  </a:lnTo>
                  <a:lnTo>
                    <a:pt x="421" y="879"/>
                  </a:lnTo>
                  <a:lnTo>
                    <a:pt x="409" y="923"/>
                  </a:lnTo>
                  <a:lnTo>
                    <a:pt x="407" y="926"/>
                  </a:lnTo>
                  <a:lnTo>
                    <a:pt x="398" y="932"/>
                  </a:lnTo>
                  <a:lnTo>
                    <a:pt x="395" y="938"/>
                  </a:lnTo>
                  <a:lnTo>
                    <a:pt x="396" y="944"/>
                  </a:lnTo>
                  <a:lnTo>
                    <a:pt x="418" y="972"/>
                  </a:lnTo>
                  <a:lnTo>
                    <a:pt x="441" y="1009"/>
                  </a:lnTo>
                  <a:lnTo>
                    <a:pt x="445" y="1019"/>
                  </a:lnTo>
                  <a:lnTo>
                    <a:pt x="445" y="1024"/>
                  </a:lnTo>
                  <a:lnTo>
                    <a:pt x="441" y="1035"/>
                  </a:lnTo>
                  <a:lnTo>
                    <a:pt x="435" y="1058"/>
                  </a:lnTo>
                  <a:lnTo>
                    <a:pt x="426" y="1078"/>
                  </a:lnTo>
                  <a:lnTo>
                    <a:pt x="391" y="1047"/>
                  </a:lnTo>
                  <a:lnTo>
                    <a:pt x="341" y="963"/>
                  </a:lnTo>
                  <a:lnTo>
                    <a:pt x="333" y="955"/>
                  </a:lnTo>
                  <a:lnTo>
                    <a:pt x="313" y="939"/>
                  </a:lnTo>
                  <a:lnTo>
                    <a:pt x="305" y="934"/>
                  </a:lnTo>
                  <a:lnTo>
                    <a:pt x="290" y="926"/>
                  </a:lnTo>
                  <a:lnTo>
                    <a:pt x="260" y="906"/>
                  </a:lnTo>
                  <a:lnTo>
                    <a:pt x="247" y="899"/>
                  </a:lnTo>
                  <a:lnTo>
                    <a:pt x="233" y="898"/>
                  </a:lnTo>
                  <a:lnTo>
                    <a:pt x="220" y="899"/>
                  </a:lnTo>
                  <a:lnTo>
                    <a:pt x="186" y="911"/>
                  </a:lnTo>
                  <a:lnTo>
                    <a:pt x="163" y="916"/>
                  </a:lnTo>
                  <a:lnTo>
                    <a:pt x="148" y="912"/>
                  </a:lnTo>
                  <a:lnTo>
                    <a:pt x="143" y="907"/>
                  </a:lnTo>
                  <a:lnTo>
                    <a:pt x="138" y="892"/>
                  </a:lnTo>
                  <a:lnTo>
                    <a:pt x="123" y="864"/>
                  </a:lnTo>
                  <a:lnTo>
                    <a:pt x="115" y="841"/>
                  </a:lnTo>
                  <a:lnTo>
                    <a:pt x="110" y="833"/>
                  </a:lnTo>
                  <a:lnTo>
                    <a:pt x="93" y="811"/>
                  </a:lnTo>
                  <a:lnTo>
                    <a:pt x="86" y="800"/>
                  </a:lnTo>
                  <a:lnTo>
                    <a:pt x="82" y="786"/>
                  </a:lnTo>
                  <a:lnTo>
                    <a:pt x="75" y="772"/>
                  </a:lnTo>
                  <a:lnTo>
                    <a:pt x="65" y="763"/>
                  </a:lnTo>
                  <a:lnTo>
                    <a:pt x="11" y="735"/>
                  </a:lnTo>
                  <a:lnTo>
                    <a:pt x="7" y="729"/>
                  </a:lnTo>
                  <a:lnTo>
                    <a:pt x="5" y="723"/>
                  </a:lnTo>
                  <a:lnTo>
                    <a:pt x="4" y="713"/>
                  </a:lnTo>
                  <a:lnTo>
                    <a:pt x="5" y="705"/>
                  </a:lnTo>
                  <a:lnTo>
                    <a:pt x="8" y="693"/>
                  </a:lnTo>
                  <a:lnTo>
                    <a:pt x="10" y="689"/>
                  </a:lnTo>
                  <a:lnTo>
                    <a:pt x="1" y="660"/>
                  </a:lnTo>
                  <a:lnTo>
                    <a:pt x="0" y="652"/>
                  </a:lnTo>
                  <a:lnTo>
                    <a:pt x="3" y="610"/>
                  </a:lnTo>
                  <a:lnTo>
                    <a:pt x="5" y="602"/>
                  </a:lnTo>
                  <a:lnTo>
                    <a:pt x="15" y="572"/>
                  </a:lnTo>
                  <a:lnTo>
                    <a:pt x="18" y="566"/>
                  </a:lnTo>
                  <a:lnTo>
                    <a:pt x="27" y="554"/>
                  </a:lnTo>
                  <a:lnTo>
                    <a:pt x="39" y="541"/>
                  </a:lnTo>
                  <a:lnTo>
                    <a:pt x="44" y="533"/>
                  </a:lnTo>
                  <a:lnTo>
                    <a:pt x="82" y="463"/>
                  </a:lnTo>
                  <a:lnTo>
                    <a:pt x="84" y="456"/>
                  </a:lnTo>
                  <a:lnTo>
                    <a:pt x="85" y="450"/>
                  </a:lnTo>
                  <a:lnTo>
                    <a:pt x="85" y="436"/>
                  </a:lnTo>
                  <a:lnTo>
                    <a:pt x="86" y="431"/>
                  </a:lnTo>
                  <a:lnTo>
                    <a:pt x="89" y="429"/>
                  </a:lnTo>
                  <a:lnTo>
                    <a:pt x="91" y="427"/>
                  </a:lnTo>
                  <a:lnTo>
                    <a:pt x="94" y="426"/>
                  </a:lnTo>
                  <a:lnTo>
                    <a:pt x="102" y="424"/>
                  </a:lnTo>
                  <a:lnTo>
                    <a:pt x="105" y="423"/>
                  </a:lnTo>
                  <a:lnTo>
                    <a:pt x="107" y="419"/>
                  </a:lnTo>
                  <a:lnTo>
                    <a:pt x="108" y="412"/>
                  </a:lnTo>
                  <a:lnTo>
                    <a:pt x="109" y="409"/>
                  </a:lnTo>
                  <a:lnTo>
                    <a:pt x="112" y="406"/>
                  </a:lnTo>
                  <a:lnTo>
                    <a:pt x="115" y="406"/>
                  </a:lnTo>
                  <a:lnTo>
                    <a:pt x="119" y="405"/>
                  </a:lnTo>
                  <a:lnTo>
                    <a:pt x="123" y="403"/>
                  </a:lnTo>
                  <a:lnTo>
                    <a:pt x="125" y="399"/>
                  </a:lnTo>
                  <a:lnTo>
                    <a:pt x="128" y="394"/>
                  </a:lnTo>
                  <a:lnTo>
                    <a:pt x="129" y="386"/>
                  </a:lnTo>
                  <a:lnTo>
                    <a:pt x="132" y="381"/>
                  </a:lnTo>
                  <a:lnTo>
                    <a:pt x="136" y="379"/>
                  </a:lnTo>
                  <a:lnTo>
                    <a:pt x="146" y="378"/>
                  </a:lnTo>
                  <a:lnTo>
                    <a:pt x="150" y="375"/>
                  </a:lnTo>
                  <a:lnTo>
                    <a:pt x="157" y="365"/>
                  </a:lnTo>
                  <a:lnTo>
                    <a:pt x="164" y="357"/>
                  </a:lnTo>
                  <a:lnTo>
                    <a:pt x="167" y="353"/>
                  </a:lnTo>
                  <a:lnTo>
                    <a:pt x="171" y="349"/>
                  </a:lnTo>
                  <a:lnTo>
                    <a:pt x="177" y="347"/>
                  </a:lnTo>
                  <a:lnTo>
                    <a:pt x="184" y="346"/>
                  </a:lnTo>
                  <a:lnTo>
                    <a:pt x="189" y="344"/>
                  </a:lnTo>
                  <a:lnTo>
                    <a:pt x="194" y="339"/>
                  </a:lnTo>
                  <a:lnTo>
                    <a:pt x="197" y="332"/>
                  </a:lnTo>
                  <a:lnTo>
                    <a:pt x="201" y="309"/>
                  </a:lnTo>
                  <a:lnTo>
                    <a:pt x="203" y="303"/>
                  </a:lnTo>
                  <a:lnTo>
                    <a:pt x="207" y="296"/>
                  </a:lnTo>
                  <a:lnTo>
                    <a:pt x="211" y="290"/>
                  </a:lnTo>
                  <a:lnTo>
                    <a:pt x="216" y="287"/>
                  </a:lnTo>
                  <a:lnTo>
                    <a:pt x="222" y="284"/>
                  </a:lnTo>
                  <a:lnTo>
                    <a:pt x="226" y="277"/>
                  </a:lnTo>
                  <a:lnTo>
                    <a:pt x="225" y="274"/>
                  </a:lnTo>
                  <a:lnTo>
                    <a:pt x="223" y="269"/>
                  </a:lnTo>
                  <a:lnTo>
                    <a:pt x="223" y="262"/>
                  </a:lnTo>
                  <a:lnTo>
                    <a:pt x="234" y="233"/>
                  </a:lnTo>
                  <a:lnTo>
                    <a:pt x="237" y="211"/>
                  </a:lnTo>
                  <a:lnTo>
                    <a:pt x="233" y="202"/>
                  </a:lnTo>
                  <a:lnTo>
                    <a:pt x="224" y="196"/>
                  </a:lnTo>
                  <a:lnTo>
                    <a:pt x="213" y="196"/>
                  </a:lnTo>
                  <a:lnTo>
                    <a:pt x="189" y="198"/>
                  </a:lnTo>
                  <a:lnTo>
                    <a:pt x="168" y="205"/>
                  </a:lnTo>
                  <a:lnTo>
                    <a:pt x="181" y="178"/>
                  </a:lnTo>
                  <a:lnTo>
                    <a:pt x="190" y="131"/>
                  </a:lnTo>
                  <a:lnTo>
                    <a:pt x="195" y="119"/>
                  </a:lnTo>
                  <a:lnTo>
                    <a:pt x="202" y="112"/>
                  </a:lnTo>
                  <a:lnTo>
                    <a:pt x="208" y="108"/>
                  </a:lnTo>
                  <a:lnTo>
                    <a:pt x="215" y="106"/>
                  </a:lnTo>
                  <a:lnTo>
                    <a:pt x="222" y="102"/>
                  </a:lnTo>
                  <a:lnTo>
                    <a:pt x="224" y="99"/>
                  </a:lnTo>
                  <a:lnTo>
                    <a:pt x="232" y="75"/>
                  </a:lnTo>
                  <a:lnTo>
                    <a:pt x="247" y="44"/>
                  </a:lnTo>
                  <a:lnTo>
                    <a:pt x="252" y="30"/>
                  </a:lnTo>
                  <a:lnTo>
                    <a:pt x="261" y="0"/>
                  </a:lnTo>
                  <a:lnTo>
                    <a:pt x="281" y="0"/>
                  </a:lnTo>
                  <a:lnTo>
                    <a:pt x="296" y="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267B079F-AD54-12CB-F004-97A704F21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091" y="4941083"/>
              <a:ext cx="1391470" cy="1423830"/>
            </a:xfrm>
            <a:custGeom>
              <a:avLst/>
              <a:gdLst>
                <a:gd name="T0" fmla="*/ 808 w 946"/>
                <a:gd name="T1" fmla="*/ 19 h 968"/>
                <a:gd name="T2" fmla="*/ 818 w 946"/>
                <a:gd name="T3" fmla="*/ 73 h 968"/>
                <a:gd name="T4" fmla="*/ 884 w 946"/>
                <a:gd name="T5" fmla="*/ 78 h 968"/>
                <a:gd name="T6" fmla="*/ 926 w 946"/>
                <a:gd name="T7" fmla="*/ 141 h 968"/>
                <a:gd name="T8" fmla="*/ 932 w 946"/>
                <a:gd name="T9" fmla="*/ 223 h 968"/>
                <a:gd name="T10" fmla="*/ 915 w 946"/>
                <a:gd name="T11" fmla="*/ 252 h 968"/>
                <a:gd name="T12" fmla="*/ 894 w 946"/>
                <a:gd name="T13" fmla="*/ 260 h 968"/>
                <a:gd name="T14" fmla="*/ 886 w 946"/>
                <a:gd name="T15" fmla="*/ 276 h 968"/>
                <a:gd name="T16" fmla="*/ 923 w 946"/>
                <a:gd name="T17" fmla="*/ 341 h 968"/>
                <a:gd name="T18" fmla="*/ 930 w 946"/>
                <a:gd name="T19" fmla="*/ 387 h 968"/>
                <a:gd name="T20" fmla="*/ 923 w 946"/>
                <a:gd name="T21" fmla="*/ 472 h 968"/>
                <a:gd name="T22" fmla="*/ 912 w 946"/>
                <a:gd name="T23" fmla="*/ 549 h 968"/>
                <a:gd name="T24" fmla="*/ 927 w 946"/>
                <a:gd name="T25" fmla="*/ 561 h 968"/>
                <a:gd name="T26" fmla="*/ 944 w 946"/>
                <a:gd name="T27" fmla="*/ 584 h 968"/>
                <a:gd name="T28" fmla="*/ 941 w 946"/>
                <a:gd name="T29" fmla="*/ 665 h 968"/>
                <a:gd name="T30" fmla="*/ 936 w 946"/>
                <a:gd name="T31" fmla="*/ 730 h 968"/>
                <a:gd name="T32" fmla="*/ 905 w 946"/>
                <a:gd name="T33" fmla="*/ 770 h 968"/>
                <a:gd name="T34" fmla="*/ 880 w 946"/>
                <a:gd name="T35" fmla="*/ 784 h 968"/>
                <a:gd name="T36" fmla="*/ 852 w 946"/>
                <a:gd name="T37" fmla="*/ 776 h 968"/>
                <a:gd name="T38" fmla="*/ 819 w 946"/>
                <a:gd name="T39" fmla="*/ 775 h 968"/>
                <a:gd name="T40" fmla="*/ 797 w 946"/>
                <a:gd name="T41" fmla="*/ 822 h 968"/>
                <a:gd name="T42" fmla="*/ 771 w 946"/>
                <a:gd name="T43" fmla="*/ 889 h 968"/>
                <a:gd name="T44" fmla="*/ 705 w 946"/>
                <a:gd name="T45" fmla="*/ 967 h 968"/>
                <a:gd name="T46" fmla="*/ 677 w 946"/>
                <a:gd name="T47" fmla="*/ 824 h 968"/>
                <a:gd name="T48" fmla="*/ 640 w 946"/>
                <a:gd name="T49" fmla="*/ 797 h 968"/>
                <a:gd name="T50" fmla="*/ 549 w 946"/>
                <a:gd name="T51" fmla="*/ 749 h 968"/>
                <a:gd name="T52" fmla="*/ 425 w 946"/>
                <a:gd name="T53" fmla="*/ 734 h 968"/>
                <a:gd name="T54" fmla="*/ 339 w 946"/>
                <a:gd name="T55" fmla="*/ 702 h 968"/>
                <a:gd name="T56" fmla="*/ 266 w 946"/>
                <a:gd name="T57" fmla="*/ 652 h 968"/>
                <a:gd name="T58" fmla="*/ 214 w 946"/>
                <a:gd name="T59" fmla="*/ 648 h 968"/>
                <a:gd name="T60" fmla="*/ 184 w 946"/>
                <a:gd name="T61" fmla="*/ 699 h 968"/>
                <a:gd name="T62" fmla="*/ 83 w 946"/>
                <a:gd name="T63" fmla="*/ 771 h 968"/>
                <a:gd name="T64" fmla="*/ 15 w 946"/>
                <a:gd name="T65" fmla="*/ 728 h 968"/>
                <a:gd name="T66" fmla="*/ 53 w 946"/>
                <a:gd name="T67" fmla="*/ 597 h 968"/>
                <a:gd name="T68" fmla="*/ 18 w 946"/>
                <a:gd name="T69" fmla="*/ 539 h 968"/>
                <a:gd name="T70" fmla="*/ 2 w 946"/>
                <a:gd name="T71" fmla="*/ 494 h 968"/>
                <a:gd name="T72" fmla="*/ 44 w 946"/>
                <a:gd name="T73" fmla="*/ 440 h 968"/>
                <a:gd name="T74" fmla="*/ 126 w 946"/>
                <a:gd name="T75" fmla="*/ 461 h 968"/>
                <a:gd name="T76" fmla="*/ 223 w 946"/>
                <a:gd name="T77" fmla="*/ 389 h 968"/>
                <a:gd name="T78" fmla="*/ 335 w 946"/>
                <a:gd name="T79" fmla="*/ 358 h 968"/>
                <a:gd name="T80" fmla="*/ 449 w 946"/>
                <a:gd name="T81" fmla="*/ 335 h 968"/>
                <a:gd name="T82" fmla="*/ 541 w 946"/>
                <a:gd name="T83" fmla="*/ 330 h 968"/>
                <a:gd name="T84" fmla="*/ 602 w 946"/>
                <a:gd name="T85" fmla="*/ 285 h 968"/>
                <a:gd name="T86" fmla="*/ 631 w 946"/>
                <a:gd name="T87" fmla="*/ 310 h 968"/>
                <a:gd name="T88" fmla="*/ 694 w 946"/>
                <a:gd name="T89" fmla="*/ 317 h 968"/>
                <a:gd name="T90" fmla="*/ 741 w 946"/>
                <a:gd name="T91" fmla="*/ 306 h 968"/>
                <a:gd name="T92" fmla="*/ 744 w 946"/>
                <a:gd name="T93" fmla="*/ 264 h 968"/>
                <a:gd name="T94" fmla="*/ 767 w 946"/>
                <a:gd name="T95" fmla="*/ 228 h 968"/>
                <a:gd name="T96" fmla="*/ 755 w 946"/>
                <a:gd name="T97" fmla="*/ 193 h 968"/>
                <a:gd name="T98" fmla="*/ 721 w 946"/>
                <a:gd name="T99" fmla="*/ 177 h 968"/>
                <a:gd name="T100" fmla="*/ 692 w 946"/>
                <a:gd name="T101" fmla="*/ 206 h 968"/>
                <a:gd name="T102" fmla="*/ 697 w 946"/>
                <a:gd name="T103" fmla="*/ 147 h 968"/>
                <a:gd name="T104" fmla="*/ 730 w 946"/>
                <a:gd name="T105" fmla="*/ 85 h 968"/>
                <a:gd name="T106" fmla="*/ 720 w 946"/>
                <a:gd name="T107" fmla="*/ 69 h 968"/>
                <a:gd name="T108" fmla="*/ 704 w 946"/>
                <a:gd name="T109" fmla="*/ 36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6" h="968">
                  <a:moveTo>
                    <a:pt x="766" y="10"/>
                  </a:moveTo>
                  <a:lnTo>
                    <a:pt x="784" y="8"/>
                  </a:lnTo>
                  <a:lnTo>
                    <a:pt x="793" y="8"/>
                  </a:lnTo>
                  <a:lnTo>
                    <a:pt x="801" y="13"/>
                  </a:lnTo>
                  <a:lnTo>
                    <a:pt x="808" y="19"/>
                  </a:lnTo>
                  <a:lnTo>
                    <a:pt x="812" y="30"/>
                  </a:lnTo>
                  <a:lnTo>
                    <a:pt x="813" y="37"/>
                  </a:lnTo>
                  <a:lnTo>
                    <a:pt x="812" y="50"/>
                  </a:lnTo>
                  <a:lnTo>
                    <a:pt x="813" y="65"/>
                  </a:lnTo>
                  <a:lnTo>
                    <a:pt x="818" y="73"/>
                  </a:lnTo>
                  <a:lnTo>
                    <a:pt x="825" y="82"/>
                  </a:lnTo>
                  <a:lnTo>
                    <a:pt x="842" y="89"/>
                  </a:lnTo>
                  <a:lnTo>
                    <a:pt x="855" y="89"/>
                  </a:lnTo>
                  <a:lnTo>
                    <a:pt x="865" y="88"/>
                  </a:lnTo>
                  <a:lnTo>
                    <a:pt x="884" y="78"/>
                  </a:lnTo>
                  <a:lnTo>
                    <a:pt x="890" y="77"/>
                  </a:lnTo>
                  <a:lnTo>
                    <a:pt x="894" y="81"/>
                  </a:lnTo>
                  <a:lnTo>
                    <a:pt x="899" y="94"/>
                  </a:lnTo>
                  <a:lnTo>
                    <a:pt x="906" y="108"/>
                  </a:lnTo>
                  <a:lnTo>
                    <a:pt x="926" y="141"/>
                  </a:lnTo>
                  <a:lnTo>
                    <a:pt x="931" y="154"/>
                  </a:lnTo>
                  <a:lnTo>
                    <a:pt x="931" y="169"/>
                  </a:lnTo>
                  <a:lnTo>
                    <a:pt x="933" y="189"/>
                  </a:lnTo>
                  <a:lnTo>
                    <a:pt x="945" y="207"/>
                  </a:lnTo>
                  <a:lnTo>
                    <a:pt x="932" y="223"/>
                  </a:lnTo>
                  <a:lnTo>
                    <a:pt x="927" y="225"/>
                  </a:lnTo>
                  <a:lnTo>
                    <a:pt x="917" y="234"/>
                  </a:lnTo>
                  <a:lnTo>
                    <a:pt x="915" y="238"/>
                  </a:lnTo>
                  <a:lnTo>
                    <a:pt x="915" y="248"/>
                  </a:lnTo>
                  <a:lnTo>
                    <a:pt x="915" y="252"/>
                  </a:lnTo>
                  <a:lnTo>
                    <a:pt x="912" y="257"/>
                  </a:lnTo>
                  <a:lnTo>
                    <a:pt x="909" y="259"/>
                  </a:lnTo>
                  <a:lnTo>
                    <a:pt x="905" y="260"/>
                  </a:lnTo>
                  <a:lnTo>
                    <a:pt x="898" y="261"/>
                  </a:lnTo>
                  <a:lnTo>
                    <a:pt x="894" y="260"/>
                  </a:lnTo>
                  <a:lnTo>
                    <a:pt x="890" y="261"/>
                  </a:lnTo>
                  <a:lnTo>
                    <a:pt x="887" y="262"/>
                  </a:lnTo>
                  <a:lnTo>
                    <a:pt x="885" y="265"/>
                  </a:lnTo>
                  <a:lnTo>
                    <a:pt x="884" y="271"/>
                  </a:lnTo>
                  <a:lnTo>
                    <a:pt x="886" y="276"/>
                  </a:lnTo>
                  <a:lnTo>
                    <a:pt x="887" y="282"/>
                  </a:lnTo>
                  <a:lnTo>
                    <a:pt x="893" y="293"/>
                  </a:lnTo>
                  <a:lnTo>
                    <a:pt x="903" y="316"/>
                  </a:lnTo>
                  <a:lnTo>
                    <a:pt x="910" y="326"/>
                  </a:lnTo>
                  <a:lnTo>
                    <a:pt x="923" y="341"/>
                  </a:lnTo>
                  <a:lnTo>
                    <a:pt x="930" y="355"/>
                  </a:lnTo>
                  <a:lnTo>
                    <a:pt x="932" y="362"/>
                  </a:lnTo>
                  <a:lnTo>
                    <a:pt x="933" y="373"/>
                  </a:lnTo>
                  <a:lnTo>
                    <a:pt x="933" y="379"/>
                  </a:lnTo>
                  <a:lnTo>
                    <a:pt x="930" y="387"/>
                  </a:lnTo>
                  <a:lnTo>
                    <a:pt x="925" y="401"/>
                  </a:lnTo>
                  <a:lnTo>
                    <a:pt x="920" y="416"/>
                  </a:lnTo>
                  <a:lnTo>
                    <a:pt x="918" y="436"/>
                  </a:lnTo>
                  <a:lnTo>
                    <a:pt x="919" y="452"/>
                  </a:lnTo>
                  <a:lnTo>
                    <a:pt x="923" y="472"/>
                  </a:lnTo>
                  <a:lnTo>
                    <a:pt x="922" y="482"/>
                  </a:lnTo>
                  <a:lnTo>
                    <a:pt x="912" y="520"/>
                  </a:lnTo>
                  <a:lnTo>
                    <a:pt x="911" y="534"/>
                  </a:lnTo>
                  <a:lnTo>
                    <a:pt x="910" y="544"/>
                  </a:lnTo>
                  <a:lnTo>
                    <a:pt x="912" y="549"/>
                  </a:lnTo>
                  <a:lnTo>
                    <a:pt x="914" y="552"/>
                  </a:lnTo>
                  <a:lnTo>
                    <a:pt x="915" y="555"/>
                  </a:lnTo>
                  <a:lnTo>
                    <a:pt x="917" y="557"/>
                  </a:lnTo>
                  <a:lnTo>
                    <a:pt x="920" y="558"/>
                  </a:lnTo>
                  <a:lnTo>
                    <a:pt x="927" y="561"/>
                  </a:lnTo>
                  <a:lnTo>
                    <a:pt x="930" y="563"/>
                  </a:lnTo>
                  <a:lnTo>
                    <a:pt x="933" y="566"/>
                  </a:lnTo>
                  <a:lnTo>
                    <a:pt x="936" y="570"/>
                  </a:lnTo>
                  <a:lnTo>
                    <a:pt x="942" y="578"/>
                  </a:lnTo>
                  <a:lnTo>
                    <a:pt x="944" y="584"/>
                  </a:lnTo>
                  <a:lnTo>
                    <a:pt x="945" y="589"/>
                  </a:lnTo>
                  <a:lnTo>
                    <a:pt x="945" y="601"/>
                  </a:lnTo>
                  <a:lnTo>
                    <a:pt x="944" y="610"/>
                  </a:lnTo>
                  <a:lnTo>
                    <a:pt x="946" y="627"/>
                  </a:lnTo>
                  <a:lnTo>
                    <a:pt x="941" y="665"/>
                  </a:lnTo>
                  <a:lnTo>
                    <a:pt x="942" y="673"/>
                  </a:lnTo>
                  <a:lnTo>
                    <a:pt x="943" y="689"/>
                  </a:lnTo>
                  <a:lnTo>
                    <a:pt x="942" y="703"/>
                  </a:lnTo>
                  <a:lnTo>
                    <a:pt x="938" y="725"/>
                  </a:lnTo>
                  <a:lnTo>
                    <a:pt x="936" y="730"/>
                  </a:lnTo>
                  <a:lnTo>
                    <a:pt x="932" y="734"/>
                  </a:lnTo>
                  <a:lnTo>
                    <a:pt x="925" y="742"/>
                  </a:lnTo>
                  <a:lnTo>
                    <a:pt x="915" y="756"/>
                  </a:lnTo>
                  <a:lnTo>
                    <a:pt x="910" y="766"/>
                  </a:lnTo>
                  <a:lnTo>
                    <a:pt x="905" y="770"/>
                  </a:lnTo>
                  <a:lnTo>
                    <a:pt x="899" y="772"/>
                  </a:lnTo>
                  <a:lnTo>
                    <a:pt x="893" y="773"/>
                  </a:lnTo>
                  <a:lnTo>
                    <a:pt x="888" y="776"/>
                  </a:lnTo>
                  <a:lnTo>
                    <a:pt x="884" y="779"/>
                  </a:lnTo>
                  <a:lnTo>
                    <a:pt x="880" y="784"/>
                  </a:lnTo>
                  <a:lnTo>
                    <a:pt x="876" y="789"/>
                  </a:lnTo>
                  <a:lnTo>
                    <a:pt x="871" y="789"/>
                  </a:lnTo>
                  <a:lnTo>
                    <a:pt x="864" y="783"/>
                  </a:lnTo>
                  <a:lnTo>
                    <a:pt x="858" y="779"/>
                  </a:lnTo>
                  <a:lnTo>
                    <a:pt x="852" y="776"/>
                  </a:lnTo>
                  <a:lnTo>
                    <a:pt x="844" y="775"/>
                  </a:lnTo>
                  <a:lnTo>
                    <a:pt x="835" y="771"/>
                  </a:lnTo>
                  <a:lnTo>
                    <a:pt x="828" y="770"/>
                  </a:lnTo>
                  <a:lnTo>
                    <a:pt x="823" y="770"/>
                  </a:lnTo>
                  <a:lnTo>
                    <a:pt x="819" y="775"/>
                  </a:lnTo>
                  <a:lnTo>
                    <a:pt x="814" y="782"/>
                  </a:lnTo>
                  <a:lnTo>
                    <a:pt x="811" y="788"/>
                  </a:lnTo>
                  <a:lnTo>
                    <a:pt x="800" y="795"/>
                  </a:lnTo>
                  <a:lnTo>
                    <a:pt x="797" y="816"/>
                  </a:lnTo>
                  <a:lnTo>
                    <a:pt x="797" y="822"/>
                  </a:lnTo>
                  <a:lnTo>
                    <a:pt x="800" y="835"/>
                  </a:lnTo>
                  <a:lnTo>
                    <a:pt x="799" y="842"/>
                  </a:lnTo>
                  <a:lnTo>
                    <a:pt x="796" y="851"/>
                  </a:lnTo>
                  <a:lnTo>
                    <a:pt x="792" y="859"/>
                  </a:lnTo>
                  <a:lnTo>
                    <a:pt x="771" y="889"/>
                  </a:lnTo>
                  <a:lnTo>
                    <a:pt x="762" y="898"/>
                  </a:lnTo>
                  <a:lnTo>
                    <a:pt x="740" y="934"/>
                  </a:lnTo>
                  <a:lnTo>
                    <a:pt x="711" y="965"/>
                  </a:lnTo>
                  <a:lnTo>
                    <a:pt x="705" y="968"/>
                  </a:lnTo>
                  <a:lnTo>
                    <a:pt x="705" y="967"/>
                  </a:lnTo>
                  <a:lnTo>
                    <a:pt x="688" y="934"/>
                  </a:lnTo>
                  <a:lnTo>
                    <a:pt x="680" y="895"/>
                  </a:lnTo>
                  <a:lnTo>
                    <a:pt x="660" y="866"/>
                  </a:lnTo>
                  <a:lnTo>
                    <a:pt x="660" y="851"/>
                  </a:lnTo>
                  <a:lnTo>
                    <a:pt x="677" y="824"/>
                  </a:lnTo>
                  <a:lnTo>
                    <a:pt x="678" y="814"/>
                  </a:lnTo>
                  <a:lnTo>
                    <a:pt x="675" y="808"/>
                  </a:lnTo>
                  <a:lnTo>
                    <a:pt x="660" y="799"/>
                  </a:lnTo>
                  <a:lnTo>
                    <a:pt x="644" y="799"/>
                  </a:lnTo>
                  <a:lnTo>
                    <a:pt x="640" y="797"/>
                  </a:lnTo>
                  <a:lnTo>
                    <a:pt x="631" y="791"/>
                  </a:lnTo>
                  <a:lnTo>
                    <a:pt x="626" y="789"/>
                  </a:lnTo>
                  <a:lnTo>
                    <a:pt x="592" y="755"/>
                  </a:lnTo>
                  <a:lnTo>
                    <a:pt x="573" y="745"/>
                  </a:lnTo>
                  <a:lnTo>
                    <a:pt x="549" y="749"/>
                  </a:lnTo>
                  <a:lnTo>
                    <a:pt x="526" y="763"/>
                  </a:lnTo>
                  <a:lnTo>
                    <a:pt x="481" y="777"/>
                  </a:lnTo>
                  <a:lnTo>
                    <a:pt x="456" y="772"/>
                  </a:lnTo>
                  <a:lnTo>
                    <a:pt x="439" y="755"/>
                  </a:lnTo>
                  <a:lnTo>
                    <a:pt x="425" y="734"/>
                  </a:lnTo>
                  <a:lnTo>
                    <a:pt x="408" y="718"/>
                  </a:lnTo>
                  <a:lnTo>
                    <a:pt x="391" y="714"/>
                  </a:lnTo>
                  <a:lnTo>
                    <a:pt x="373" y="714"/>
                  </a:lnTo>
                  <a:lnTo>
                    <a:pt x="356" y="712"/>
                  </a:lnTo>
                  <a:lnTo>
                    <a:pt x="339" y="702"/>
                  </a:lnTo>
                  <a:lnTo>
                    <a:pt x="325" y="692"/>
                  </a:lnTo>
                  <a:lnTo>
                    <a:pt x="303" y="668"/>
                  </a:lnTo>
                  <a:lnTo>
                    <a:pt x="291" y="659"/>
                  </a:lnTo>
                  <a:lnTo>
                    <a:pt x="279" y="654"/>
                  </a:lnTo>
                  <a:lnTo>
                    <a:pt x="266" y="652"/>
                  </a:lnTo>
                  <a:lnTo>
                    <a:pt x="254" y="648"/>
                  </a:lnTo>
                  <a:lnTo>
                    <a:pt x="250" y="641"/>
                  </a:lnTo>
                  <a:lnTo>
                    <a:pt x="249" y="641"/>
                  </a:lnTo>
                  <a:lnTo>
                    <a:pt x="222" y="646"/>
                  </a:lnTo>
                  <a:lnTo>
                    <a:pt x="214" y="648"/>
                  </a:lnTo>
                  <a:lnTo>
                    <a:pt x="206" y="651"/>
                  </a:lnTo>
                  <a:lnTo>
                    <a:pt x="201" y="655"/>
                  </a:lnTo>
                  <a:lnTo>
                    <a:pt x="196" y="665"/>
                  </a:lnTo>
                  <a:lnTo>
                    <a:pt x="189" y="689"/>
                  </a:lnTo>
                  <a:lnTo>
                    <a:pt x="184" y="699"/>
                  </a:lnTo>
                  <a:lnTo>
                    <a:pt x="173" y="711"/>
                  </a:lnTo>
                  <a:lnTo>
                    <a:pt x="122" y="750"/>
                  </a:lnTo>
                  <a:lnTo>
                    <a:pt x="94" y="765"/>
                  </a:lnTo>
                  <a:lnTo>
                    <a:pt x="88" y="770"/>
                  </a:lnTo>
                  <a:lnTo>
                    <a:pt x="83" y="771"/>
                  </a:lnTo>
                  <a:lnTo>
                    <a:pt x="71" y="771"/>
                  </a:lnTo>
                  <a:lnTo>
                    <a:pt x="59" y="767"/>
                  </a:lnTo>
                  <a:lnTo>
                    <a:pt x="30" y="751"/>
                  </a:lnTo>
                  <a:lnTo>
                    <a:pt x="20" y="742"/>
                  </a:lnTo>
                  <a:lnTo>
                    <a:pt x="15" y="728"/>
                  </a:lnTo>
                  <a:lnTo>
                    <a:pt x="17" y="717"/>
                  </a:lnTo>
                  <a:lnTo>
                    <a:pt x="106" y="599"/>
                  </a:lnTo>
                  <a:lnTo>
                    <a:pt x="113" y="584"/>
                  </a:lnTo>
                  <a:lnTo>
                    <a:pt x="82" y="588"/>
                  </a:lnTo>
                  <a:lnTo>
                    <a:pt x="53" y="597"/>
                  </a:lnTo>
                  <a:lnTo>
                    <a:pt x="30" y="594"/>
                  </a:lnTo>
                  <a:lnTo>
                    <a:pt x="16" y="564"/>
                  </a:lnTo>
                  <a:lnTo>
                    <a:pt x="16" y="558"/>
                  </a:lnTo>
                  <a:lnTo>
                    <a:pt x="18" y="545"/>
                  </a:lnTo>
                  <a:lnTo>
                    <a:pt x="18" y="539"/>
                  </a:lnTo>
                  <a:lnTo>
                    <a:pt x="15" y="531"/>
                  </a:lnTo>
                  <a:lnTo>
                    <a:pt x="4" y="516"/>
                  </a:lnTo>
                  <a:lnTo>
                    <a:pt x="0" y="507"/>
                  </a:lnTo>
                  <a:lnTo>
                    <a:pt x="2" y="495"/>
                  </a:lnTo>
                  <a:lnTo>
                    <a:pt x="2" y="494"/>
                  </a:lnTo>
                  <a:lnTo>
                    <a:pt x="7" y="477"/>
                  </a:lnTo>
                  <a:lnTo>
                    <a:pt x="15" y="460"/>
                  </a:lnTo>
                  <a:lnTo>
                    <a:pt x="22" y="451"/>
                  </a:lnTo>
                  <a:lnTo>
                    <a:pt x="32" y="443"/>
                  </a:lnTo>
                  <a:lnTo>
                    <a:pt x="44" y="440"/>
                  </a:lnTo>
                  <a:lnTo>
                    <a:pt x="58" y="439"/>
                  </a:lnTo>
                  <a:lnTo>
                    <a:pt x="72" y="439"/>
                  </a:lnTo>
                  <a:lnTo>
                    <a:pt x="85" y="443"/>
                  </a:lnTo>
                  <a:lnTo>
                    <a:pt x="113" y="458"/>
                  </a:lnTo>
                  <a:lnTo>
                    <a:pt x="126" y="461"/>
                  </a:lnTo>
                  <a:lnTo>
                    <a:pt x="140" y="454"/>
                  </a:lnTo>
                  <a:lnTo>
                    <a:pt x="151" y="441"/>
                  </a:lnTo>
                  <a:lnTo>
                    <a:pt x="161" y="425"/>
                  </a:lnTo>
                  <a:lnTo>
                    <a:pt x="171" y="413"/>
                  </a:lnTo>
                  <a:lnTo>
                    <a:pt x="223" y="389"/>
                  </a:lnTo>
                  <a:lnTo>
                    <a:pt x="234" y="377"/>
                  </a:lnTo>
                  <a:lnTo>
                    <a:pt x="234" y="370"/>
                  </a:lnTo>
                  <a:lnTo>
                    <a:pt x="243" y="370"/>
                  </a:lnTo>
                  <a:lnTo>
                    <a:pt x="293" y="367"/>
                  </a:lnTo>
                  <a:lnTo>
                    <a:pt x="335" y="358"/>
                  </a:lnTo>
                  <a:lnTo>
                    <a:pt x="374" y="339"/>
                  </a:lnTo>
                  <a:lnTo>
                    <a:pt x="387" y="337"/>
                  </a:lnTo>
                  <a:lnTo>
                    <a:pt x="426" y="332"/>
                  </a:lnTo>
                  <a:lnTo>
                    <a:pt x="438" y="332"/>
                  </a:lnTo>
                  <a:lnTo>
                    <a:pt x="449" y="335"/>
                  </a:lnTo>
                  <a:lnTo>
                    <a:pt x="462" y="340"/>
                  </a:lnTo>
                  <a:lnTo>
                    <a:pt x="474" y="341"/>
                  </a:lnTo>
                  <a:lnTo>
                    <a:pt x="517" y="339"/>
                  </a:lnTo>
                  <a:lnTo>
                    <a:pt x="532" y="336"/>
                  </a:lnTo>
                  <a:lnTo>
                    <a:pt x="541" y="330"/>
                  </a:lnTo>
                  <a:lnTo>
                    <a:pt x="559" y="311"/>
                  </a:lnTo>
                  <a:lnTo>
                    <a:pt x="565" y="304"/>
                  </a:lnTo>
                  <a:lnTo>
                    <a:pt x="586" y="293"/>
                  </a:lnTo>
                  <a:lnTo>
                    <a:pt x="595" y="289"/>
                  </a:lnTo>
                  <a:lnTo>
                    <a:pt x="602" y="285"/>
                  </a:lnTo>
                  <a:lnTo>
                    <a:pt x="607" y="285"/>
                  </a:lnTo>
                  <a:lnTo>
                    <a:pt x="612" y="286"/>
                  </a:lnTo>
                  <a:lnTo>
                    <a:pt x="616" y="295"/>
                  </a:lnTo>
                  <a:lnTo>
                    <a:pt x="620" y="300"/>
                  </a:lnTo>
                  <a:lnTo>
                    <a:pt x="631" y="310"/>
                  </a:lnTo>
                  <a:lnTo>
                    <a:pt x="639" y="313"/>
                  </a:lnTo>
                  <a:lnTo>
                    <a:pt x="650" y="314"/>
                  </a:lnTo>
                  <a:lnTo>
                    <a:pt x="673" y="311"/>
                  </a:lnTo>
                  <a:lnTo>
                    <a:pt x="682" y="313"/>
                  </a:lnTo>
                  <a:lnTo>
                    <a:pt x="694" y="317"/>
                  </a:lnTo>
                  <a:lnTo>
                    <a:pt x="703" y="319"/>
                  </a:lnTo>
                  <a:lnTo>
                    <a:pt x="715" y="321"/>
                  </a:lnTo>
                  <a:lnTo>
                    <a:pt x="727" y="317"/>
                  </a:lnTo>
                  <a:lnTo>
                    <a:pt x="735" y="312"/>
                  </a:lnTo>
                  <a:lnTo>
                    <a:pt x="741" y="306"/>
                  </a:lnTo>
                  <a:lnTo>
                    <a:pt x="746" y="300"/>
                  </a:lnTo>
                  <a:lnTo>
                    <a:pt x="748" y="293"/>
                  </a:lnTo>
                  <a:lnTo>
                    <a:pt x="748" y="287"/>
                  </a:lnTo>
                  <a:lnTo>
                    <a:pt x="744" y="269"/>
                  </a:lnTo>
                  <a:lnTo>
                    <a:pt x="744" y="264"/>
                  </a:lnTo>
                  <a:lnTo>
                    <a:pt x="747" y="260"/>
                  </a:lnTo>
                  <a:lnTo>
                    <a:pt x="758" y="250"/>
                  </a:lnTo>
                  <a:lnTo>
                    <a:pt x="761" y="246"/>
                  </a:lnTo>
                  <a:lnTo>
                    <a:pt x="764" y="239"/>
                  </a:lnTo>
                  <a:lnTo>
                    <a:pt x="767" y="228"/>
                  </a:lnTo>
                  <a:lnTo>
                    <a:pt x="769" y="219"/>
                  </a:lnTo>
                  <a:lnTo>
                    <a:pt x="767" y="209"/>
                  </a:lnTo>
                  <a:lnTo>
                    <a:pt x="764" y="201"/>
                  </a:lnTo>
                  <a:lnTo>
                    <a:pt x="759" y="196"/>
                  </a:lnTo>
                  <a:lnTo>
                    <a:pt x="755" y="193"/>
                  </a:lnTo>
                  <a:lnTo>
                    <a:pt x="747" y="187"/>
                  </a:lnTo>
                  <a:lnTo>
                    <a:pt x="740" y="181"/>
                  </a:lnTo>
                  <a:lnTo>
                    <a:pt x="734" y="177"/>
                  </a:lnTo>
                  <a:lnTo>
                    <a:pt x="728" y="175"/>
                  </a:lnTo>
                  <a:lnTo>
                    <a:pt x="721" y="177"/>
                  </a:lnTo>
                  <a:lnTo>
                    <a:pt x="717" y="182"/>
                  </a:lnTo>
                  <a:lnTo>
                    <a:pt x="709" y="192"/>
                  </a:lnTo>
                  <a:lnTo>
                    <a:pt x="701" y="200"/>
                  </a:lnTo>
                  <a:lnTo>
                    <a:pt x="696" y="205"/>
                  </a:lnTo>
                  <a:lnTo>
                    <a:pt x="692" y="206"/>
                  </a:lnTo>
                  <a:lnTo>
                    <a:pt x="689" y="201"/>
                  </a:lnTo>
                  <a:lnTo>
                    <a:pt x="688" y="195"/>
                  </a:lnTo>
                  <a:lnTo>
                    <a:pt x="689" y="186"/>
                  </a:lnTo>
                  <a:lnTo>
                    <a:pt x="698" y="156"/>
                  </a:lnTo>
                  <a:lnTo>
                    <a:pt x="697" y="147"/>
                  </a:lnTo>
                  <a:lnTo>
                    <a:pt x="698" y="131"/>
                  </a:lnTo>
                  <a:lnTo>
                    <a:pt x="701" y="123"/>
                  </a:lnTo>
                  <a:lnTo>
                    <a:pt x="705" y="116"/>
                  </a:lnTo>
                  <a:lnTo>
                    <a:pt x="728" y="90"/>
                  </a:lnTo>
                  <a:lnTo>
                    <a:pt x="730" y="85"/>
                  </a:lnTo>
                  <a:lnTo>
                    <a:pt x="731" y="81"/>
                  </a:lnTo>
                  <a:lnTo>
                    <a:pt x="731" y="78"/>
                  </a:lnTo>
                  <a:lnTo>
                    <a:pt x="728" y="73"/>
                  </a:lnTo>
                  <a:lnTo>
                    <a:pt x="724" y="70"/>
                  </a:lnTo>
                  <a:lnTo>
                    <a:pt x="720" y="69"/>
                  </a:lnTo>
                  <a:lnTo>
                    <a:pt x="715" y="68"/>
                  </a:lnTo>
                  <a:lnTo>
                    <a:pt x="711" y="65"/>
                  </a:lnTo>
                  <a:lnTo>
                    <a:pt x="708" y="58"/>
                  </a:lnTo>
                  <a:lnTo>
                    <a:pt x="705" y="47"/>
                  </a:lnTo>
                  <a:lnTo>
                    <a:pt x="704" y="36"/>
                  </a:lnTo>
                  <a:lnTo>
                    <a:pt x="707" y="0"/>
                  </a:lnTo>
                  <a:lnTo>
                    <a:pt x="724" y="6"/>
                  </a:lnTo>
                  <a:lnTo>
                    <a:pt x="743" y="10"/>
                  </a:lnTo>
                  <a:lnTo>
                    <a:pt x="766" y="10"/>
                  </a:lnTo>
                  <a:close/>
                </a:path>
              </a:pathLst>
            </a:custGeom>
            <a:solidFill>
              <a:srgbClr val="004B8E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58105229-CA02-2BEC-D932-23A58FF31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9815" y="803446"/>
              <a:ext cx="1179660" cy="726624"/>
            </a:xfrm>
            <a:custGeom>
              <a:avLst/>
              <a:gdLst>
                <a:gd name="T0" fmla="*/ 776 w 802"/>
                <a:gd name="T1" fmla="*/ 388 h 494"/>
                <a:gd name="T2" fmla="*/ 778 w 802"/>
                <a:gd name="T3" fmla="*/ 394 h 494"/>
                <a:gd name="T4" fmla="*/ 781 w 802"/>
                <a:gd name="T5" fmla="*/ 397 h 494"/>
                <a:gd name="T6" fmla="*/ 787 w 802"/>
                <a:gd name="T7" fmla="*/ 399 h 494"/>
                <a:gd name="T8" fmla="*/ 785 w 802"/>
                <a:gd name="T9" fmla="*/ 405 h 494"/>
                <a:gd name="T10" fmla="*/ 762 w 802"/>
                <a:gd name="T11" fmla="*/ 434 h 494"/>
                <a:gd name="T12" fmla="*/ 753 w 802"/>
                <a:gd name="T13" fmla="*/ 442 h 494"/>
                <a:gd name="T14" fmla="*/ 737 w 802"/>
                <a:gd name="T15" fmla="*/ 451 h 494"/>
                <a:gd name="T16" fmla="*/ 625 w 802"/>
                <a:gd name="T17" fmla="*/ 451 h 494"/>
                <a:gd name="T18" fmla="*/ 589 w 802"/>
                <a:gd name="T19" fmla="*/ 476 h 494"/>
                <a:gd name="T20" fmla="*/ 525 w 802"/>
                <a:gd name="T21" fmla="*/ 494 h 494"/>
                <a:gd name="T22" fmla="*/ 484 w 802"/>
                <a:gd name="T23" fmla="*/ 475 h 494"/>
                <a:gd name="T24" fmla="*/ 456 w 802"/>
                <a:gd name="T25" fmla="*/ 456 h 494"/>
                <a:gd name="T26" fmla="*/ 432 w 802"/>
                <a:gd name="T27" fmla="*/ 472 h 494"/>
                <a:gd name="T28" fmla="*/ 436 w 802"/>
                <a:gd name="T29" fmla="*/ 452 h 494"/>
                <a:gd name="T30" fmla="*/ 433 w 802"/>
                <a:gd name="T31" fmla="*/ 431 h 494"/>
                <a:gd name="T32" fmla="*/ 400 w 802"/>
                <a:gd name="T33" fmla="*/ 419 h 494"/>
                <a:gd name="T34" fmla="*/ 320 w 802"/>
                <a:gd name="T35" fmla="*/ 427 h 494"/>
                <a:gd name="T36" fmla="*/ 263 w 802"/>
                <a:gd name="T37" fmla="*/ 438 h 494"/>
                <a:gd name="T38" fmla="*/ 172 w 802"/>
                <a:gd name="T39" fmla="*/ 425 h 494"/>
                <a:gd name="T40" fmla="*/ 73 w 802"/>
                <a:gd name="T41" fmla="*/ 438 h 494"/>
                <a:gd name="T42" fmla="*/ 40 w 802"/>
                <a:gd name="T43" fmla="*/ 442 h 494"/>
                <a:gd name="T44" fmla="*/ 12 w 802"/>
                <a:gd name="T45" fmla="*/ 430 h 494"/>
                <a:gd name="T46" fmla="*/ 16 w 802"/>
                <a:gd name="T47" fmla="*/ 404 h 494"/>
                <a:gd name="T48" fmla="*/ 44 w 802"/>
                <a:gd name="T49" fmla="*/ 363 h 494"/>
                <a:gd name="T50" fmla="*/ 67 w 802"/>
                <a:gd name="T51" fmla="*/ 341 h 494"/>
                <a:gd name="T52" fmla="*/ 69 w 802"/>
                <a:gd name="T53" fmla="*/ 329 h 494"/>
                <a:gd name="T54" fmla="*/ 89 w 802"/>
                <a:gd name="T55" fmla="*/ 309 h 494"/>
                <a:gd name="T56" fmla="*/ 117 w 802"/>
                <a:gd name="T57" fmla="*/ 298 h 494"/>
                <a:gd name="T58" fmla="*/ 169 w 802"/>
                <a:gd name="T59" fmla="*/ 310 h 494"/>
                <a:gd name="T60" fmla="*/ 195 w 802"/>
                <a:gd name="T61" fmla="*/ 314 h 494"/>
                <a:gd name="T62" fmla="*/ 216 w 802"/>
                <a:gd name="T63" fmla="*/ 329 h 494"/>
                <a:gd name="T64" fmla="*/ 231 w 802"/>
                <a:gd name="T65" fmla="*/ 334 h 494"/>
                <a:gd name="T66" fmla="*/ 257 w 802"/>
                <a:gd name="T67" fmla="*/ 311 h 494"/>
                <a:gd name="T68" fmla="*/ 311 w 802"/>
                <a:gd name="T69" fmla="*/ 244 h 494"/>
                <a:gd name="T70" fmla="*/ 345 w 802"/>
                <a:gd name="T71" fmla="*/ 221 h 494"/>
                <a:gd name="T72" fmla="*/ 367 w 802"/>
                <a:gd name="T73" fmla="*/ 222 h 494"/>
                <a:gd name="T74" fmla="*/ 389 w 802"/>
                <a:gd name="T75" fmla="*/ 214 h 494"/>
                <a:gd name="T76" fmla="*/ 393 w 802"/>
                <a:gd name="T77" fmla="*/ 191 h 494"/>
                <a:gd name="T78" fmla="*/ 366 w 802"/>
                <a:gd name="T79" fmla="*/ 152 h 494"/>
                <a:gd name="T80" fmla="*/ 355 w 802"/>
                <a:gd name="T81" fmla="*/ 117 h 494"/>
                <a:gd name="T82" fmla="*/ 335 w 802"/>
                <a:gd name="T83" fmla="*/ 70 h 494"/>
                <a:gd name="T84" fmla="*/ 360 w 802"/>
                <a:gd name="T85" fmla="*/ 65 h 494"/>
                <a:gd name="T86" fmla="*/ 376 w 802"/>
                <a:gd name="T87" fmla="*/ 55 h 494"/>
                <a:gd name="T88" fmla="*/ 380 w 802"/>
                <a:gd name="T89" fmla="*/ 25 h 494"/>
                <a:gd name="T90" fmla="*/ 403 w 802"/>
                <a:gd name="T91" fmla="*/ 9 h 494"/>
                <a:gd name="T92" fmla="*/ 442 w 802"/>
                <a:gd name="T93" fmla="*/ 16 h 494"/>
                <a:gd name="T94" fmla="*/ 504 w 802"/>
                <a:gd name="T95" fmla="*/ 64 h 494"/>
                <a:gd name="T96" fmla="*/ 564 w 802"/>
                <a:gd name="T97" fmla="*/ 147 h 494"/>
                <a:gd name="T98" fmla="*/ 577 w 802"/>
                <a:gd name="T99" fmla="*/ 211 h 494"/>
                <a:gd name="T100" fmla="*/ 589 w 802"/>
                <a:gd name="T101" fmla="*/ 245 h 494"/>
                <a:gd name="T102" fmla="*/ 628 w 802"/>
                <a:gd name="T103" fmla="*/ 260 h 494"/>
                <a:gd name="T104" fmla="*/ 677 w 802"/>
                <a:gd name="T105" fmla="*/ 270 h 494"/>
                <a:gd name="T106" fmla="*/ 766 w 802"/>
                <a:gd name="T107" fmla="*/ 323 h 494"/>
                <a:gd name="T108" fmla="*/ 802 w 802"/>
                <a:gd name="T109" fmla="*/ 35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2" h="494">
                  <a:moveTo>
                    <a:pt x="802" y="352"/>
                  </a:moveTo>
                  <a:lnTo>
                    <a:pt x="780" y="379"/>
                  </a:lnTo>
                  <a:lnTo>
                    <a:pt x="776" y="388"/>
                  </a:lnTo>
                  <a:lnTo>
                    <a:pt x="776" y="392"/>
                  </a:lnTo>
                  <a:lnTo>
                    <a:pt x="777" y="393"/>
                  </a:lnTo>
                  <a:lnTo>
                    <a:pt x="778" y="394"/>
                  </a:lnTo>
                  <a:lnTo>
                    <a:pt x="779" y="395"/>
                  </a:lnTo>
                  <a:lnTo>
                    <a:pt x="780" y="397"/>
                  </a:lnTo>
                  <a:lnTo>
                    <a:pt x="781" y="397"/>
                  </a:lnTo>
                  <a:lnTo>
                    <a:pt x="783" y="397"/>
                  </a:lnTo>
                  <a:lnTo>
                    <a:pt x="784" y="398"/>
                  </a:lnTo>
                  <a:lnTo>
                    <a:pt x="787" y="399"/>
                  </a:lnTo>
                  <a:lnTo>
                    <a:pt x="788" y="401"/>
                  </a:lnTo>
                  <a:lnTo>
                    <a:pt x="788" y="403"/>
                  </a:lnTo>
                  <a:lnTo>
                    <a:pt x="785" y="405"/>
                  </a:lnTo>
                  <a:lnTo>
                    <a:pt x="782" y="407"/>
                  </a:lnTo>
                  <a:lnTo>
                    <a:pt x="775" y="417"/>
                  </a:lnTo>
                  <a:lnTo>
                    <a:pt x="762" y="434"/>
                  </a:lnTo>
                  <a:lnTo>
                    <a:pt x="758" y="439"/>
                  </a:lnTo>
                  <a:lnTo>
                    <a:pt x="756" y="440"/>
                  </a:lnTo>
                  <a:lnTo>
                    <a:pt x="753" y="442"/>
                  </a:lnTo>
                  <a:lnTo>
                    <a:pt x="750" y="443"/>
                  </a:lnTo>
                  <a:lnTo>
                    <a:pt x="746" y="444"/>
                  </a:lnTo>
                  <a:lnTo>
                    <a:pt x="737" y="451"/>
                  </a:lnTo>
                  <a:lnTo>
                    <a:pt x="714" y="476"/>
                  </a:lnTo>
                  <a:lnTo>
                    <a:pt x="637" y="452"/>
                  </a:lnTo>
                  <a:lnTo>
                    <a:pt x="625" y="451"/>
                  </a:lnTo>
                  <a:lnTo>
                    <a:pt x="616" y="456"/>
                  </a:lnTo>
                  <a:lnTo>
                    <a:pt x="601" y="468"/>
                  </a:lnTo>
                  <a:lnTo>
                    <a:pt x="589" y="476"/>
                  </a:lnTo>
                  <a:lnTo>
                    <a:pt x="560" y="490"/>
                  </a:lnTo>
                  <a:lnTo>
                    <a:pt x="542" y="493"/>
                  </a:lnTo>
                  <a:lnTo>
                    <a:pt x="525" y="494"/>
                  </a:lnTo>
                  <a:lnTo>
                    <a:pt x="507" y="489"/>
                  </a:lnTo>
                  <a:lnTo>
                    <a:pt x="495" y="482"/>
                  </a:lnTo>
                  <a:lnTo>
                    <a:pt x="484" y="475"/>
                  </a:lnTo>
                  <a:lnTo>
                    <a:pt x="470" y="463"/>
                  </a:lnTo>
                  <a:lnTo>
                    <a:pt x="463" y="457"/>
                  </a:lnTo>
                  <a:lnTo>
                    <a:pt x="456" y="456"/>
                  </a:lnTo>
                  <a:lnTo>
                    <a:pt x="449" y="459"/>
                  </a:lnTo>
                  <a:lnTo>
                    <a:pt x="437" y="470"/>
                  </a:lnTo>
                  <a:lnTo>
                    <a:pt x="432" y="472"/>
                  </a:lnTo>
                  <a:lnTo>
                    <a:pt x="431" y="468"/>
                  </a:lnTo>
                  <a:lnTo>
                    <a:pt x="432" y="464"/>
                  </a:lnTo>
                  <a:lnTo>
                    <a:pt x="436" y="452"/>
                  </a:lnTo>
                  <a:lnTo>
                    <a:pt x="437" y="445"/>
                  </a:lnTo>
                  <a:lnTo>
                    <a:pt x="436" y="438"/>
                  </a:lnTo>
                  <a:lnTo>
                    <a:pt x="433" y="431"/>
                  </a:lnTo>
                  <a:lnTo>
                    <a:pt x="429" y="426"/>
                  </a:lnTo>
                  <a:lnTo>
                    <a:pt x="418" y="421"/>
                  </a:lnTo>
                  <a:lnTo>
                    <a:pt x="400" y="419"/>
                  </a:lnTo>
                  <a:lnTo>
                    <a:pt x="364" y="421"/>
                  </a:lnTo>
                  <a:lnTo>
                    <a:pt x="329" y="428"/>
                  </a:lnTo>
                  <a:lnTo>
                    <a:pt x="320" y="427"/>
                  </a:lnTo>
                  <a:lnTo>
                    <a:pt x="306" y="431"/>
                  </a:lnTo>
                  <a:lnTo>
                    <a:pt x="271" y="436"/>
                  </a:lnTo>
                  <a:lnTo>
                    <a:pt x="263" y="438"/>
                  </a:lnTo>
                  <a:lnTo>
                    <a:pt x="255" y="440"/>
                  </a:lnTo>
                  <a:lnTo>
                    <a:pt x="241" y="439"/>
                  </a:lnTo>
                  <a:lnTo>
                    <a:pt x="172" y="425"/>
                  </a:lnTo>
                  <a:lnTo>
                    <a:pt x="156" y="424"/>
                  </a:lnTo>
                  <a:lnTo>
                    <a:pt x="99" y="429"/>
                  </a:lnTo>
                  <a:lnTo>
                    <a:pt x="73" y="438"/>
                  </a:lnTo>
                  <a:lnTo>
                    <a:pt x="59" y="440"/>
                  </a:lnTo>
                  <a:lnTo>
                    <a:pt x="50" y="442"/>
                  </a:lnTo>
                  <a:lnTo>
                    <a:pt x="40" y="442"/>
                  </a:lnTo>
                  <a:lnTo>
                    <a:pt x="28" y="439"/>
                  </a:lnTo>
                  <a:lnTo>
                    <a:pt x="18" y="434"/>
                  </a:lnTo>
                  <a:lnTo>
                    <a:pt x="12" y="430"/>
                  </a:lnTo>
                  <a:lnTo>
                    <a:pt x="0" y="404"/>
                  </a:lnTo>
                  <a:lnTo>
                    <a:pt x="12" y="405"/>
                  </a:lnTo>
                  <a:lnTo>
                    <a:pt x="16" y="404"/>
                  </a:lnTo>
                  <a:lnTo>
                    <a:pt x="20" y="402"/>
                  </a:lnTo>
                  <a:lnTo>
                    <a:pt x="23" y="398"/>
                  </a:lnTo>
                  <a:lnTo>
                    <a:pt x="44" y="363"/>
                  </a:lnTo>
                  <a:lnTo>
                    <a:pt x="59" y="348"/>
                  </a:lnTo>
                  <a:lnTo>
                    <a:pt x="66" y="343"/>
                  </a:lnTo>
                  <a:lnTo>
                    <a:pt x="67" y="341"/>
                  </a:lnTo>
                  <a:lnTo>
                    <a:pt x="67" y="337"/>
                  </a:lnTo>
                  <a:lnTo>
                    <a:pt x="67" y="334"/>
                  </a:lnTo>
                  <a:lnTo>
                    <a:pt x="69" y="329"/>
                  </a:lnTo>
                  <a:lnTo>
                    <a:pt x="73" y="325"/>
                  </a:lnTo>
                  <a:lnTo>
                    <a:pt x="81" y="315"/>
                  </a:lnTo>
                  <a:lnTo>
                    <a:pt x="89" y="309"/>
                  </a:lnTo>
                  <a:lnTo>
                    <a:pt x="102" y="300"/>
                  </a:lnTo>
                  <a:lnTo>
                    <a:pt x="109" y="298"/>
                  </a:lnTo>
                  <a:lnTo>
                    <a:pt x="117" y="298"/>
                  </a:lnTo>
                  <a:lnTo>
                    <a:pt x="138" y="304"/>
                  </a:lnTo>
                  <a:lnTo>
                    <a:pt x="160" y="307"/>
                  </a:lnTo>
                  <a:lnTo>
                    <a:pt x="169" y="310"/>
                  </a:lnTo>
                  <a:lnTo>
                    <a:pt x="182" y="313"/>
                  </a:lnTo>
                  <a:lnTo>
                    <a:pt x="190" y="313"/>
                  </a:lnTo>
                  <a:lnTo>
                    <a:pt x="195" y="314"/>
                  </a:lnTo>
                  <a:lnTo>
                    <a:pt x="202" y="316"/>
                  </a:lnTo>
                  <a:lnTo>
                    <a:pt x="206" y="320"/>
                  </a:lnTo>
                  <a:lnTo>
                    <a:pt x="216" y="329"/>
                  </a:lnTo>
                  <a:lnTo>
                    <a:pt x="221" y="333"/>
                  </a:lnTo>
                  <a:lnTo>
                    <a:pt x="225" y="335"/>
                  </a:lnTo>
                  <a:lnTo>
                    <a:pt x="231" y="334"/>
                  </a:lnTo>
                  <a:lnTo>
                    <a:pt x="235" y="332"/>
                  </a:lnTo>
                  <a:lnTo>
                    <a:pt x="246" y="323"/>
                  </a:lnTo>
                  <a:lnTo>
                    <a:pt x="257" y="311"/>
                  </a:lnTo>
                  <a:lnTo>
                    <a:pt x="280" y="282"/>
                  </a:lnTo>
                  <a:lnTo>
                    <a:pt x="301" y="258"/>
                  </a:lnTo>
                  <a:lnTo>
                    <a:pt x="311" y="244"/>
                  </a:lnTo>
                  <a:lnTo>
                    <a:pt x="316" y="238"/>
                  </a:lnTo>
                  <a:lnTo>
                    <a:pt x="338" y="223"/>
                  </a:lnTo>
                  <a:lnTo>
                    <a:pt x="345" y="221"/>
                  </a:lnTo>
                  <a:lnTo>
                    <a:pt x="350" y="220"/>
                  </a:lnTo>
                  <a:lnTo>
                    <a:pt x="361" y="222"/>
                  </a:lnTo>
                  <a:lnTo>
                    <a:pt x="367" y="222"/>
                  </a:lnTo>
                  <a:lnTo>
                    <a:pt x="377" y="221"/>
                  </a:lnTo>
                  <a:lnTo>
                    <a:pt x="384" y="218"/>
                  </a:lnTo>
                  <a:lnTo>
                    <a:pt x="389" y="214"/>
                  </a:lnTo>
                  <a:lnTo>
                    <a:pt x="392" y="209"/>
                  </a:lnTo>
                  <a:lnTo>
                    <a:pt x="393" y="200"/>
                  </a:lnTo>
                  <a:lnTo>
                    <a:pt x="393" y="191"/>
                  </a:lnTo>
                  <a:lnTo>
                    <a:pt x="388" y="180"/>
                  </a:lnTo>
                  <a:lnTo>
                    <a:pt x="369" y="158"/>
                  </a:lnTo>
                  <a:lnTo>
                    <a:pt x="366" y="152"/>
                  </a:lnTo>
                  <a:lnTo>
                    <a:pt x="363" y="144"/>
                  </a:lnTo>
                  <a:lnTo>
                    <a:pt x="358" y="123"/>
                  </a:lnTo>
                  <a:lnTo>
                    <a:pt x="355" y="117"/>
                  </a:lnTo>
                  <a:lnTo>
                    <a:pt x="335" y="81"/>
                  </a:lnTo>
                  <a:lnTo>
                    <a:pt x="334" y="75"/>
                  </a:lnTo>
                  <a:lnTo>
                    <a:pt x="335" y="70"/>
                  </a:lnTo>
                  <a:lnTo>
                    <a:pt x="341" y="67"/>
                  </a:lnTo>
                  <a:lnTo>
                    <a:pt x="348" y="65"/>
                  </a:lnTo>
                  <a:lnTo>
                    <a:pt x="360" y="65"/>
                  </a:lnTo>
                  <a:lnTo>
                    <a:pt x="365" y="63"/>
                  </a:lnTo>
                  <a:lnTo>
                    <a:pt x="369" y="61"/>
                  </a:lnTo>
                  <a:lnTo>
                    <a:pt x="376" y="55"/>
                  </a:lnTo>
                  <a:lnTo>
                    <a:pt x="379" y="47"/>
                  </a:lnTo>
                  <a:lnTo>
                    <a:pt x="381" y="37"/>
                  </a:lnTo>
                  <a:lnTo>
                    <a:pt x="380" y="25"/>
                  </a:lnTo>
                  <a:lnTo>
                    <a:pt x="381" y="0"/>
                  </a:lnTo>
                  <a:lnTo>
                    <a:pt x="390" y="4"/>
                  </a:lnTo>
                  <a:lnTo>
                    <a:pt x="403" y="9"/>
                  </a:lnTo>
                  <a:lnTo>
                    <a:pt x="428" y="11"/>
                  </a:lnTo>
                  <a:lnTo>
                    <a:pt x="436" y="12"/>
                  </a:lnTo>
                  <a:lnTo>
                    <a:pt x="442" y="16"/>
                  </a:lnTo>
                  <a:lnTo>
                    <a:pt x="453" y="27"/>
                  </a:lnTo>
                  <a:lnTo>
                    <a:pt x="483" y="47"/>
                  </a:lnTo>
                  <a:lnTo>
                    <a:pt x="504" y="64"/>
                  </a:lnTo>
                  <a:lnTo>
                    <a:pt x="520" y="83"/>
                  </a:lnTo>
                  <a:lnTo>
                    <a:pt x="537" y="114"/>
                  </a:lnTo>
                  <a:lnTo>
                    <a:pt x="564" y="147"/>
                  </a:lnTo>
                  <a:lnTo>
                    <a:pt x="579" y="186"/>
                  </a:lnTo>
                  <a:lnTo>
                    <a:pt x="579" y="192"/>
                  </a:lnTo>
                  <a:lnTo>
                    <a:pt x="577" y="211"/>
                  </a:lnTo>
                  <a:lnTo>
                    <a:pt x="579" y="223"/>
                  </a:lnTo>
                  <a:lnTo>
                    <a:pt x="582" y="235"/>
                  </a:lnTo>
                  <a:lnTo>
                    <a:pt x="589" y="245"/>
                  </a:lnTo>
                  <a:lnTo>
                    <a:pt x="615" y="249"/>
                  </a:lnTo>
                  <a:lnTo>
                    <a:pt x="620" y="255"/>
                  </a:lnTo>
                  <a:lnTo>
                    <a:pt x="628" y="260"/>
                  </a:lnTo>
                  <a:lnTo>
                    <a:pt x="641" y="263"/>
                  </a:lnTo>
                  <a:lnTo>
                    <a:pt x="653" y="264"/>
                  </a:lnTo>
                  <a:lnTo>
                    <a:pt x="677" y="270"/>
                  </a:lnTo>
                  <a:lnTo>
                    <a:pt x="707" y="287"/>
                  </a:lnTo>
                  <a:lnTo>
                    <a:pt x="735" y="306"/>
                  </a:lnTo>
                  <a:lnTo>
                    <a:pt x="766" y="323"/>
                  </a:lnTo>
                  <a:lnTo>
                    <a:pt x="774" y="329"/>
                  </a:lnTo>
                  <a:lnTo>
                    <a:pt x="785" y="343"/>
                  </a:lnTo>
                  <a:lnTo>
                    <a:pt x="802" y="35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EC9C7A4-B43B-A1DA-98D0-B47D0E35F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2144" y="2486154"/>
              <a:ext cx="1392941" cy="2194580"/>
            </a:xfrm>
            <a:custGeom>
              <a:avLst/>
              <a:gdLst>
                <a:gd name="T0" fmla="*/ 190 w 947"/>
                <a:gd name="T1" fmla="*/ 1333 h 1492"/>
                <a:gd name="T2" fmla="*/ 238 w 947"/>
                <a:gd name="T3" fmla="*/ 1468 h 1492"/>
                <a:gd name="T4" fmla="*/ 320 w 947"/>
                <a:gd name="T5" fmla="*/ 1398 h 1492"/>
                <a:gd name="T6" fmla="*/ 364 w 947"/>
                <a:gd name="T7" fmla="*/ 1318 h 1492"/>
                <a:gd name="T8" fmla="*/ 427 w 947"/>
                <a:gd name="T9" fmla="*/ 1265 h 1492"/>
                <a:gd name="T10" fmla="*/ 516 w 947"/>
                <a:gd name="T11" fmla="*/ 1142 h 1492"/>
                <a:gd name="T12" fmla="*/ 458 w 947"/>
                <a:gd name="T13" fmla="*/ 1215 h 1492"/>
                <a:gd name="T14" fmla="*/ 903 w 947"/>
                <a:gd name="T15" fmla="*/ 888 h 1492"/>
                <a:gd name="T16" fmla="*/ 710 w 947"/>
                <a:gd name="T17" fmla="*/ 710 h 1492"/>
                <a:gd name="T18" fmla="*/ 588 w 947"/>
                <a:gd name="T19" fmla="*/ 696 h 1492"/>
                <a:gd name="T20" fmla="*/ 515 w 947"/>
                <a:gd name="T21" fmla="*/ 567 h 1492"/>
                <a:gd name="T22" fmla="*/ 451 w 947"/>
                <a:gd name="T23" fmla="*/ 464 h 1492"/>
                <a:gd name="T24" fmla="*/ 494 w 947"/>
                <a:gd name="T25" fmla="*/ 337 h 1492"/>
                <a:gd name="T26" fmla="*/ 544 w 947"/>
                <a:gd name="T27" fmla="*/ 230 h 1492"/>
                <a:gd name="T28" fmla="*/ 569 w 947"/>
                <a:gd name="T29" fmla="*/ 209 h 1492"/>
                <a:gd name="T30" fmla="*/ 600 w 947"/>
                <a:gd name="T31" fmla="*/ 179 h 1492"/>
                <a:gd name="T32" fmla="*/ 644 w 947"/>
                <a:gd name="T33" fmla="*/ 143 h 1492"/>
                <a:gd name="T34" fmla="*/ 676 w 947"/>
                <a:gd name="T35" fmla="*/ 81 h 1492"/>
                <a:gd name="T36" fmla="*/ 663 w 947"/>
                <a:gd name="T37" fmla="*/ 0 h 1492"/>
                <a:gd name="T38" fmla="*/ 520 w 947"/>
                <a:gd name="T39" fmla="*/ 73 h 1492"/>
                <a:gd name="T40" fmla="*/ 497 w 947"/>
                <a:gd name="T41" fmla="*/ 118 h 1492"/>
                <a:gd name="T42" fmla="*/ 405 w 947"/>
                <a:gd name="T43" fmla="*/ 205 h 1492"/>
                <a:gd name="T44" fmla="*/ 378 w 947"/>
                <a:gd name="T45" fmla="*/ 185 h 1492"/>
                <a:gd name="T46" fmla="*/ 328 w 947"/>
                <a:gd name="T47" fmla="*/ 299 h 1492"/>
                <a:gd name="T48" fmla="*/ 272 w 947"/>
                <a:gd name="T49" fmla="*/ 378 h 1492"/>
                <a:gd name="T50" fmla="*/ 229 w 947"/>
                <a:gd name="T51" fmla="*/ 431 h 1492"/>
                <a:gd name="T52" fmla="*/ 173 w 947"/>
                <a:gd name="T53" fmla="*/ 494 h 1492"/>
                <a:gd name="T54" fmla="*/ 211 w 947"/>
                <a:gd name="T55" fmla="*/ 527 h 1492"/>
                <a:gd name="T56" fmla="*/ 167 w 947"/>
                <a:gd name="T57" fmla="*/ 576 h 1492"/>
                <a:gd name="T58" fmla="*/ 127 w 947"/>
                <a:gd name="T59" fmla="*/ 590 h 1492"/>
                <a:gd name="T60" fmla="*/ 78 w 947"/>
                <a:gd name="T61" fmla="*/ 638 h 1492"/>
                <a:gd name="T62" fmla="*/ 46 w 947"/>
                <a:gd name="T63" fmla="*/ 673 h 1492"/>
                <a:gd name="T64" fmla="*/ 220 w 947"/>
                <a:gd name="T65" fmla="*/ 853 h 1492"/>
                <a:gd name="T66" fmla="*/ 50 w 947"/>
                <a:gd name="T67" fmla="*/ 1193 h 1492"/>
                <a:gd name="T68" fmla="*/ 149 w 947"/>
                <a:gd name="T69" fmla="*/ 1255 h 1492"/>
                <a:gd name="T70" fmla="*/ 176 w 947"/>
                <a:gd name="T71" fmla="*/ 1214 h 1492"/>
                <a:gd name="T72" fmla="*/ 208 w 947"/>
                <a:gd name="T73" fmla="*/ 1200 h 1492"/>
                <a:gd name="T74" fmla="*/ 347 w 947"/>
                <a:gd name="T75" fmla="*/ 1002 h 1492"/>
                <a:gd name="T76" fmla="*/ 383 w 947"/>
                <a:gd name="T77" fmla="*/ 1007 h 1492"/>
                <a:gd name="T78" fmla="*/ 336 w 947"/>
                <a:gd name="T79" fmla="*/ 1087 h 1492"/>
                <a:gd name="T80" fmla="*/ 410 w 947"/>
                <a:gd name="T81" fmla="*/ 1097 h 1492"/>
                <a:gd name="T82" fmla="*/ 362 w 947"/>
                <a:gd name="T83" fmla="*/ 1101 h 1492"/>
                <a:gd name="T84" fmla="*/ 334 w 947"/>
                <a:gd name="T85" fmla="*/ 1174 h 1492"/>
                <a:gd name="T86" fmla="*/ 414 w 947"/>
                <a:gd name="T87" fmla="*/ 1164 h 1492"/>
                <a:gd name="T88" fmla="*/ 430 w 947"/>
                <a:gd name="T89" fmla="*/ 883 h 1492"/>
                <a:gd name="T90" fmla="*/ 476 w 947"/>
                <a:gd name="T91" fmla="*/ 808 h 1492"/>
                <a:gd name="T92" fmla="*/ 477 w 947"/>
                <a:gd name="T93" fmla="*/ 837 h 1492"/>
                <a:gd name="T94" fmla="*/ 453 w 947"/>
                <a:gd name="T95" fmla="*/ 891 h 1492"/>
                <a:gd name="T96" fmla="*/ 465 w 947"/>
                <a:gd name="T97" fmla="*/ 943 h 1492"/>
                <a:gd name="T98" fmla="*/ 504 w 947"/>
                <a:gd name="T99" fmla="*/ 1101 h 1492"/>
                <a:gd name="T100" fmla="*/ 541 w 947"/>
                <a:gd name="T101" fmla="*/ 1189 h 1492"/>
                <a:gd name="T102" fmla="*/ 453 w 947"/>
                <a:gd name="T103" fmla="*/ 1388 h 1492"/>
                <a:gd name="T104" fmla="*/ 438 w 947"/>
                <a:gd name="T105" fmla="*/ 1480 h 1492"/>
                <a:gd name="T106" fmla="*/ 568 w 947"/>
                <a:gd name="T107" fmla="*/ 1415 h 1492"/>
                <a:gd name="T108" fmla="*/ 724 w 947"/>
                <a:gd name="T109" fmla="*/ 1175 h 1492"/>
                <a:gd name="T110" fmla="*/ 721 w 947"/>
                <a:gd name="T111" fmla="*/ 1117 h 1492"/>
                <a:gd name="T112" fmla="*/ 747 w 947"/>
                <a:gd name="T113" fmla="*/ 1053 h 1492"/>
                <a:gd name="T114" fmla="*/ 789 w 947"/>
                <a:gd name="T115" fmla="*/ 985 h 1492"/>
                <a:gd name="T116" fmla="*/ 939 w 947"/>
                <a:gd name="T117" fmla="*/ 929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7" h="1492">
                  <a:moveTo>
                    <a:pt x="353" y="1223"/>
                  </a:moveTo>
                  <a:lnTo>
                    <a:pt x="323" y="1223"/>
                  </a:lnTo>
                  <a:lnTo>
                    <a:pt x="309" y="1228"/>
                  </a:lnTo>
                  <a:lnTo>
                    <a:pt x="272" y="1246"/>
                  </a:lnTo>
                  <a:lnTo>
                    <a:pt x="232" y="1258"/>
                  </a:lnTo>
                  <a:lnTo>
                    <a:pt x="222" y="1265"/>
                  </a:lnTo>
                  <a:lnTo>
                    <a:pt x="212" y="1292"/>
                  </a:lnTo>
                  <a:lnTo>
                    <a:pt x="190" y="1333"/>
                  </a:lnTo>
                  <a:lnTo>
                    <a:pt x="188" y="1343"/>
                  </a:lnTo>
                  <a:lnTo>
                    <a:pt x="185" y="1423"/>
                  </a:lnTo>
                  <a:lnTo>
                    <a:pt x="181" y="1447"/>
                  </a:lnTo>
                  <a:lnTo>
                    <a:pt x="185" y="1462"/>
                  </a:lnTo>
                  <a:lnTo>
                    <a:pt x="195" y="1466"/>
                  </a:lnTo>
                  <a:lnTo>
                    <a:pt x="210" y="1471"/>
                  </a:lnTo>
                  <a:lnTo>
                    <a:pt x="227" y="1472"/>
                  </a:lnTo>
                  <a:lnTo>
                    <a:pt x="238" y="1468"/>
                  </a:lnTo>
                  <a:lnTo>
                    <a:pt x="252" y="1461"/>
                  </a:lnTo>
                  <a:lnTo>
                    <a:pt x="275" y="1463"/>
                  </a:lnTo>
                  <a:lnTo>
                    <a:pt x="286" y="1448"/>
                  </a:lnTo>
                  <a:lnTo>
                    <a:pt x="291" y="1438"/>
                  </a:lnTo>
                  <a:lnTo>
                    <a:pt x="300" y="1428"/>
                  </a:lnTo>
                  <a:lnTo>
                    <a:pt x="300" y="1413"/>
                  </a:lnTo>
                  <a:lnTo>
                    <a:pt x="309" y="1402"/>
                  </a:lnTo>
                  <a:lnTo>
                    <a:pt x="320" y="1398"/>
                  </a:lnTo>
                  <a:lnTo>
                    <a:pt x="324" y="1387"/>
                  </a:lnTo>
                  <a:lnTo>
                    <a:pt x="333" y="1372"/>
                  </a:lnTo>
                  <a:lnTo>
                    <a:pt x="340" y="1356"/>
                  </a:lnTo>
                  <a:lnTo>
                    <a:pt x="348" y="1344"/>
                  </a:lnTo>
                  <a:lnTo>
                    <a:pt x="349" y="1344"/>
                  </a:lnTo>
                  <a:lnTo>
                    <a:pt x="354" y="1338"/>
                  </a:lnTo>
                  <a:lnTo>
                    <a:pt x="360" y="1327"/>
                  </a:lnTo>
                  <a:lnTo>
                    <a:pt x="364" y="1318"/>
                  </a:lnTo>
                  <a:lnTo>
                    <a:pt x="366" y="1313"/>
                  </a:lnTo>
                  <a:lnTo>
                    <a:pt x="376" y="1305"/>
                  </a:lnTo>
                  <a:lnTo>
                    <a:pt x="378" y="1298"/>
                  </a:lnTo>
                  <a:lnTo>
                    <a:pt x="412" y="1284"/>
                  </a:lnTo>
                  <a:lnTo>
                    <a:pt x="419" y="1278"/>
                  </a:lnTo>
                  <a:lnTo>
                    <a:pt x="423" y="1274"/>
                  </a:lnTo>
                  <a:lnTo>
                    <a:pt x="425" y="1270"/>
                  </a:lnTo>
                  <a:lnTo>
                    <a:pt x="427" y="1265"/>
                  </a:lnTo>
                  <a:lnTo>
                    <a:pt x="428" y="1259"/>
                  </a:lnTo>
                  <a:lnTo>
                    <a:pt x="400" y="1253"/>
                  </a:lnTo>
                  <a:lnTo>
                    <a:pt x="353" y="1223"/>
                  </a:lnTo>
                  <a:close/>
                  <a:moveTo>
                    <a:pt x="458" y="1215"/>
                  </a:moveTo>
                  <a:lnTo>
                    <a:pt x="475" y="1205"/>
                  </a:lnTo>
                  <a:lnTo>
                    <a:pt x="478" y="1176"/>
                  </a:lnTo>
                  <a:lnTo>
                    <a:pt x="502" y="1164"/>
                  </a:lnTo>
                  <a:lnTo>
                    <a:pt x="516" y="1142"/>
                  </a:lnTo>
                  <a:lnTo>
                    <a:pt x="507" y="1128"/>
                  </a:lnTo>
                  <a:lnTo>
                    <a:pt x="491" y="1122"/>
                  </a:lnTo>
                  <a:lnTo>
                    <a:pt x="484" y="1104"/>
                  </a:lnTo>
                  <a:lnTo>
                    <a:pt x="466" y="1137"/>
                  </a:lnTo>
                  <a:lnTo>
                    <a:pt x="452" y="1174"/>
                  </a:lnTo>
                  <a:lnTo>
                    <a:pt x="442" y="1199"/>
                  </a:lnTo>
                  <a:lnTo>
                    <a:pt x="445" y="1214"/>
                  </a:lnTo>
                  <a:lnTo>
                    <a:pt x="458" y="1215"/>
                  </a:lnTo>
                  <a:close/>
                  <a:moveTo>
                    <a:pt x="945" y="882"/>
                  </a:moveTo>
                  <a:lnTo>
                    <a:pt x="939" y="877"/>
                  </a:lnTo>
                  <a:lnTo>
                    <a:pt x="933" y="877"/>
                  </a:lnTo>
                  <a:lnTo>
                    <a:pt x="926" y="881"/>
                  </a:lnTo>
                  <a:lnTo>
                    <a:pt x="922" y="884"/>
                  </a:lnTo>
                  <a:lnTo>
                    <a:pt x="918" y="888"/>
                  </a:lnTo>
                  <a:lnTo>
                    <a:pt x="910" y="888"/>
                  </a:lnTo>
                  <a:lnTo>
                    <a:pt x="903" y="888"/>
                  </a:lnTo>
                  <a:lnTo>
                    <a:pt x="876" y="882"/>
                  </a:lnTo>
                  <a:lnTo>
                    <a:pt x="841" y="851"/>
                  </a:lnTo>
                  <a:lnTo>
                    <a:pt x="791" y="767"/>
                  </a:lnTo>
                  <a:lnTo>
                    <a:pt x="783" y="759"/>
                  </a:lnTo>
                  <a:lnTo>
                    <a:pt x="763" y="743"/>
                  </a:lnTo>
                  <a:lnTo>
                    <a:pt x="755" y="738"/>
                  </a:lnTo>
                  <a:lnTo>
                    <a:pt x="740" y="730"/>
                  </a:lnTo>
                  <a:lnTo>
                    <a:pt x="710" y="710"/>
                  </a:lnTo>
                  <a:lnTo>
                    <a:pt x="697" y="703"/>
                  </a:lnTo>
                  <a:lnTo>
                    <a:pt x="683" y="702"/>
                  </a:lnTo>
                  <a:lnTo>
                    <a:pt x="670" y="703"/>
                  </a:lnTo>
                  <a:lnTo>
                    <a:pt x="636" y="715"/>
                  </a:lnTo>
                  <a:lnTo>
                    <a:pt x="613" y="720"/>
                  </a:lnTo>
                  <a:lnTo>
                    <a:pt x="598" y="716"/>
                  </a:lnTo>
                  <a:lnTo>
                    <a:pt x="593" y="711"/>
                  </a:lnTo>
                  <a:lnTo>
                    <a:pt x="588" y="696"/>
                  </a:lnTo>
                  <a:lnTo>
                    <a:pt x="573" y="668"/>
                  </a:lnTo>
                  <a:lnTo>
                    <a:pt x="565" y="645"/>
                  </a:lnTo>
                  <a:lnTo>
                    <a:pt x="560" y="637"/>
                  </a:lnTo>
                  <a:lnTo>
                    <a:pt x="543" y="615"/>
                  </a:lnTo>
                  <a:lnTo>
                    <a:pt x="536" y="604"/>
                  </a:lnTo>
                  <a:lnTo>
                    <a:pt x="532" y="590"/>
                  </a:lnTo>
                  <a:lnTo>
                    <a:pt x="525" y="576"/>
                  </a:lnTo>
                  <a:lnTo>
                    <a:pt x="515" y="567"/>
                  </a:lnTo>
                  <a:lnTo>
                    <a:pt x="461" y="539"/>
                  </a:lnTo>
                  <a:lnTo>
                    <a:pt x="457" y="533"/>
                  </a:lnTo>
                  <a:lnTo>
                    <a:pt x="455" y="527"/>
                  </a:lnTo>
                  <a:lnTo>
                    <a:pt x="454" y="517"/>
                  </a:lnTo>
                  <a:lnTo>
                    <a:pt x="455" y="509"/>
                  </a:lnTo>
                  <a:lnTo>
                    <a:pt x="458" y="497"/>
                  </a:lnTo>
                  <a:lnTo>
                    <a:pt x="460" y="493"/>
                  </a:lnTo>
                  <a:lnTo>
                    <a:pt x="451" y="464"/>
                  </a:lnTo>
                  <a:lnTo>
                    <a:pt x="450" y="456"/>
                  </a:lnTo>
                  <a:lnTo>
                    <a:pt x="453" y="414"/>
                  </a:lnTo>
                  <a:lnTo>
                    <a:pt x="455" y="406"/>
                  </a:lnTo>
                  <a:lnTo>
                    <a:pt x="465" y="376"/>
                  </a:lnTo>
                  <a:lnTo>
                    <a:pt x="468" y="370"/>
                  </a:lnTo>
                  <a:lnTo>
                    <a:pt x="477" y="358"/>
                  </a:lnTo>
                  <a:lnTo>
                    <a:pt x="489" y="345"/>
                  </a:lnTo>
                  <a:lnTo>
                    <a:pt x="494" y="337"/>
                  </a:lnTo>
                  <a:lnTo>
                    <a:pt x="532" y="267"/>
                  </a:lnTo>
                  <a:lnTo>
                    <a:pt x="534" y="260"/>
                  </a:lnTo>
                  <a:lnTo>
                    <a:pt x="535" y="254"/>
                  </a:lnTo>
                  <a:lnTo>
                    <a:pt x="535" y="240"/>
                  </a:lnTo>
                  <a:lnTo>
                    <a:pt x="536" y="235"/>
                  </a:lnTo>
                  <a:lnTo>
                    <a:pt x="539" y="233"/>
                  </a:lnTo>
                  <a:lnTo>
                    <a:pt x="541" y="231"/>
                  </a:lnTo>
                  <a:lnTo>
                    <a:pt x="544" y="230"/>
                  </a:lnTo>
                  <a:lnTo>
                    <a:pt x="552" y="228"/>
                  </a:lnTo>
                  <a:lnTo>
                    <a:pt x="555" y="227"/>
                  </a:lnTo>
                  <a:lnTo>
                    <a:pt x="557" y="223"/>
                  </a:lnTo>
                  <a:lnTo>
                    <a:pt x="558" y="216"/>
                  </a:lnTo>
                  <a:lnTo>
                    <a:pt x="559" y="213"/>
                  </a:lnTo>
                  <a:lnTo>
                    <a:pt x="562" y="210"/>
                  </a:lnTo>
                  <a:lnTo>
                    <a:pt x="565" y="210"/>
                  </a:lnTo>
                  <a:lnTo>
                    <a:pt x="569" y="209"/>
                  </a:lnTo>
                  <a:lnTo>
                    <a:pt x="573" y="207"/>
                  </a:lnTo>
                  <a:lnTo>
                    <a:pt x="575" y="203"/>
                  </a:lnTo>
                  <a:lnTo>
                    <a:pt x="578" y="198"/>
                  </a:lnTo>
                  <a:lnTo>
                    <a:pt x="579" y="190"/>
                  </a:lnTo>
                  <a:lnTo>
                    <a:pt x="582" y="185"/>
                  </a:lnTo>
                  <a:lnTo>
                    <a:pt x="586" y="183"/>
                  </a:lnTo>
                  <a:lnTo>
                    <a:pt x="596" y="182"/>
                  </a:lnTo>
                  <a:lnTo>
                    <a:pt x="600" y="179"/>
                  </a:lnTo>
                  <a:lnTo>
                    <a:pt x="607" y="169"/>
                  </a:lnTo>
                  <a:lnTo>
                    <a:pt x="614" y="161"/>
                  </a:lnTo>
                  <a:lnTo>
                    <a:pt x="617" y="157"/>
                  </a:lnTo>
                  <a:lnTo>
                    <a:pt x="621" y="153"/>
                  </a:lnTo>
                  <a:lnTo>
                    <a:pt x="627" y="151"/>
                  </a:lnTo>
                  <a:lnTo>
                    <a:pt x="634" y="150"/>
                  </a:lnTo>
                  <a:lnTo>
                    <a:pt x="639" y="148"/>
                  </a:lnTo>
                  <a:lnTo>
                    <a:pt x="644" y="143"/>
                  </a:lnTo>
                  <a:lnTo>
                    <a:pt x="647" y="136"/>
                  </a:lnTo>
                  <a:lnTo>
                    <a:pt x="651" y="113"/>
                  </a:lnTo>
                  <a:lnTo>
                    <a:pt x="653" y="107"/>
                  </a:lnTo>
                  <a:lnTo>
                    <a:pt x="657" y="100"/>
                  </a:lnTo>
                  <a:lnTo>
                    <a:pt x="661" y="94"/>
                  </a:lnTo>
                  <a:lnTo>
                    <a:pt x="666" y="91"/>
                  </a:lnTo>
                  <a:lnTo>
                    <a:pt x="672" y="88"/>
                  </a:lnTo>
                  <a:lnTo>
                    <a:pt x="676" y="81"/>
                  </a:lnTo>
                  <a:lnTo>
                    <a:pt x="675" y="78"/>
                  </a:lnTo>
                  <a:lnTo>
                    <a:pt x="673" y="73"/>
                  </a:lnTo>
                  <a:lnTo>
                    <a:pt x="673" y="66"/>
                  </a:lnTo>
                  <a:lnTo>
                    <a:pt x="684" y="37"/>
                  </a:lnTo>
                  <a:lnTo>
                    <a:pt x="687" y="15"/>
                  </a:lnTo>
                  <a:lnTo>
                    <a:pt x="683" y="6"/>
                  </a:lnTo>
                  <a:lnTo>
                    <a:pt x="674" y="0"/>
                  </a:lnTo>
                  <a:lnTo>
                    <a:pt x="663" y="0"/>
                  </a:lnTo>
                  <a:lnTo>
                    <a:pt x="639" y="2"/>
                  </a:lnTo>
                  <a:lnTo>
                    <a:pt x="618" y="9"/>
                  </a:lnTo>
                  <a:lnTo>
                    <a:pt x="574" y="15"/>
                  </a:lnTo>
                  <a:lnTo>
                    <a:pt x="564" y="20"/>
                  </a:lnTo>
                  <a:lnTo>
                    <a:pt x="556" y="24"/>
                  </a:lnTo>
                  <a:lnTo>
                    <a:pt x="549" y="29"/>
                  </a:lnTo>
                  <a:lnTo>
                    <a:pt x="523" y="65"/>
                  </a:lnTo>
                  <a:lnTo>
                    <a:pt x="520" y="73"/>
                  </a:lnTo>
                  <a:lnTo>
                    <a:pt x="518" y="81"/>
                  </a:lnTo>
                  <a:lnTo>
                    <a:pt x="515" y="88"/>
                  </a:lnTo>
                  <a:lnTo>
                    <a:pt x="504" y="94"/>
                  </a:lnTo>
                  <a:lnTo>
                    <a:pt x="501" y="98"/>
                  </a:lnTo>
                  <a:lnTo>
                    <a:pt x="500" y="103"/>
                  </a:lnTo>
                  <a:lnTo>
                    <a:pt x="501" y="109"/>
                  </a:lnTo>
                  <a:lnTo>
                    <a:pt x="500" y="113"/>
                  </a:lnTo>
                  <a:lnTo>
                    <a:pt x="497" y="118"/>
                  </a:lnTo>
                  <a:lnTo>
                    <a:pt x="494" y="125"/>
                  </a:lnTo>
                  <a:lnTo>
                    <a:pt x="490" y="131"/>
                  </a:lnTo>
                  <a:lnTo>
                    <a:pt x="480" y="141"/>
                  </a:lnTo>
                  <a:lnTo>
                    <a:pt x="469" y="159"/>
                  </a:lnTo>
                  <a:lnTo>
                    <a:pt x="462" y="168"/>
                  </a:lnTo>
                  <a:lnTo>
                    <a:pt x="427" y="196"/>
                  </a:lnTo>
                  <a:lnTo>
                    <a:pt x="417" y="202"/>
                  </a:lnTo>
                  <a:lnTo>
                    <a:pt x="405" y="205"/>
                  </a:lnTo>
                  <a:lnTo>
                    <a:pt x="399" y="203"/>
                  </a:lnTo>
                  <a:lnTo>
                    <a:pt x="395" y="202"/>
                  </a:lnTo>
                  <a:lnTo>
                    <a:pt x="384" y="203"/>
                  </a:lnTo>
                  <a:lnTo>
                    <a:pt x="379" y="202"/>
                  </a:lnTo>
                  <a:lnTo>
                    <a:pt x="378" y="198"/>
                  </a:lnTo>
                  <a:lnTo>
                    <a:pt x="380" y="192"/>
                  </a:lnTo>
                  <a:lnTo>
                    <a:pt x="380" y="188"/>
                  </a:lnTo>
                  <a:lnTo>
                    <a:pt x="378" y="185"/>
                  </a:lnTo>
                  <a:lnTo>
                    <a:pt x="374" y="189"/>
                  </a:lnTo>
                  <a:lnTo>
                    <a:pt x="367" y="195"/>
                  </a:lnTo>
                  <a:lnTo>
                    <a:pt x="363" y="205"/>
                  </a:lnTo>
                  <a:lnTo>
                    <a:pt x="359" y="220"/>
                  </a:lnTo>
                  <a:lnTo>
                    <a:pt x="353" y="234"/>
                  </a:lnTo>
                  <a:lnTo>
                    <a:pt x="348" y="255"/>
                  </a:lnTo>
                  <a:lnTo>
                    <a:pt x="334" y="291"/>
                  </a:lnTo>
                  <a:lnTo>
                    <a:pt x="328" y="299"/>
                  </a:lnTo>
                  <a:lnTo>
                    <a:pt x="302" y="320"/>
                  </a:lnTo>
                  <a:lnTo>
                    <a:pt x="287" y="326"/>
                  </a:lnTo>
                  <a:lnTo>
                    <a:pt x="280" y="333"/>
                  </a:lnTo>
                  <a:lnTo>
                    <a:pt x="275" y="343"/>
                  </a:lnTo>
                  <a:lnTo>
                    <a:pt x="274" y="356"/>
                  </a:lnTo>
                  <a:lnTo>
                    <a:pt x="276" y="372"/>
                  </a:lnTo>
                  <a:lnTo>
                    <a:pt x="275" y="375"/>
                  </a:lnTo>
                  <a:lnTo>
                    <a:pt x="272" y="378"/>
                  </a:lnTo>
                  <a:lnTo>
                    <a:pt x="257" y="383"/>
                  </a:lnTo>
                  <a:lnTo>
                    <a:pt x="246" y="389"/>
                  </a:lnTo>
                  <a:lnTo>
                    <a:pt x="242" y="390"/>
                  </a:lnTo>
                  <a:lnTo>
                    <a:pt x="238" y="392"/>
                  </a:lnTo>
                  <a:lnTo>
                    <a:pt x="235" y="398"/>
                  </a:lnTo>
                  <a:lnTo>
                    <a:pt x="232" y="405"/>
                  </a:lnTo>
                  <a:lnTo>
                    <a:pt x="229" y="423"/>
                  </a:lnTo>
                  <a:lnTo>
                    <a:pt x="229" y="431"/>
                  </a:lnTo>
                  <a:lnTo>
                    <a:pt x="230" y="439"/>
                  </a:lnTo>
                  <a:lnTo>
                    <a:pt x="233" y="447"/>
                  </a:lnTo>
                  <a:lnTo>
                    <a:pt x="241" y="457"/>
                  </a:lnTo>
                  <a:lnTo>
                    <a:pt x="241" y="463"/>
                  </a:lnTo>
                  <a:lnTo>
                    <a:pt x="237" y="468"/>
                  </a:lnTo>
                  <a:lnTo>
                    <a:pt x="215" y="483"/>
                  </a:lnTo>
                  <a:lnTo>
                    <a:pt x="173" y="489"/>
                  </a:lnTo>
                  <a:lnTo>
                    <a:pt x="173" y="494"/>
                  </a:lnTo>
                  <a:lnTo>
                    <a:pt x="177" y="500"/>
                  </a:lnTo>
                  <a:lnTo>
                    <a:pt x="184" y="507"/>
                  </a:lnTo>
                  <a:lnTo>
                    <a:pt x="193" y="515"/>
                  </a:lnTo>
                  <a:lnTo>
                    <a:pt x="199" y="518"/>
                  </a:lnTo>
                  <a:lnTo>
                    <a:pt x="206" y="519"/>
                  </a:lnTo>
                  <a:lnTo>
                    <a:pt x="210" y="521"/>
                  </a:lnTo>
                  <a:lnTo>
                    <a:pt x="211" y="524"/>
                  </a:lnTo>
                  <a:lnTo>
                    <a:pt x="211" y="527"/>
                  </a:lnTo>
                  <a:lnTo>
                    <a:pt x="210" y="532"/>
                  </a:lnTo>
                  <a:lnTo>
                    <a:pt x="211" y="539"/>
                  </a:lnTo>
                  <a:lnTo>
                    <a:pt x="218" y="558"/>
                  </a:lnTo>
                  <a:lnTo>
                    <a:pt x="215" y="565"/>
                  </a:lnTo>
                  <a:lnTo>
                    <a:pt x="206" y="568"/>
                  </a:lnTo>
                  <a:lnTo>
                    <a:pt x="180" y="566"/>
                  </a:lnTo>
                  <a:lnTo>
                    <a:pt x="170" y="571"/>
                  </a:lnTo>
                  <a:lnTo>
                    <a:pt x="167" y="576"/>
                  </a:lnTo>
                  <a:lnTo>
                    <a:pt x="163" y="577"/>
                  </a:lnTo>
                  <a:lnTo>
                    <a:pt x="158" y="573"/>
                  </a:lnTo>
                  <a:lnTo>
                    <a:pt x="153" y="569"/>
                  </a:lnTo>
                  <a:lnTo>
                    <a:pt x="149" y="567"/>
                  </a:lnTo>
                  <a:lnTo>
                    <a:pt x="143" y="569"/>
                  </a:lnTo>
                  <a:lnTo>
                    <a:pt x="138" y="574"/>
                  </a:lnTo>
                  <a:lnTo>
                    <a:pt x="131" y="585"/>
                  </a:lnTo>
                  <a:lnTo>
                    <a:pt x="127" y="590"/>
                  </a:lnTo>
                  <a:lnTo>
                    <a:pt x="117" y="593"/>
                  </a:lnTo>
                  <a:lnTo>
                    <a:pt x="111" y="596"/>
                  </a:lnTo>
                  <a:lnTo>
                    <a:pt x="103" y="603"/>
                  </a:lnTo>
                  <a:lnTo>
                    <a:pt x="98" y="609"/>
                  </a:lnTo>
                  <a:lnTo>
                    <a:pt x="94" y="617"/>
                  </a:lnTo>
                  <a:lnTo>
                    <a:pt x="89" y="624"/>
                  </a:lnTo>
                  <a:lnTo>
                    <a:pt x="84" y="631"/>
                  </a:lnTo>
                  <a:lnTo>
                    <a:pt x="78" y="638"/>
                  </a:lnTo>
                  <a:lnTo>
                    <a:pt x="77" y="645"/>
                  </a:lnTo>
                  <a:lnTo>
                    <a:pt x="77" y="651"/>
                  </a:lnTo>
                  <a:lnTo>
                    <a:pt x="76" y="656"/>
                  </a:lnTo>
                  <a:lnTo>
                    <a:pt x="75" y="660"/>
                  </a:lnTo>
                  <a:lnTo>
                    <a:pt x="74" y="665"/>
                  </a:lnTo>
                  <a:lnTo>
                    <a:pt x="71" y="669"/>
                  </a:lnTo>
                  <a:lnTo>
                    <a:pt x="65" y="671"/>
                  </a:lnTo>
                  <a:lnTo>
                    <a:pt x="46" y="673"/>
                  </a:lnTo>
                  <a:lnTo>
                    <a:pt x="17" y="672"/>
                  </a:lnTo>
                  <a:lnTo>
                    <a:pt x="24" y="701"/>
                  </a:lnTo>
                  <a:lnTo>
                    <a:pt x="43" y="733"/>
                  </a:lnTo>
                  <a:lnTo>
                    <a:pt x="78" y="753"/>
                  </a:lnTo>
                  <a:lnTo>
                    <a:pt x="130" y="766"/>
                  </a:lnTo>
                  <a:lnTo>
                    <a:pt x="170" y="790"/>
                  </a:lnTo>
                  <a:lnTo>
                    <a:pt x="194" y="813"/>
                  </a:lnTo>
                  <a:lnTo>
                    <a:pt x="220" y="853"/>
                  </a:lnTo>
                  <a:lnTo>
                    <a:pt x="219" y="911"/>
                  </a:lnTo>
                  <a:lnTo>
                    <a:pt x="208" y="980"/>
                  </a:lnTo>
                  <a:lnTo>
                    <a:pt x="178" y="1025"/>
                  </a:lnTo>
                  <a:lnTo>
                    <a:pt x="145" y="1044"/>
                  </a:lnTo>
                  <a:lnTo>
                    <a:pt x="88" y="1058"/>
                  </a:lnTo>
                  <a:lnTo>
                    <a:pt x="48" y="1088"/>
                  </a:lnTo>
                  <a:lnTo>
                    <a:pt x="0" y="1134"/>
                  </a:lnTo>
                  <a:lnTo>
                    <a:pt x="50" y="1193"/>
                  </a:lnTo>
                  <a:lnTo>
                    <a:pt x="76" y="1209"/>
                  </a:lnTo>
                  <a:lnTo>
                    <a:pt x="81" y="1210"/>
                  </a:lnTo>
                  <a:lnTo>
                    <a:pt x="93" y="1213"/>
                  </a:lnTo>
                  <a:lnTo>
                    <a:pt x="98" y="1214"/>
                  </a:lnTo>
                  <a:lnTo>
                    <a:pt x="102" y="1217"/>
                  </a:lnTo>
                  <a:lnTo>
                    <a:pt x="111" y="1226"/>
                  </a:lnTo>
                  <a:lnTo>
                    <a:pt x="120" y="1231"/>
                  </a:lnTo>
                  <a:lnTo>
                    <a:pt x="149" y="1255"/>
                  </a:lnTo>
                  <a:lnTo>
                    <a:pt x="177" y="1266"/>
                  </a:lnTo>
                  <a:lnTo>
                    <a:pt x="192" y="1268"/>
                  </a:lnTo>
                  <a:lnTo>
                    <a:pt x="198" y="1262"/>
                  </a:lnTo>
                  <a:lnTo>
                    <a:pt x="199" y="1247"/>
                  </a:lnTo>
                  <a:lnTo>
                    <a:pt x="199" y="1240"/>
                  </a:lnTo>
                  <a:lnTo>
                    <a:pt x="197" y="1234"/>
                  </a:lnTo>
                  <a:lnTo>
                    <a:pt x="179" y="1216"/>
                  </a:lnTo>
                  <a:lnTo>
                    <a:pt x="176" y="1214"/>
                  </a:lnTo>
                  <a:lnTo>
                    <a:pt x="173" y="1201"/>
                  </a:lnTo>
                  <a:lnTo>
                    <a:pt x="176" y="1189"/>
                  </a:lnTo>
                  <a:lnTo>
                    <a:pt x="182" y="1184"/>
                  </a:lnTo>
                  <a:lnTo>
                    <a:pt x="192" y="1189"/>
                  </a:lnTo>
                  <a:lnTo>
                    <a:pt x="195" y="1193"/>
                  </a:lnTo>
                  <a:lnTo>
                    <a:pt x="198" y="1197"/>
                  </a:lnTo>
                  <a:lnTo>
                    <a:pt x="202" y="1200"/>
                  </a:lnTo>
                  <a:lnTo>
                    <a:pt x="208" y="1200"/>
                  </a:lnTo>
                  <a:lnTo>
                    <a:pt x="215" y="1196"/>
                  </a:lnTo>
                  <a:lnTo>
                    <a:pt x="219" y="1190"/>
                  </a:lnTo>
                  <a:lnTo>
                    <a:pt x="224" y="1181"/>
                  </a:lnTo>
                  <a:lnTo>
                    <a:pt x="246" y="1171"/>
                  </a:lnTo>
                  <a:lnTo>
                    <a:pt x="267" y="1150"/>
                  </a:lnTo>
                  <a:lnTo>
                    <a:pt x="312" y="1086"/>
                  </a:lnTo>
                  <a:lnTo>
                    <a:pt x="341" y="1011"/>
                  </a:lnTo>
                  <a:lnTo>
                    <a:pt x="347" y="1002"/>
                  </a:lnTo>
                  <a:lnTo>
                    <a:pt x="354" y="997"/>
                  </a:lnTo>
                  <a:lnTo>
                    <a:pt x="361" y="997"/>
                  </a:lnTo>
                  <a:lnTo>
                    <a:pt x="375" y="998"/>
                  </a:lnTo>
                  <a:lnTo>
                    <a:pt x="380" y="996"/>
                  </a:lnTo>
                  <a:lnTo>
                    <a:pt x="387" y="988"/>
                  </a:lnTo>
                  <a:lnTo>
                    <a:pt x="390" y="986"/>
                  </a:lnTo>
                  <a:lnTo>
                    <a:pt x="397" y="985"/>
                  </a:lnTo>
                  <a:lnTo>
                    <a:pt x="383" y="1007"/>
                  </a:lnTo>
                  <a:lnTo>
                    <a:pt x="378" y="1011"/>
                  </a:lnTo>
                  <a:lnTo>
                    <a:pt x="371" y="1014"/>
                  </a:lnTo>
                  <a:lnTo>
                    <a:pt x="363" y="1017"/>
                  </a:lnTo>
                  <a:lnTo>
                    <a:pt x="358" y="1020"/>
                  </a:lnTo>
                  <a:lnTo>
                    <a:pt x="354" y="1027"/>
                  </a:lnTo>
                  <a:lnTo>
                    <a:pt x="352" y="1044"/>
                  </a:lnTo>
                  <a:lnTo>
                    <a:pt x="339" y="1072"/>
                  </a:lnTo>
                  <a:lnTo>
                    <a:pt x="336" y="1087"/>
                  </a:lnTo>
                  <a:lnTo>
                    <a:pt x="340" y="1097"/>
                  </a:lnTo>
                  <a:lnTo>
                    <a:pt x="350" y="1093"/>
                  </a:lnTo>
                  <a:lnTo>
                    <a:pt x="363" y="1087"/>
                  </a:lnTo>
                  <a:lnTo>
                    <a:pt x="378" y="1085"/>
                  </a:lnTo>
                  <a:lnTo>
                    <a:pt x="393" y="1100"/>
                  </a:lnTo>
                  <a:lnTo>
                    <a:pt x="403" y="1103"/>
                  </a:lnTo>
                  <a:lnTo>
                    <a:pt x="405" y="1089"/>
                  </a:lnTo>
                  <a:lnTo>
                    <a:pt x="410" y="1097"/>
                  </a:lnTo>
                  <a:lnTo>
                    <a:pt x="411" y="1103"/>
                  </a:lnTo>
                  <a:lnTo>
                    <a:pt x="408" y="1109"/>
                  </a:lnTo>
                  <a:lnTo>
                    <a:pt x="401" y="1113"/>
                  </a:lnTo>
                  <a:lnTo>
                    <a:pt x="393" y="1112"/>
                  </a:lnTo>
                  <a:lnTo>
                    <a:pt x="388" y="1108"/>
                  </a:lnTo>
                  <a:lnTo>
                    <a:pt x="385" y="1101"/>
                  </a:lnTo>
                  <a:lnTo>
                    <a:pt x="380" y="1099"/>
                  </a:lnTo>
                  <a:lnTo>
                    <a:pt x="362" y="1101"/>
                  </a:lnTo>
                  <a:lnTo>
                    <a:pt x="356" y="1106"/>
                  </a:lnTo>
                  <a:lnTo>
                    <a:pt x="352" y="1116"/>
                  </a:lnTo>
                  <a:lnTo>
                    <a:pt x="346" y="1130"/>
                  </a:lnTo>
                  <a:lnTo>
                    <a:pt x="326" y="1144"/>
                  </a:lnTo>
                  <a:lnTo>
                    <a:pt x="318" y="1154"/>
                  </a:lnTo>
                  <a:lnTo>
                    <a:pt x="321" y="1166"/>
                  </a:lnTo>
                  <a:lnTo>
                    <a:pt x="330" y="1173"/>
                  </a:lnTo>
                  <a:lnTo>
                    <a:pt x="334" y="1174"/>
                  </a:lnTo>
                  <a:lnTo>
                    <a:pt x="348" y="1173"/>
                  </a:lnTo>
                  <a:lnTo>
                    <a:pt x="353" y="1174"/>
                  </a:lnTo>
                  <a:lnTo>
                    <a:pt x="358" y="1183"/>
                  </a:lnTo>
                  <a:lnTo>
                    <a:pt x="364" y="1187"/>
                  </a:lnTo>
                  <a:lnTo>
                    <a:pt x="374" y="1184"/>
                  </a:lnTo>
                  <a:lnTo>
                    <a:pt x="397" y="1171"/>
                  </a:lnTo>
                  <a:lnTo>
                    <a:pt x="408" y="1167"/>
                  </a:lnTo>
                  <a:lnTo>
                    <a:pt x="414" y="1164"/>
                  </a:lnTo>
                  <a:lnTo>
                    <a:pt x="432" y="1143"/>
                  </a:lnTo>
                  <a:lnTo>
                    <a:pt x="438" y="1136"/>
                  </a:lnTo>
                  <a:lnTo>
                    <a:pt x="444" y="1109"/>
                  </a:lnTo>
                  <a:lnTo>
                    <a:pt x="455" y="978"/>
                  </a:lnTo>
                  <a:lnTo>
                    <a:pt x="453" y="958"/>
                  </a:lnTo>
                  <a:lnTo>
                    <a:pt x="434" y="922"/>
                  </a:lnTo>
                  <a:lnTo>
                    <a:pt x="429" y="903"/>
                  </a:lnTo>
                  <a:lnTo>
                    <a:pt x="430" y="883"/>
                  </a:lnTo>
                  <a:lnTo>
                    <a:pt x="436" y="856"/>
                  </a:lnTo>
                  <a:lnTo>
                    <a:pt x="441" y="840"/>
                  </a:lnTo>
                  <a:lnTo>
                    <a:pt x="442" y="834"/>
                  </a:lnTo>
                  <a:lnTo>
                    <a:pt x="448" y="829"/>
                  </a:lnTo>
                  <a:lnTo>
                    <a:pt x="469" y="828"/>
                  </a:lnTo>
                  <a:lnTo>
                    <a:pt x="474" y="826"/>
                  </a:lnTo>
                  <a:lnTo>
                    <a:pt x="475" y="814"/>
                  </a:lnTo>
                  <a:lnTo>
                    <a:pt x="476" y="808"/>
                  </a:lnTo>
                  <a:lnTo>
                    <a:pt x="480" y="805"/>
                  </a:lnTo>
                  <a:lnTo>
                    <a:pt x="520" y="782"/>
                  </a:lnTo>
                  <a:lnTo>
                    <a:pt x="515" y="797"/>
                  </a:lnTo>
                  <a:lnTo>
                    <a:pt x="504" y="804"/>
                  </a:lnTo>
                  <a:lnTo>
                    <a:pt x="493" y="810"/>
                  </a:lnTo>
                  <a:lnTo>
                    <a:pt x="488" y="817"/>
                  </a:lnTo>
                  <a:lnTo>
                    <a:pt x="484" y="832"/>
                  </a:lnTo>
                  <a:lnTo>
                    <a:pt x="477" y="837"/>
                  </a:lnTo>
                  <a:lnTo>
                    <a:pt x="466" y="840"/>
                  </a:lnTo>
                  <a:lnTo>
                    <a:pt x="455" y="851"/>
                  </a:lnTo>
                  <a:lnTo>
                    <a:pt x="461" y="859"/>
                  </a:lnTo>
                  <a:lnTo>
                    <a:pt x="460" y="866"/>
                  </a:lnTo>
                  <a:lnTo>
                    <a:pt x="455" y="871"/>
                  </a:lnTo>
                  <a:lnTo>
                    <a:pt x="452" y="879"/>
                  </a:lnTo>
                  <a:lnTo>
                    <a:pt x="451" y="886"/>
                  </a:lnTo>
                  <a:lnTo>
                    <a:pt x="453" y="891"/>
                  </a:lnTo>
                  <a:lnTo>
                    <a:pt x="455" y="894"/>
                  </a:lnTo>
                  <a:lnTo>
                    <a:pt x="455" y="899"/>
                  </a:lnTo>
                  <a:lnTo>
                    <a:pt x="457" y="901"/>
                  </a:lnTo>
                  <a:lnTo>
                    <a:pt x="466" y="912"/>
                  </a:lnTo>
                  <a:lnTo>
                    <a:pt x="467" y="916"/>
                  </a:lnTo>
                  <a:lnTo>
                    <a:pt x="470" y="919"/>
                  </a:lnTo>
                  <a:lnTo>
                    <a:pt x="469" y="929"/>
                  </a:lnTo>
                  <a:lnTo>
                    <a:pt x="465" y="943"/>
                  </a:lnTo>
                  <a:lnTo>
                    <a:pt x="466" y="951"/>
                  </a:lnTo>
                  <a:lnTo>
                    <a:pt x="470" y="983"/>
                  </a:lnTo>
                  <a:lnTo>
                    <a:pt x="469" y="1022"/>
                  </a:lnTo>
                  <a:lnTo>
                    <a:pt x="470" y="1032"/>
                  </a:lnTo>
                  <a:lnTo>
                    <a:pt x="475" y="1039"/>
                  </a:lnTo>
                  <a:lnTo>
                    <a:pt x="483" y="1053"/>
                  </a:lnTo>
                  <a:lnTo>
                    <a:pt x="496" y="1089"/>
                  </a:lnTo>
                  <a:lnTo>
                    <a:pt x="504" y="1101"/>
                  </a:lnTo>
                  <a:lnTo>
                    <a:pt x="509" y="1104"/>
                  </a:lnTo>
                  <a:lnTo>
                    <a:pt x="517" y="1104"/>
                  </a:lnTo>
                  <a:lnTo>
                    <a:pt x="532" y="1103"/>
                  </a:lnTo>
                  <a:lnTo>
                    <a:pt x="534" y="1108"/>
                  </a:lnTo>
                  <a:lnTo>
                    <a:pt x="543" y="1130"/>
                  </a:lnTo>
                  <a:lnTo>
                    <a:pt x="547" y="1161"/>
                  </a:lnTo>
                  <a:lnTo>
                    <a:pt x="546" y="1177"/>
                  </a:lnTo>
                  <a:lnTo>
                    <a:pt x="541" y="1189"/>
                  </a:lnTo>
                  <a:lnTo>
                    <a:pt x="520" y="1209"/>
                  </a:lnTo>
                  <a:lnTo>
                    <a:pt x="513" y="1220"/>
                  </a:lnTo>
                  <a:lnTo>
                    <a:pt x="499" y="1260"/>
                  </a:lnTo>
                  <a:lnTo>
                    <a:pt x="496" y="1275"/>
                  </a:lnTo>
                  <a:lnTo>
                    <a:pt x="490" y="1290"/>
                  </a:lnTo>
                  <a:lnTo>
                    <a:pt x="488" y="1294"/>
                  </a:lnTo>
                  <a:lnTo>
                    <a:pt x="474" y="1320"/>
                  </a:lnTo>
                  <a:lnTo>
                    <a:pt x="453" y="1388"/>
                  </a:lnTo>
                  <a:lnTo>
                    <a:pt x="452" y="1400"/>
                  </a:lnTo>
                  <a:lnTo>
                    <a:pt x="443" y="1426"/>
                  </a:lnTo>
                  <a:lnTo>
                    <a:pt x="440" y="1441"/>
                  </a:lnTo>
                  <a:lnTo>
                    <a:pt x="447" y="1453"/>
                  </a:lnTo>
                  <a:lnTo>
                    <a:pt x="441" y="1466"/>
                  </a:lnTo>
                  <a:lnTo>
                    <a:pt x="432" y="1479"/>
                  </a:lnTo>
                  <a:lnTo>
                    <a:pt x="434" y="1479"/>
                  </a:lnTo>
                  <a:lnTo>
                    <a:pt x="438" y="1480"/>
                  </a:lnTo>
                  <a:lnTo>
                    <a:pt x="490" y="1482"/>
                  </a:lnTo>
                  <a:lnTo>
                    <a:pt x="496" y="1485"/>
                  </a:lnTo>
                  <a:lnTo>
                    <a:pt x="523" y="1492"/>
                  </a:lnTo>
                  <a:lnTo>
                    <a:pt x="525" y="1479"/>
                  </a:lnTo>
                  <a:lnTo>
                    <a:pt x="527" y="1474"/>
                  </a:lnTo>
                  <a:lnTo>
                    <a:pt x="531" y="1465"/>
                  </a:lnTo>
                  <a:lnTo>
                    <a:pt x="568" y="1421"/>
                  </a:lnTo>
                  <a:lnTo>
                    <a:pt x="568" y="1415"/>
                  </a:lnTo>
                  <a:lnTo>
                    <a:pt x="567" y="1396"/>
                  </a:lnTo>
                  <a:lnTo>
                    <a:pt x="562" y="1377"/>
                  </a:lnTo>
                  <a:lnTo>
                    <a:pt x="561" y="1365"/>
                  </a:lnTo>
                  <a:lnTo>
                    <a:pt x="565" y="1348"/>
                  </a:lnTo>
                  <a:lnTo>
                    <a:pt x="570" y="1332"/>
                  </a:lnTo>
                  <a:lnTo>
                    <a:pt x="717" y="1179"/>
                  </a:lnTo>
                  <a:lnTo>
                    <a:pt x="720" y="1177"/>
                  </a:lnTo>
                  <a:lnTo>
                    <a:pt x="724" y="1175"/>
                  </a:lnTo>
                  <a:lnTo>
                    <a:pt x="728" y="1171"/>
                  </a:lnTo>
                  <a:lnTo>
                    <a:pt x="734" y="1166"/>
                  </a:lnTo>
                  <a:lnTo>
                    <a:pt x="749" y="1151"/>
                  </a:lnTo>
                  <a:lnTo>
                    <a:pt x="752" y="1144"/>
                  </a:lnTo>
                  <a:lnTo>
                    <a:pt x="753" y="1137"/>
                  </a:lnTo>
                  <a:lnTo>
                    <a:pt x="748" y="1129"/>
                  </a:lnTo>
                  <a:lnTo>
                    <a:pt x="740" y="1112"/>
                  </a:lnTo>
                  <a:lnTo>
                    <a:pt x="721" y="1117"/>
                  </a:lnTo>
                  <a:lnTo>
                    <a:pt x="704" y="1126"/>
                  </a:lnTo>
                  <a:lnTo>
                    <a:pt x="695" y="1125"/>
                  </a:lnTo>
                  <a:lnTo>
                    <a:pt x="689" y="1119"/>
                  </a:lnTo>
                  <a:lnTo>
                    <a:pt x="688" y="1111"/>
                  </a:lnTo>
                  <a:lnTo>
                    <a:pt x="726" y="1076"/>
                  </a:lnTo>
                  <a:lnTo>
                    <a:pt x="748" y="1061"/>
                  </a:lnTo>
                  <a:lnTo>
                    <a:pt x="749" y="1058"/>
                  </a:lnTo>
                  <a:lnTo>
                    <a:pt x="747" y="1053"/>
                  </a:lnTo>
                  <a:lnTo>
                    <a:pt x="744" y="1048"/>
                  </a:lnTo>
                  <a:lnTo>
                    <a:pt x="744" y="1043"/>
                  </a:lnTo>
                  <a:lnTo>
                    <a:pt x="748" y="1037"/>
                  </a:lnTo>
                  <a:lnTo>
                    <a:pt x="748" y="1021"/>
                  </a:lnTo>
                  <a:lnTo>
                    <a:pt x="754" y="1012"/>
                  </a:lnTo>
                  <a:lnTo>
                    <a:pt x="761" y="1005"/>
                  </a:lnTo>
                  <a:lnTo>
                    <a:pt x="779" y="991"/>
                  </a:lnTo>
                  <a:lnTo>
                    <a:pt x="789" y="985"/>
                  </a:lnTo>
                  <a:lnTo>
                    <a:pt x="796" y="982"/>
                  </a:lnTo>
                  <a:lnTo>
                    <a:pt x="876" y="968"/>
                  </a:lnTo>
                  <a:lnTo>
                    <a:pt x="889" y="963"/>
                  </a:lnTo>
                  <a:lnTo>
                    <a:pt x="904" y="958"/>
                  </a:lnTo>
                  <a:lnTo>
                    <a:pt x="920" y="949"/>
                  </a:lnTo>
                  <a:lnTo>
                    <a:pt x="929" y="942"/>
                  </a:lnTo>
                  <a:lnTo>
                    <a:pt x="936" y="934"/>
                  </a:lnTo>
                  <a:lnTo>
                    <a:pt x="939" y="929"/>
                  </a:lnTo>
                  <a:lnTo>
                    <a:pt x="946" y="916"/>
                  </a:lnTo>
                  <a:lnTo>
                    <a:pt x="947" y="888"/>
                  </a:lnTo>
                  <a:lnTo>
                    <a:pt x="945" y="88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77009E40-02A6-7EC4-1323-6ECB9A6C3E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545" y="1616853"/>
              <a:ext cx="1387129" cy="1179660"/>
            </a:xfrm>
            <a:custGeom>
              <a:avLst/>
              <a:gdLst>
                <a:gd name="T0" fmla="*/ 1554 w 1618"/>
                <a:gd name="T1" fmla="*/ 898 h 1376"/>
                <a:gd name="T2" fmla="*/ 1479 w 1618"/>
                <a:gd name="T3" fmla="*/ 949 h 1376"/>
                <a:gd name="T4" fmla="*/ 1384 w 1618"/>
                <a:gd name="T5" fmla="*/ 1028 h 1376"/>
                <a:gd name="T6" fmla="*/ 1403 w 1618"/>
                <a:gd name="T7" fmla="*/ 1066 h 1376"/>
                <a:gd name="T8" fmla="*/ 1487 w 1618"/>
                <a:gd name="T9" fmla="*/ 1063 h 1376"/>
                <a:gd name="T10" fmla="*/ 1543 w 1618"/>
                <a:gd name="T11" fmla="*/ 993 h 1376"/>
                <a:gd name="T12" fmla="*/ 621 w 1618"/>
                <a:gd name="T13" fmla="*/ 46 h 1376"/>
                <a:gd name="T14" fmla="*/ 762 w 1618"/>
                <a:gd name="T15" fmla="*/ 240 h 1376"/>
                <a:gd name="T16" fmla="*/ 830 w 1618"/>
                <a:gd name="T17" fmla="*/ 249 h 1376"/>
                <a:gd name="T18" fmla="*/ 781 w 1618"/>
                <a:gd name="T19" fmla="*/ 195 h 1376"/>
                <a:gd name="T20" fmla="*/ 175 w 1618"/>
                <a:gd name="T21" fmla="*/ 745 h 1376"/>
                <a:gd name="T22" fmla="*/ 144 w 1618"/>
                <a:gd name="T23" fmla="*/ 610 h 1376"/>
                <a:gd name="T24" fmla="*/ 0 w 1618"/>
                <a:gd name="T25" fmla="*/ 636 h 1376"/>
                <a:gd name="T26" fmla="*/ 40 w 1618"/>
                <a:gd name="T27" fmla="*/ 738 h 1376"/>
                <a:gd name="T28" fmla="*/ 89 w 1618"/>
                <a:gd name="T29" fmla="*/ 754 h 1376"/>
                <a:gd name="T30" fmla="*/ 1337 w 1618"/>
                <a:gd name="T31" fmla="*/ 1336 h 1376"/>
                <a:gd name="T32" fmla="*/ 1377 w 1618"/>
                <a:gd name="T33" fmla="*/ 1355 h 1376"/>
                <a:gd name="T34" fmla="*/ 958 w 1618"/>
                <a:gd name="T35" fmla="*/ 777 h 1376"/>
                <a:gd name="T36" fmla="*/ 865 w 1618"/>
                <a:gd name="T37" fmla="*/ 775 h 1376"/>
                <a:gd name="T38" fmla="*/ 811 w 1618"/>
                <a:gd name="T39" fmla="*/ 781 h 1376"/>
                <a:gd name="T40" fmla="*/ 753 w 1618"/>
                <a:gd name="T41" fmla="*/ 885 h 1376"/>
                <a:gd name="T42" fmla="*/ 816 w 1618"/>
                <a:gd name="T43" fmla="*/ 935 h 1376"/>
                <a:gd name="T44" fmla="*/ 882 w 1618"/>
                <a:gd name="T45" fmla="*/ 959 h 1376"/>
                <a:gd name="T46" fmla="*/ 951 w 1618"/>
                <a:gd name="T47" fmla="*/ 931 h 1376"/>
                <a:gd name="T48" fmla="*/ 993 w 1618"/>
                <a:gd name="T49" fmla="*/ 874 h 1376"/>
                <a:gd name="T50" fmla="*/ 983 w 1618"/>
                <a:gd name="T51" fmla="*/ 798 h 1376"/>
                <a:gd name="T52" fmla="*/ 809 w 1618"/>
                <a:gd name="T53" fmla="*/ 1261 h 1376"/>
                <a:gd name="T54" fmla="*/ 768 w 1618"/>
                <a:gd name="T55" fmla="*/ 1312 h 1376"/>
                <a:gd name="T56" fmla="*/ 855 w 1618"/>
                <a:gd name="T57" fmla="*/ 1321 h 1376"/>
                <a:gd name="T58" fmla="*/ 870 w 1618"/>
                <a:gd name="T59" fmla="*/ 1298 h 1376"/>
                <a:gd name="T60" fmla="*/ 582 w 1618"/>
                <a:gd name="T61" fmla="*/ 930 h 1376"/>
                <a:gd name="T62" fmla="*/ 530 w 1618"/>
                <a:gd name="T63" fmla="*/ 872 h 1376"/>
                <a:gd name="T64" fmla="*/ 471 w 1618"/>
                <a:gd name="T65" fmla="*/ 815 h 1376"/>
                <a:gd name="T66" fmla="*/ 476 w 1618"/>
                <a:gd name="T67" fmla="*/ 732 h 1376"/>
                <a:gd name="T68" fmla="*/ 453 w 1618"/>
                <a:gd name="T69" fmla="*/ 701 h 1376"/>
                <a:gd name="T70" fmla="*/ 364 w 1618"/>
                <a:gd name="T71" fmla="*/ 631 h 1376"/>
                <a:gd name="T72" fmla="*/ 315 w 1618"/>
                <a:gd name="T73" fmla="*/ 473 h 1376"/>
                <a:gd name="T74" fmla="*/ 270 w 1618"/>
                <a:gd name="T75" fmla="*/ 425 h 1376"/>
                <a:gd name="T76" fmla="*/ 233 w 1618"/>
                <a:gd name="T77" fmla="*/ 344 h 1376"/>
                <a:gd name="T78" fmla="*/ 181 w 1618"/>
                <a:gd name="T79" fmla="*/ 356 h 1376"/>
                <a:gd name="T80" fmla="*/ 54 w 1618"/>
                <a:gd name="T81" fmla="*/ 431 h 1376"/>
                <a:gd name="T82" fmla="*/ 85 w 1618"/>
                <a:gd name="T83" fmla="*/ 469 h 1376"/>
                <a:gd name="T84" fmla="*/ 176 w 1618"/>
                <a:gd name="T85" fmla="*/ 496 h 1376"/>
                <a:gd name="T86" fmla="*/ 178 w 1618"/>
                <a:gd name="T87" fmla="*/ 582 h 1376"/>
                <a:gd name="T88" fmla="*/ 263 w 1618"/>
                <a:gd name="T89" fmla="*/ 679 h 1376"/>
                <a:gd name="T90" fmla="*/ 297 w 1618"/>
                <a:gd name="T91" fmla="*/ 738 h 1376"/>
                <a:gd name="T92" fmla="*/ 387 w 1618"/>
                <a:gd name="T93" fmla="*/ 818 h 1376"/>
                <a:gd name="T94" fmla="*/ 358 w 1618"/>
                <a:gd name="T95" fmla="*/ 876 h 1376"/>
                <a:gd name="T96" fmla="*/ 314 w 1618"/>
                <a:gd name="T97" fmla="*/ 888 h 1376"/>
                <a:gd name="T98" fmla="*/ 242 w 1618"/>
                <a:gd name="T99" fmla="*/ 895 h 1376"/>
                <a:gd name="T100" fmla="*/ 113 w 1618"/>
                <a:gd name="T101" fmla="*/ 1037 h 1376"/>
                <a:gd name="T102" fmla="*/ 155 w 1618"/>
                <a:gd name="T103" fmla="*/ 1098 h 1376"/>
                <a:gd name="T104" fmla="*/ 343 w 1618"/>
                <a:gd name="T105" fmla="*/ 1127 h 1376"/>
                <a:gd name="T106" fmla="*/ 505 w 1618"/>
                <a:gd name="T107" fmla="*/ 1076 h 1376"/>
                <a:gd name="T108" fmla="*/ 570 w 1618"/>
                <a:gd name="T109" fmla="*/ 953 h 1376"/>
                <a:gd name="T110" fmla="*/ 750 w 1618"/>
                <a:gd name="T111" fmla="*/ 623 h 1376"/>
                <a:gd name="T112" fmla="*/ 596 w 1618"/>
                <a:gd name="T113" fmla="*/ 540 h 1376"/>
                <a:gd name="T114" fmla="*/ 562 w 1618"/>
                <a:gd name="T115" fmla="*/ 580 h 1376"/>
                <a:gd name="T116" fmla="*/ 599 w 1618"/>
                <a:gd name="T117" fmla="*/ 663 h 1376"/>
                <a:gd name="T118" fmla="*/ 731 w 1618"/>
                <a:gd name="T119" fmla="*/ 667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8" h="1376">
                  <a:moveTo>
                    <a:pt x="1617" y="894"/>
                  </a:moveTo>
                  <a:lnTo>
                    <a:pt x="1608" y="898"/>
                  </a:lnTo>
                  <a:lnTo>
                    <a:pt x="1599" y="902"/>
                  </a:lnTo>
                  <a:lnTo>
                    <a:pt x="1591" y="902"/>
                  </a:lnTo>
                  <a:lnTo>
                    <a:pt x="1582" y="896"/>
                  </a:lnTo>
                  <a:lnTo>
                    <a:pt x="1574" y="893"/>
                  </a:lnTo>
                  <a:lnTo>
                    <a:pt x="1554" y="898"/>
                  </a:lnTo>
                  <a:lnTo>
                    <a:pt x="1543" y="900"/>
                  </a:lnTo>
                  <a:lnTo>
                    <a:pt x="1536" y="906"/>
                  </a:lnTo>
                  <a:lnTo>
                    <a:pt x="1512" y="915"/>
                  </a:lnTo>
                  <a:lnTo>
                    <a:pt x="1507" y="919"/>
                  </a:lnTo>
                  <a:lnTo>
                    <a:pt x="1503" y="926"/>
                  </a:lnTo>
                  <a:lnTo>
                    <a:pt x="1486" y="942"/>
                  </a:lnTo>
                  <a:lnTo>
                    <a:pt x="1479" y="949"/>
                  </a:lnTo>
                  <a:lnTo>
                    <a:pt x="1469" y="971"/>
                  </a:lnTo>
                  <a:lnTo>
                    <a:pt x="1462" y="979"/>
                  </a:lnTo>
                  <a:lnTo>
                    <a:pt x="1434" y="985"/>
                  </a:lnTo>
                  <a:lnTo>
                    <a:pt x="1426" y="986"/>
                  </a:lnTo>
                  <a:lnTo>
                    <a:pt x="1419" y="1009"/>
                  </a:lnTo>
                  <a:lnTo>
                    <a:pt x="1411" y="1017"/>
                  </a:lnTo>
                  <a:lnTo>
                    <a:pt x="1384" y="1028"/>
                  </a:lnTo>
                  <a:lnTo>
                    <a:pt x="1378" y="1034"/>
                  </a:lnTo>
                  <a:lnTo>
                    <a:pt x="1370" y="1044"/>
                  </a:lnTo>
                  <a:lnTo>
                    <a:pt x="1366" y="1051"/>
                  </a:lnTo>
                  <a:lnTo>
                    <a:pt x="1366" y="1058"/>
                  </a:lnTo>
                  <a:lnTo>
                    <a:pt x="1373" y="1060"/>
                  </a:lnTo>
                  <a:lnTo>
                    <a:pt x="1397" y="1064"/>
                  </a:lnTo>
                  <a:lnTo>
                    <a:pt x="1403" y="1066"/>
                  </a:lnTo>
                  <a:lnTo>
                    <a:pt x="1417" y="1076"/>
                  </a:lnTo>
                  <a:lnTo>
                    <a:pt x="1424" y="1078"/>
                  </a:lnTo>
                  <a:lnTo>
                    <a:pt x="1434" y="1076"/>
                  </a:lnTo>
                  <a:lnTo>
                    <a:pt x="1448" y="1066"/>
                  </a:lnTo>
                  <a:lnTo>
                    <a:pt x="1454" y="1064"/>
                  </a:lnTo>
                  <a:lnTo>
                    <a:pt x="1477" y="1064"/>
                  </a:lnTo>
                  <a:lnTo>
                    <a:pt x="1487" y="1063"/>
                  </a:lnTo>
                  <a:lnTo>
                    <a:pt x="1497" y="1060"/>
                  </a:lnTo>
                  <a:lnTo>
                    <a:pt x="1507" y="1053"/>
                  </a:lnTo>
                  <a:lnTo>
                    <a:pt x="1516" y="1044"/>
                  </a:lnTo>
                  <a:lnTo>
                    <a:pt x="1530" y="1023"/>
                  </a:lnTo>
                  <a:lnTo>
                    <a:pt x="1538" y="1004"/>
                  </a:lnTo>
                  <a:lnTo>
                    <a:pt x="1539" y="997"/>
                  </a:lnTo>
                  <a:lnTo>
                    <a:pt x="1543" y="993"/>
                  </a:lnTo>
                  <a:lnTo>
                    <a:pt x="1567" y="986"/>
                  </a:lnTo>
                  <a:lnTo>
                    <a:pt x="1586" y="970"/>
                  </a:lnTo>
                  <a:lnTo>
                    <a:pt x="1606" y="946"/>
                  </a:lnTo>
                  <a:lnTo>
                    <a:pt x="1618" y="919"/>
                  </a:lnTo>
                  <a:lnTo>
                    <a:pt x="1617" y="894"/>
                  </a:lnTo>
                  <a:close/>
                  <a:moveTo>
                    <a:pt x="610" y="66"/>
                  </a:moveTo>
                  <a:lnTo>
                    <a:pt x="621" y="46"/>
                  </a:lnTo>
                  <a:lnTo>
                    <a:pt x="612" y="15"/>
                  </a:lnTo>
                  <a:lnTo>
                    <a:pt x="585" y="0"/>
                  </a:lnTo>
                  <a:lnTo>
                    <a:pt x="580" y="12"/>
                  </a:lnTo>
                  <a:lnTo>
                    <a:pt x="585" y="40"/>
                  </a:lnTo>
                  <a:lnTo>
                    <a:pt x="580" y="54"/>
                  </a:lnTo>
                  <a:lnTo>
                    <a:pt x="610" y="66"/>
                  </a:lnTo>
                  <a:close/>
                  <a:moveTo>
                    <a:pt x="762" y="240"/>
                  </a:moveTo>
                  <a:lnTo>
                    <a:pt x="768" y="245"/>
                  </a:lnTo>
                  <a:lnTo>
                    <a:pt x="775" y="247"/>
                  </a:lnTo>
                  <a:lnTo>
                    <a:pt x="783" y="249"/>
                  </a:lnTo>
                  <a:lnTo>
                    <a:pt x="792" y="258"/>
                  </a:lnTo>
                  <a:lnTo>
                    <a:pt x="801" y="261"/>
                  </a:lnTo>
                  <a:lnTo>
                    <a:pt x="815" y="258"/>
                  </a:lnTo>
                  <a:lnTo>
                    <a:pt x="830" y="249"/>
                  </a:lnTo>
                  <a:lnTo>
                    <a:pt x="842" y="239"/>
                  </a:lnTo>
                  <a:lnTo>
                    <a:pt x="846" y="229"/>
                  </a:lnTo>
                  <a:lnTo>
                    <a:pt x="840" y="216"/>
                  </a:lnTo>
                  <a:lnTo>
                    <a:pt x="827" y="205"/>
                  </a:lnTo>
                  <a:lnTo>
                    <a:pt x="811" y="197"/>
                  </a:lnTo>
                  <a:lnTo>
                    <a:pt x="795" y="193"/>
                  </a:lnTo>
                  <a:lnTo>
                    <a:pt x="781" y="195"/>
                  </a:lnTo>
                  <a:lnTo>
                    <a:pt x="766" y="203"/>
                  </a:lnTo>
                  <a:lnTo>
                    <a:pt x="756" y="214"/>
                  </a:lnTo>
                  <a:lnTo>
                    <a:pt x="754" y="229"/>
                  </a:lnTo>
                  <a:lnTo>
                    <a:pt x="757" y="233"/>
                  </a:lnTo>
                  <a:lnTo>
                    <a:pt x="762" y="240"/>
                  </a:lnTo>
                  <a:close/>
                  <a:moveTo>
                    <a:pt x="128" y="763"/>
                  </a:moveTo>
                  <a:lnTo>
                    <a:pt x="175" y="745"/>
                  </a:lnTo>
                  <a:lnTo>
                    <a:pt x="181" y="740"/>
                  </a:lnTo>
                  <a:lnTo>
                    <a:pt x="181" y="683"/>
                  </a:lnTo>
                  <a:lnTo>
                    <a:pt x="184" y="658"/>
                  </a:lnTo>
                  <a:lnTo>
                    <a:pt x="182" y="644"/>
                  </a:lnTo>
                  <a:lnTo>
                    <a:pt x="174" y="637"/>
                  </a:lnTo>
                  <a:lnTo>
                    <a:pt x="168" y="634"/>
                  </a:lnTo>
                  <a:lnTo>
                    <a:pt x="144" y="610"/>
                  </a:lnTo>
                  <a:lnTo>
                    <a:pt x="137" y="605"/>
                  </a:lnTo>
                  <a:lnTo>
                    <a:pt x="132" y="605"/>
                  </a:lnTo>
                  <a:lnTo>
                    <a:pt x="117" y="610"/>
                  </a:lnTo>
                  <a:lnTo>
                    <a:pt x="86" y="617"/>
                  </a:lnTo>
                  <a:lnTo>
                    <a:pt x="61" y="630"/>
                  </a:lnTo>
                  <a:lnTo>
                    <a:pt x="2" y="629"/>
                  </a:lnTo>
                  <a:lnTo>
                    <a:pt x="0" y="636"/>
                  </a:lnTo>
                  <a:lnTo>
                    <a:pt x="9" y="662"/>
                  </a:lnTo>
                  <a:lnTo>
                    <a:pt x="13" y="693"/>
                  </a:lnTo>
                  <a:lnTo>
                    <a:pt x="19" y="708"/>
                  </a:lnTo>
                  <a:lnTo>
                    <a:pt x="27" y="722"/>
                  </a:lnTo>
                  <a:lnTo>
                    <a:pt x="39" y="734"/>
                  </a:lnTo>
                  <a:lnTo>
                    <a:pt x="40" y="736"/>
                  </a:lnTo>
                  <a:lnTo>
                    <a:pt x="40" y="738"/>
                  </a:lnTo>
                  <a:lnTo>
                    <a:pt x="40" y="740"/>
                  </a:lnTo>
                  <a:lnTo>
                    <a:pt x="44" y="742"/>
                  </a:lnTo>
                  <a:lnTo>
                    <a:pt x="47" y="744"/>
                  </a:lnTo>
                  <a:lnTo>
                    <a:pt x="53" y="742"/>
                  </a:lnTo>
                  <a:lnTo>
                    <a:pt x="57" y="742"/>
                  </a:lnTo>
                  <a:lnTo>
                    <a:pt x="77" y="751"/>
                  </a:lnTo>
                  <a:lnTo>
                    <a:pt x="89" y="754"/>
                  </a:lnTo>
                  <a:lnTo>
                    <a:pt x="103" y="764"/>
                  </a:lnTo>
                  <a:lnTo>
                    <a:pt x="110" y="766"/>
                  </a:lnTo>
                  <a:lnTo>
                    <a:pt x="116" y="765"/>
                  </a:lnTo>
                  <a:lnTo>
                    <a:pt x="128" y="763"/>
                  </a:lnTo>
                  <a:close/>
                  <a:moveTo>
                    <a:pt x="1364" y="1341"/>
                  </a:moveTo>
                  <a:lnTo>
                    <a:pt x="1346" y="1335"/>
                  </a:lnTo>
                  <a:lnTo>
                    <a:pt x="1337" y="1336"/>
                  </a:lnTo>
                  <a:lnTo>
                    <a:pt x="1306" y="1337"/>
                  </a:lnTo>
                  <a:lnTo>
                    <a:pt x="1296" y="1335"/>
                  </a:lnTo>
                  <a:lnTo>
                    <a:pt x="1282" y="1348"/>
                  </a:lnTo>
                  <a:lnTo>
                    <a:pt x="1336" y="1373"/>
                  </a:lnTo>
                  <a:lnTo>
                    <a:pt x="1358" y="1376"/>
                  </a:lnTo>
                  <a:lnTo>
                    <a:pt x="1378" y="1370"/>
                  </a:lnTo>
                  <a:lnTo>
                    <a:pt x="1377" y="1355"/>
                  </a:lnTo>
                  <a:lnTo>
                    <a:pt x="1364" y="1341"/>
                  </a:lnTo>
                  <a:close/>
                  <a:moveTo>
                    <a:pt x="983" y="798"/>
                  </a:moveTo>
                  <a:lnTo>
                    <a:pt x="970" y="794"/>
                  </a:lnTo>
                  <a:lnTo>
                    <a:pt x="963" y="793"/>
                  </a:lnTo>
                  <a:lnTo>
                    <a:pt x="958" y="791"/>
                  </a:lnTo>
                  <a:lnTo>
                    <a:pt x="958" y="785"/>
                  </a:lnTo>
                  <a:lnTo>
                    <a:pt x="958" y="777"/>
                  </a:lnTo>
                  <a:lnTo>
                    <a:pt x="957" y="771"/>
                  </a:lnTo>
                  <a:lnTo>
                    <a:pt x="954" y="767"/>
                  </a:lnTo>
                  <a:lnTo>
                    <a:pt x="950" y="764"/>
                  </a:lnTo>
                  <a:lnTo>
                    <a:pt x="946" y="762"/>
                  </a:lnTo>
                  <a:lnTo>
                    <a:pt x="943" y="761"/>
                  </a:lnTo>
                  <a:lnTo>
                    <a:pt x="928" y="768"/>
                  </a:lnTo>
                  <a:lnTo>
                    <a:pt x="865" y="775"/>
                  </a:lnTo>
                  <a:lnTo>
                    <a:pt x="860" y="777"/>
                  </a:lnTo>
                  <a:lnTo>
                    <a:pt x="853" y="783"/>
                  </a:lnTo>
                  <a:lnTo>
                    <a:pt x="846" y="784"/>
                  </a:lnTo>
                  <a:lnTo>
                    <a:pt x="841" y="784"/>
                  </a:lnTo>
                  <a:lnTo>
                    <a:pt x="826" y="779"/>
                  </a:lnTo>
                  <a:lnTo>
                    <a:pt x="818" y="779"/>
                  </a:lnTo>
                  <a:lnTo>
                    <a:pt x="811" y="781"/>
                  </a:lnTo>
                  <a:lnTo>
                    <a:pt x="792" y="789"/>
                  </a:lnTo>
                  <a:lnTo>
                    <a:pt x="786" y="793"/>
                  </a:lnTo>
                  <a:lnTo>
                    <a:pt x="776" y="805"/>
                  </a:lnTo>
                  <a:lnTo>
                    <a:pt x="766" y="819"/>
                  </a:lnTo>
                  <a:lnTo>
                    <a:pt x="759" y="836"/>
                  </a:lnTo>
                  <a:lnTo>
                    <a:pt x="754" y="853"/>
                  </a:lnTo>
                  <a:lnTo>
                    <a:pt x="753" y="885"/>
                  </a:lnTo>
                  <a:lnTo>
                    <a:pt x="754" y="894"/>
                  </a:lnTo>
                  <a:lnTo>
                    <a:pt x="762" y="901"/>
                  </a:lnTo>
                  <a:lnTo>
                    <a:pt x="774" y="906"/>
                  </a:lnTo>
                  <a:lnTo>
                    <a:pt x="786" y="909"/>
                  </a:lnTo>
                  <a:lnTo>
                    <a:pt x="795" y="908"/>
                  </a:lnTo>
                  <a:lnTo>
                    <a:pt x="802" y="915"/>
                  </a:lnTo>
                  <a:lnTo>
                    <a:pt x="816" y="935"/>
                  </a:lnTo>
                  <a:lnTo>
                    <a:pt x="820" y="940"/>
                  </a:lnTo>
                  <a:lnTo>
                    <a:pt x="825" y="942"/>
                  </a:lnTo>
                  <a:lnTo>
                    <a:pt x="828" y="945"/>
                  </a:lnTo>
                  <a:lnTo>
                    <a:pt x="832" y="948"/>
                  </a:lnTo>
                  <a:lnTo>
                    <a:pt x="846" y="950"/>
                  </a:lnTo>
                  <a:lnTo>
                    <a:pt x="869" y="959"/>
                  </a:lnTo>
                  <a:lnTo>
                    <a:pt x="882" y="959"/>
                  </a:lnTo>
                  <a:lnTo>
                    <a:pt x="893" y="958"/>
                  </a:lnTo>
                  <a:lnTo>
                    <a:pt x="903" y="950"/>
                  </a:lnTo>
                  <a:lnTo>
                    <a:pt x="906" y="937"/>
                  </a:lnTo>
                  <a:lnTo>
                    <a:pt x="909" y="935"/>
                  </a:lnTo>
                  <a:lnTo>
                    <a:pt x="942" y="936"/>
                  </a:lnTo>
                  <a:lnTo>
                    <a:pt x="945" y="935"/>
                  </a:lnTo>
                  <a:lnTo>
                    <a:pt x="951" y="931"/>
                  </a:lnTo>
                  <a:lnTo>
                    <a:pt x="960" y="921"/>
                  </a:lnTo>
                  <a:lnTo>
                    <a:pt x="967" y="908"/>
                  </a:lnTo>
                  <a:lnTo>
                    <a:pt x="975" y="898"/>
                  </a:lnTo>
                  <a:lnTo>
                    <a:pt x="986" y="894"/>
                  </a:lnTo>
                  <a:lnTo>
                    <a:pt x="986" y="890"/>
                  </a:lnTo>
                  <a:lnTo>
                    <a:pt x="991" y="876"/>
                  </a:lnTo>
                  <a:lnTo>
                    <a:pt x="993" y="874"/>
                  </a:lnTo>
                  <a:lnTo>
                    <a:pt x="993" y="866"/>
                  </a:lnTo>
                  <a:lnTo>
                    <a:pt x="988" y="856"/>
                  </a:lnTo>
                  <a:lnTo>
                    <a:pt x="988" y="849"/>
                  </a:lnTo>
                  <a:lnTo>
                    <a:pt x="997" y="820"/>
                  </a:lnTo>
                  <a:lnTo>
                    <a:pt x="998" y="804"/>
                  </a:lnTo>
                  <a:lnTo>
                    <a:pt x="990" y="798"/>
                  </a:lnTo>
                  <a:lnTo>
                    <a:pt x="983" y="798"/>
                  </a:lnTo>
                  <a:close/>
                  <a:moveTo>
                    <a:pt x="869" y="1281"/>
                  </a:moveTo>
                  <a:lnTo>
                    <a:pt x="866" y="1279"/>
                  </a:lnTo>
                  <a:lnTo>
                    <a:pt x="865" y="1278"/>
                  </a:lnTo>
                  <a:lnTo>
                    <a:pt x="857" y="1269"/>
                  </a:lnTo>
                  <a:lnTo>
                    <a:pt x="841" y="1261"/>
                  </a:lnTo>
                  <a:lnTo>
                    <a:pt x="822" y="1258"/>
                  </a:lnTo>
                  <a:lnTo>
                    <a:pt x="809" y="1261"/>
                  </a:lnTo>
                  <a:lnTo>
                    <a:pt x="803" y="1252"/>
                  </a:lnTo>
                  <a:lnTo>
                    <a:pt x="795" y="1256"/>
                  </a:lnTo>
                  <a:lnTo>
                    <a:pt x="789" y="1267"/>
                  </a:lnTo>
                  <a:lnTo>
                    <a:pt x="785" y="1286"/>
                  </a:lnTo>
                  <a:lnTo>
                    <a:pt x="780" y="1296"/>
                  </a:lnTo>
                  <a:lnTo>
                    <a:pt x="775" y="1305"/>
                  </a:lnTo>
                  <a:lnTo>
                    <a:pt x="768" y="1312"/>
                  </a:lnTo>
                  <a:lnTo>
                    <a:pt x="782" y="1320"/>
                  </a:lnTo>
                  <a:lnTo>
                    <a:pt x="791" y="1329"/>
                  </a:lnTo>
                  <a:lnTo>
                    <a:pt x="801" y="1336"/>
                  </a:lnTo>
                  <a:lnTo>
                    <a:pt x="826" y="1339"/>
                  </a:lnTo>
                  <a:lnTo>
                    <a:pt x="830" y="1338"/>
                  </a:lnTo>
                  <a:lnTo>
                    <a:pt x="852" y="1325"/>
                  </a:lnTo>
                  <a:lnTo>
                    <a:pt x="855" y="1321"/>
                  </a:lnTo>
                  <a:lnTo>
                    <a:pt x="856" y="1318"/>
                  </a:lnTo>
                  <a:lnTo>
                    <a:pt x="855" y="1310"/>
                  </a:lnTo>
                  <a:lnTo>
                    <a:pt x="855" y="1307"/>
                  </a:lnTo>
                  <a:lnTo>
                    <a:pt x="858" y="1306"/>
                  </a:lnTo>
                  <a:lnTo>
                    <a:pt x="868" y="1303"/>
                  </a:lnTo>
                  <a:lnTo>
                    <a:pt x="869" y="1300"/>
                  </a:lnTo>
                  <a:lnTo>
                    <a:pt x="870" y="1298"/>
                  </a:lnTo>
                  <a:lnTo>
                    <a:pt x="871" y="1296"/>
                  </a:lnTo>
                  <a:lnTo>
                    <a:pt x="873" y="1294"/>
                  </a:lnTo>
                  <a:lnTo>
                    <a:pt x="873" y="1290"/>
                  </a:lnTo>
                  <a:lnTo>
                    <a:pt x="872" y="1284"/>
                  </a:lnTo>
                  <a:lnTo>
                    <a:pt x="869" y="1281"/>
                  </a:lnTo>
                  <a:close/>
                  <a:moveTo>
                    <a:pt x="586" y="930"/>
                  </a:moveTo>
                  <a:lnTo>
                    <a:pt x="582" y="930"/>
                  </a:lnTo>
                  <a:lnTo>
                    <a:pt x="575" y="927"/>
                  </a:lnTo>
                  <a:lnTo>
                    <a:pt x="553" y="903"/>
                  </a:lnTo>
                  <a:lnTo>
                    <a:pt x="543" y="900"/>
                  </a:lnTo>
                  <a:lnTo>
                    <a:pt x="548" y="890"/>
                  </a:lnTo>
                  <a:lnTo>
                    <a:pt x="544" y="882"/>
                  </a:lnTo>
                  <a:lnTo>
                    <a:pt x="538" y="876"/>
                  </a:lnTo>
                  <a:lnTo>
                    <a:pt x="530" y="872"/>
                  </a:lnTo>
                  <a:lnTo>
                    <a:pt x="520" y="871"/>
                  </a:lnTo>
                  <a:lnTo>
                    <a:pt x="521" y="856"/>
                  </a:lnTo>
                  <a:lnTo>
                    <a:pt x="507" y="849"/>
                  </a:lnTo>
                  <a:lnTo>
                    <a:pt x="479" y="844"/>
                  </a:lnTo>
                  <a:lnTo>
                    <a:pt x="476" y="833"/>
                  </a:lnTo>
                  <a:lnTo>
                    <a:pt x="476" y="822"/>
                  </a:lnTo>
                  <a:lnTo>
                    <a:pt x="471" y="815"/>
                  </a:lnTo>
                  <a:lnTo>
                    <a:pt x="456" y="825"/>
                  </a:lnTo>
                  <a:lnTo>
                    <a:pt x="462" y="815"/>
                  </a:lnTo>
                  <a:lnTo>
                    <a:pt x="480" y="799"/>
                  </a:lnTo>
                  <a:lnTo>
                    <a:pt x="483" y="787"/>
                  </a:lnTo>
                  <a:lnTo>
                    <a:pt x="481" y="759"/>
                  </a:lnTo>
                  <a:lnTo>
                    <a:pt x="475" y="734"/>
                  </a:lnTo>
                  <a:lnTo>
                    <a:pt x="476" y="732"/>
                  </a:lnTo>
                  <a:lnTo>
                    <a:pt x="478" y="728"/>
                  </a:lnTo>
                  <a:lnTo>
                    <a:pt x="479" y="724"/>
                  </a:lnTo>
                  <a:lnTo>
                    <a:pt x="479" y="720"/>
                  </a:lnTo>
                  <a:lnTo>
                    <a:pt x="468" y="718"/>
                  </a:lnTo>
                  <a:lnTo>
                    <a:pt x="465" y="715"/>
                  </a:lnTo>
                  <a:lnTo>
                    <a:pt x="456" y="707"/>
                  </a:lnTo>
                  <a:lnTo>
                    <a:pt x="453" y="701"/>
                  </a:lnTo>
                  <a:lnTo>
                    <a:pt x="451" y="695"/>
                  </a:lnTo>
                  <a:lnTo>
                    <a:pt x="447" y="687"/>
                  </a:lnTo>
                  <a:lnTo>
                    <a:pt x="378" y="644"/>
                  </a:lnTo>
                  <a:lnTo>
                    <a:pt x="376" y="643"/>
                  </a:lnTo>
                  <a:lnTo>
                    <a:pt x="371" y="642"/>
                  </a:lnTo>
                  <a:lnTo>
                    <a:pt x="366" y="638"/>
                  </a:lnTo>
                  <a:lnTo>
                    <a:pt x="364" y="631"/>
                  </a:lnTo>
                  <a:lnTo>
                    <a:pt x="364" y="622"/>
                  </a:lnTo>
                  <a:lnTo>
                    <a:pt x="364" y="619"/>
                  </a:lnTo>
                  <a:lnTo>
                    <a:pt x="361" y="616"/>
                  </a:lnTo>
                  <a:lnTo>
                    <a:pt x="334" y="591"/>
                  </a:lnTo>
                  <a:lnTo>
                    <a:pt x="326" y="579"/>
                  </a:lnTo>
                  <a:lnTo>
                    <a:pt x="313" y="504"/>
                  </a:lnTo>
                  <a:lnTo>
                    <a:pt x="315" y="473"/>
                  </a:lnTo>
                  <a:lnTo>
                    <a:pt x="314" y="456"/>
                  </a:lnTo>
                  <a:lnTo>
                    <a:pt x="310" y="444"/>
                  </a:lnTo>
                  <a:lnTo>
                    <a:pt x="305" y="442"/>
                  </a:lnTo>
                  <a:lnTo>
                    <a:pt x="298" y="440"/>
                  </a:lnTo>
                  <a:lnTo>
                    <a:pt x="284" y="440"/>
                  </a:lnTo>
                  <a:lnTo>
                    <a:pt x="280" y="437"/>
                  </a:lnTo>
                  <a:lnTo>
                    <a:pt x="270" y="425"/>
                  </a:lnTo>
                  <a:lnTo>
                    <a:pt x="266" y="422"/>
                  </a:lnTo>
                  <a:lnTo>
                    <a:pt x="260" y="415"/>
                  </a:lnTo>
                  <a:lnTo>
                    <a:pt x="252" y="387"/>
                  </a:lnTo>
                  <a:lnTo>
                    <a:pt x="243" y="381"/>
                  </a:lnTo>
                  <a:lnTo>
                    <a:pt x="241" y="374"/>
                  </a:lnTo>
                  <a:lnTo>
                    <a:pt x="239" y="360"/>
                  </a:lnTo>
                  <a:lnTo>
                    <a:pt x="233" y="344"/>
                  </a:lnTo>
                  <a:lnTo>
                    <a:pt x="222" y="334"/>
                  </a:lnTo>
                  <a:lnTo>
                    <a:pt x="215" y="337"/>
                  </a:lnTo>
                  <a:lnTo>
                    <a:pt x="203" y="336"/>
                  </a:lnTo>
                  <a:lnTo>
                    <a:pt x="195" y="339"/>
                  </a:lnTo>
                  <a:lnTo>
                    <a:pt x="190" y="344"/>
                  </a:lnTo>
                  <a:lnTo>
                    <a:pt x="185" y="350"/>
                  </a:lnTo>
                  <a:lnTo>
                    <a:pt x="181" y="356"/>
                  </a:lnTo>
                  <a:lnTo>
                    <a:pt x="159" y="361"/>
                  </a:lnTo>
                  <a:lnTo>
                    <a:pt x="146" y="368"/>
                  </a:lnTo>
                  <a:lnTo>
                    <a:pt x="133" y="372"/>
                  </a:lnTo>
                  <a:lnTo>
                    <a:pt x="117" y="366"/>
                  </a:lnTo>
                  <a:lnTo>
                    <a:pt x="112" y="394"/>
                  </a:lnTo>
                  <a:lnTo>
                    <a:pt x="99" y="407"/>
                  </a:lnTo>
                  <a:lnTo>
                    <a:pt x="54" y="431"/>
                  </a:lnTo>
                  <a:lnTo>
                    <a:pt x="49" y="434"/>
                  </a:lnTo>
                  <a:lnTo>
                    <a:pt x="45" y="437"/>
                  </a:lnTo>
                  <a:lnTo>
                    <a:pt x="44" y="442"/>
                  </a:lnTo>
                  <a:lnTo>
                    <a:pt x="46" y="447"/>
                  </a:lnTo>
                  <a:lnTo>
                    <a:pt x="60" y="465"/>
                  </a:lnTo>
                  <a:lnTo>
                    <a:pt x="73" y="472"/>
                  </a:lnTo>
                  <a:lnTo>
                    <a:pt x="85" y="469"/>
                  </a:lnTo>
                  <a:lnTo>
                    <a:pt x="107" y="454"/>
                  </a:lnTo>
                  <a:lnTo>
                    <a:pt x="130" y="444"/>
                  </a:lnTo>
                  <a:lnTo>
                    <a:pt x="152" y="446"/>
                  </a:lnTo>
                  <a:lnTo>
                    <a:pt x="166" y="456"/>
                  </a:lnTo>
                  <a:lnTo>
                    <a:pt x="172" y="479"/>
                  </a:lnTo>
                  <a:lnTo>
                    <a:pt x="172" y="486"/>
                  </a:lnTo>
                  <a:lnTo>
                    <a:pt x="176" y="496"/>
                  </a:lnTo>
                  <a:lnTo>
                    <a:pt x="176" y="502"/>
                  </a:lnTo>
                  <a:lnTo>
                    <a:pt x="176" y="525"/>
                  </a:lnTo>
                  <a:lnTo>
                    <a:pt x="178" y="537"/>
                  </a:lnTo>
                  <a:lnTo>
                    <a:pt x="182" y="546"/>
                  </a:lnTo>
                  <a:lnTo>
                    <a:pt x="195" y="564"/>
                  </a:lnTo>
                  <a:lnTo>
                    <a:pt x="179" y="569"/>
                  </a:lnTo>
                  <a:lnTo>
                    <a:pt x="178" y="582"/>
                  </a:lnTo>
                  <a:lnTo>
                    <a:pt x="187" y="597"/>
                  </a:lnTo>
                  <a:lnTo>
                    <a:pt x="200" y="605"/>
                  </a:lnTo>
                  <a:lnTo>
                    <a:pt x="198" y="627"/>
                  </a:lnTo>
                  <a:lnTo>
                    <a:pt x="214" y="643"/>
                  </a:lnTo>
                  <a:lnTo>
                    <a:pt x="255" y="664"/>
                  </a:lnTo>
                  <a:lnTo>
                    <a:pt x="261" y="675"/>
                  </a:lnTo>
                  <a:lnTo>
                    <a:pt x="263" y="679"/>
                  </a:lnTo>
                  <a:lnTo>
                    <a:pt x="268" y="681"/>
                  </a:lnTo>
                  <a:lnTo>
                    <a:pt x="276" y="682"/>
                  </a:lnTo>
                  <a:lnTo>
                    <a:pt x="282" y="683"/>
                  </a:lnTo>
                  <a:lnTo>
                    <a:pt x="289" y="689"/>
                  </a:lnTo>
                  <a:lnTo>
                    <a:pt x="292" y="696"/>
                  </a:lnTo>
                  <a:lnTo>
                    <a:pt x="291" y="715"/>
                  </a:lnTo>
                  <a:lnTo>
                    <a:pt x="297" y="738"/>
                  </a:lnTo>
                  <a:lnTo>
                    <a:pt x="310" y="762"/>
                  </a:lnTo>
                  <a:lnTo>
                    <a:pt x="325" y="784"/>
                  </a:lnTo>
                  <a:lnTo>
                    <a:pt x="341" y="798"/>
                  </a:lnTo>
                  <a:lnTo>
                    <a:pt x="349" y="801"/>
                  </a:lnTo>
                  <a:lnTo>
                    <a:pt x="370" y="807"/>
                  </a:lnTo>
                  <a:lnTo>
                    <a:pt x="378" y="812"/>
                  </a:lnTo>
                  <a:lnTo>
                    <a:pt x="387" y="818"/>
                  </a:lnTo>
                  <a:lnTo>
                    <a:pt x="391" y="827"/>
                  </a:lnTo>
                  <a:lnTo>
                    <a:pt x="391" y="838"/>
                  </a:lnTo>
                  <a:lnTo>
                    <a:pt x="383" y="849"/>
                  </a:lnTo>
                  <a:lnTo>
                    <a:pt x="373" y="844"/>
                  </a:lnTo>
                  <a:lnTo>
                    <a:pt x="364" y="855"/>
                  </a:lnTo>
                  <a:lnTo>
                    <a:pt x="358" y="869"/>
                  </a:lnTo>
                  <a:lnTo>
                    <a:pt x="358" y="876"/>
                  </a:lnTo>
                  <a:lnTo>
                    <a:pt x="353" y="878"/>
                  </a:lnTo>
                  <a:lnTo>
                    <a:pt x="348" y="888"/>
                  </a:lnTo>
                  <a:lnTo>
                    <a:pt x="344" y="892"/>
                  </a:lnTo>
                  <a:lnTo>
                    <a:pt x="337" y="894"/>
                  </a:lnTo>
                  <a:lnTo>
                    <a:pt x="330" y="894"/>
                  </a:lnTo>
                  <a:lnTo>
                    <a:pt x="319" y="890"/>
                  </a:lnTo>
                  <a:lnTo>
                    <a:pt x="314" y="888"/>
                  </a:lnTo>
                  <a:lnTo>
                    <a:pt x="312" y="885"/>
                  </a:lnTo>
                  <a:lnTo>
                    <a:pt x="308" y="882"/>
                  </a:lnTo>
                  <a:lnTo>
                    <a:pt x="300" y="880"/>
                  </a:lnTo>
                  <a:lnTo>
                    <a:pt x="293" y="881"/>
                  </a:lnTo>
                  <a:lnTo>
                    <a:pt x="269" y="887"/>
                  </a:lnTo>
                  <a:lnTo>
                    <a:pt x="253" y="894"/>
                  </a:lnTo>
                  <a:lnTo>
                    <a:pt x="242" y="895"/>
                  </a:lnTo>
                  <a:lnTo>
                    <a:pt x="240" y="898"/>
                  </a:lnTo>
                  <a:lnTo>
                    <a:pt x="240" y="903"/>
                  </a:lnTo>
                  <a:lnTo>
                    <a:pt x="236" y="908"/>
                  </a:lnTo>
                  <a:lnTo>
                    <a:pt x="158" y="959"/>
                  </a:lnTo>
                  <a:lnTo>
                    <a:pt x="138" y="979"/>
                  </a:lnTo>
                  <a:lnTo>
                    <a:pt x="119" y="1007"/>
                  </a:lnTo>
                  <a:lnTo>
                    <a:pt x="113" y="1037"/>
                  </a:lnTo>
                  <a:lnTo>
                    <a:pt x="130" y="1064"/>
                  </a:lnTo>
                  <a:lnTo>
                    <a:pt x="138" y="1066"/>
                  </a:lnTo>
                  <a:lnTo>
                    <a:pt x="145" y="1066"/>
                  </a:lnTo>
                  <a:lnTo>
                    <a:pt x="151" y="1068"/>
                  </a:lnTo>
                  <a:lnTo>
                    <a:pt x="154" y="1075"/>
                  </a:lnTo>
                  <a:lnTo>
                    <a:pt x="154" y="1091"/>
                  </a:lnTo>
                  <a:lnTo>
                    <a:pt x="155" y="1098"/>
                  </a:lnTo>
                  <a:lnTo>
                    <a:pt x="158" y="1105"/>
                  </a:lnTo>
                  <a:lnTo>
                    <a:pt x="168" y="1115"/>
                  </a:lnTo>
                  <a:lnTo>
                    <a:pt x="182" y="1120"/>
                  </a:lnTo>
                  <a:lnTo>
                    <a:pt x="257" y="1118"/>
                  </a:lnTo>
                  <a:lnTo>
                    <a:pt x="318" y="1127"/>
                  </a:lnTo>
                  <a:lnTo>
                    <a:pt x="327" y="1124"/>
                  </a:lnTo>
                  <a:lnTo>
                    <a:pt x="343" y="1127"/>
                  </a:lnTo>
                  <a:lnTo>
                    <a:pt x="419" y="1102"/>
                  </a:lnTo>
                  <a:lnTo>
                    <a:pt x="441" y="1086"/>
                  </a:lnTo>
                  <a:lnTo>
                    <a:pt x="454" y="1083"/>
                  </a:lnTo>
                  <a:lnTo>
                    <a:pt x="475" y="1081"/>
                  </a:lnTo>
                  <a:lnTo>
                    <a:pt x="486" y="1082"/>
                  </a:lnTo>
                  <a:lnTo>
                    <a:pt x="497" y="1087"/>
                  </a:lnTo>
                  <a:lnTo>
                    <a:pt x="505" y="1076"/>
                  </a:lnTo>
                  <a:lnTo>
                    <a:pt x="522" y="1057"/>
                  </a:lnTo>
                  <a:lnTo>
                    <a:pt x="530" y="1046"/>
                  </a:lnTo>
                  <a:lnTo>
                    <a:pt x="544" y="1050"/>
                  </a:lnTo>
                  <a:lnTo>
                    <a:pt x="545" y="1038"/>
                  </a:lnTo>
                  <a:lnTo>
                    <a:pt x="543" y="1022"/>
                  </a:lnTo>
                  <a:lnTo>
                    <a:pt x="564" y="956"/>
                  </a:lnTo>
                  <a:lnTo>
                    <a:pt x="570" y="953"/>
                  </a:lnTo>
                  <a:lnTo>
                    <a:pt x="586" y="946"/>
                  </a:lnTo>
                  <a:lnTo>
                    <a:pt x="590" y="942"/>
                  </a:lnTo>
                  <a:lnTo>
                    <a:pt x="588" y="932"/>
                  </a:lnTo>
                  <a:lnTo>
                    <a:pt x="586" y="930"/>
                  </a:lnTo>
                  <a:close/>
                  <a:moveTo>
                    <a:pt x="744" y="625"/>
                  </a:moveTo>
                  <a:lnTo>
                    <a:pt x="747" y="624"/>
                  </a:lnTo>
                  <a:lnTo>
                    <a:pt x="750" y="623"/>
                  </a:lnTo>
                  <a:lnTo>
                    <a:pt x="730" y="611"/>
                  </a:lnTo>
                  <a:lnTo>
                    <a:pt x="696" y="572"/>
                  </a:lnTo>
                  <a:lnTo>
                    <a:pt x="674" y="564"/>
                  </a:lnTo>
                  <a:lnTo>
                    <a:pt x="658" y="561"/>
                  </a:lnTo>
                  <a:lnTo>
                    <a:pt x="612" y="545"/>
                  </a:lnTo>
                  <a:lnTo>
                    <a:pt x="598" y="537"/>
                  </a:lnTo>
                  <a:lnTo>
                    <a:pt x="596" y="540"/>
                  </a:lnTo>
                  <a:lnTo>
                    <a:pt x="594" y="540"/>
                  </a:lnTo>
                  <a:lnTo>
                    <a:pt x="590" y="537"/>
                  </a:lnTo>
                  <a:lnTo>
                    <a:pt x="577" y="539"/>
                  </a:lnTo>
                  <a:lnTo>
                    <a:pt x="566" y="547"/>
                  </a:lnTo>
                  <a:lnTo>
                    <a:pt x="560" y="559"/>
                  </a:lnTo>
                  <a:lnTo>
                    <a:pt x="564" y="571"/>
                  </a:lnTo>
                  <a:lnTo>
                    <a:pt x="562" y="580"/>
                  </a:lnTo>
                  <a:lnTo>
                    <a:pt x="534" y="619"/>
                  </a:lnTo>
                  <a:lnTo>
                    <a:pt x="551" y="622"/>
                  </a:lnTo>
                  <a:lnTo>
                    <a:pt x="558" y="636"/>
                  </a:lnTo>
                  <a:lnTo>
                    <a:pt x="562" y="654"/>
                  </a:lnTo>
                  <a:lnTo>
                    <a:pt x="571" y="664"/>
                  </a:lnTo>
                  <a:lnTo>
                    <a:pt x="586" y="659"/>
                  </a:lnTo>
                  <a:lnTo>
                    <a:pt x="599" y="663"/>
                  </a:lnTo>
                  <a:lnTo>
                    <a:pt x="611" y="670"/>
                  </a:lnTo>
                  <a:lnTo>
                    <a:pt x="623" y="674"/>
                  </a:lnTo>
                  <a:lnTo>
                    <a:pt x="671" y="674"/>
                  </a:lnTo>
                  <a:lnTo>
                    <a:pt x="699" y="683"/>
                  </a:lnTo>
                  <a:lnTo>
                    <a:pt x="714" y="685"/>
                  </a:lnTo>
                  <a:lnTo>
                    <a:pt x="726" y="681"/>
                  </a:lnTo>
                  <a:lnTo>
                    <a:pt x="731" y="667"/>
                  </a:lnTo>
                  <a:lnTo>
                    <a:pt x="746" y="646"/>
                  </a:lnTo>
                  <a:lnTo>
                    <a:pt x="750" y="633"/>
                  </a:lnTo>
                  <a:lnTo>
                    <a:pt x="741" y="629"/>
                  </a:lnTo>
                  <a:lnTo>
                    <a:pt x="744" y="62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7923B1F-2108-C014-099A-F936EBB38C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647" y="250388"/>
              <a:ext cx="1657702" cy="1460602"/>
            </a:xfrm>
            <a:custGeom>
              <a:avLst/>
              <a:gdLst>
                <a:gd name="T0" fmla="*/ 812 w 1127"/>
                <a:gd name="T1" fmla="*/ 81 h 993"/>
                <a:gd name="T2" fmla="*/ 747 w 1127"/>
                <a:gd name="T3" fmla="*/ 111 h 993"/>
                <a:gd name="T4" fmla="*/ 1092 w 1127"/>
                <a:gd name="T5" fmla="*/ 500 h 993"/>
                <a:gd name="T6" fmla="*/ 1094 w 1127"/>
                <a:gd name="T7" fmla="*/ 442 h 993"/>
                <a:gd name="T8" fmla="*/ 1115 w 1127"/>
                <a:gd name="T9" fmla="*/ 377 h 993"/>
                <a:gd name="T10" fmla="*/ 1061 w 1127"/>
                <a:gd name="T11" fmla="*/ 339 h 993"/>
                <a:gd name="T12" fmla="*/ 1080 w 1127"/>
                <a:gd name="T13" fmla="*/ 203 h 993"/>
                <a:gd name="T14" fmla="*/ 1049 w 1127"/>
                <a:gd name="T15" fmla="*/ 154 h 993"/>
                <a:gd name="T16" fmla="*/ 1002 w 1127"/>
                <a:gd name="T17" fmla="*/ 113 h 993"/>
                <a:gd name="T18" fmla="*/ 929 w 1127"/>
                <a:gd name="T19" fmla="*/ 63 h 993"/>
                <a:gd name="T20" fmla="*/ 858 w 1127"/>
                <a:gd name="T21" fmla="*/ 27 h 993"/>
                <a:gd name="T22" fmla="*/ 850 w 1127"/>
                <a:gd name="T23" fmla="*/ 92 h 993"/>
                <a:gd name="T24" fmla="*/ 814 w 1127"/>
                <a:gd name="T25" fmla="*/ 122 h 993"/>
                <a:gd name="T26" fmla="*/ 782 w 1127"/>
                <a:gd name="T27" fmla="*/ 139 h 993"/>
                <a:gd name="T28" fmla="*/ 746 w 1127"/>
                <a:gd name="T29" fmla="*/ 192 h 993"/>
                <a:gd name="T30" fmla="*/ 631 w 1127"/>
                <a:gd name="T31" fmla="*/ 224 h 993"/>
                <a:gd name="T32" fmla="*/ 525 w 1127"/>
                <a:gd name="T33" fmla="*/ 234 h 993"/>
                <a:gd name="T34" fmla="*/ 359 w 1127"/>
                <a:gd name="T35" fmla="*/ 302 h 993"/>
                <a:gd name="T36" fmla="*/ 307 w 1127"/>
                <a:gd name="T37" fmla="*/ 349 h 993"/>
                <a:gd name="T38" fmla="*/ 308 w 1127"/>
                <a:gd name="T39" fmla="*/ 364 h 993"/>
                <a:gd name="T40" fmla="*/ 286 w 1127"/>
                <a:gd name="T41" fmla="*/ 301 h 993"/>
                <a:gd name="T42" fmla="*/ 186 w 1127"/>
                <a:gd name="T43" fmla="*/ 362 h 993"/>
                <a:gd name="T44" fmla="*/ 95 w 1127"/>
                <a:gd name="T45" fmla="*/ 401 h 993"/>
                <a:gd name="T46" fmla="*/ 0 w 1127"/>
                <a:gd name="T47" fmla="*/ 466 h 993"/>
                <a:gd name="T48" fmla="*/ 42 w 1127"/>
                <a:gd name="T49" fmla="*/ 534 h 993"/>
                <a:gd name="T50" fmla="*/ 48 w 1127"/>
                <a:gd name="T51" fmla="*/ 617 h 993"/>
                <a:gd name="T52" fmla="*/ 76 w 1127"/>
                <a:gd name="T53" fmla="*/ 707 h 993"/>
                <a:gd name="T54" fmla="*/ 102 w 1127"/>
                <a:gd name="T55" fmla="*/ 784 h 993"/>
                <a:gd name="T56" fmla="*/ 128 w 1127"/>
                <a:gd name="T57" fmla="*/ 779 h 993"/>
                <a:gd name="T58" fmla="*/ 144 w 1127"/>
                <a:gd name="T59" fmla="*/ 750 h 993"/>
                <a:gd name="T60" fmla="*/ 197 w 1127"/>
                <a:gd name="T61" fmla="*/ 744 h 993"/>
                <a:gd name="T62" fmla="*/ 245 w 1127"/>
                <a:gd name="T63" fmla="*/ 710 h 993"/>
                <a:gd name="T64" fmla="*/ 275 w 1127"/>
                <a:gd name="T65" fmla="*/ 725 h 993"/>
                <a:gd name="T66" fmla="*/ 266 w 1127"/>
                <a:gd name="T67" fmla="*/ 743 h 993"/>
                <a:gd name="T68" fmla="*/ 267 w 1127"/>
                <a:gd name="T69" fmla="*/ 759 h 993"/>
                <a:gd name="T70" fmla="*/ 304 w 1127"/>
                <a:gd name="T71" fmla="*/ 790 h 993"/>
                <a:gd name="T72" fmla="*/ 271 w 1127"/>
                <a:gd name="T73" fmla="*/ 831 h 993"/>
                <a:gd name="T74" fmla="*/ 291 w 1127"/>
                <a:gd name="T75" fmla="*/ 846 h 993"/>
                <a:gd name="T76" fmla="*/ 304 w 1127"/>
                <a:gd name="T77" fmla="*/ 858 h 993"/>
                <a:gd name="T78" fmla="*/ 321 w 1127"/>
                <a:gd name="T79" fmla="*/ 857 h 993"/>
                <a:gd name="T80" fmla="*/ 358 w 1127"/>
                <a:gd name="T81" fmla="*/ 881 h 993"/>
                <a:gd name="T82" fmla="*/ 341 w 1127"/>
                <a:gd name="T83" fmla="*/ 909 h 993"/>
                <a:gd name="T84" fmla="*/ 334 w 1127"/>
                <a:gd name="T85" fmla="*/ 922 h 993"/>
                <a:gd name="T86" fmla="*/ 328 w 1127"/>
                <a:gd name="T87" fmla="*/ 935 h 993"/>
                <a:gd name="T88" fmla="*/ 371 w 1127"/>
                <a:gd name="T89" fmla="*/ 973 h 993"/>
                <a:gd name="T90" fmla="*/ 453 w 1127"/>
                <a:gd name="T91" fmla="*/ 991 h 993"/>
                <a:gd name="T92" fmla="*/ 451 w 1127"/>
                <a:gd name="T93" fmla="*/ 980 h 993"/>
                <a:gd name="T94" fmla="*/ 458 w 1127"/>
                <a:gd name="T95" fmla="*/ 953 h 993"/>
                <a:gd name="T96" fmla="*/ 528 w 1127"/>
                <a:gd name="T97" fmla="*/ 860 h 993"/>
                <a:gd name="T98" fmla="*/ 508 w 1127"/>
                <a:gd name="T99" fmla="*/ 814 h 993"/>
                <a:gd name="T100" fmla="*/ 553 w 1127"/>
                <a:gd name="T101" fmla="*/ 772 h 993"/>
                <a:gd name="T102" fmla="*/ 627 w 1127"/>
                <a:gd name="T103" fmla="*/ 749 h 993"/>
                <a:gd name="T104" fmla="*/ 750 w 1127"/>
                <a:gd name="T105" fmla="*/ 781 h 993"/>
                <a:gd name="T106" fmla="*/ 801 w 1127"/>
                <a:gd name="T107" fmla="*/ 714 h 993"/>
                <a:gd name="T108" fmla="*/ 843 w 1127"/>
                <a:gd name="T109" fmla="*/ 675 h 993"/>
                <a:gd name="T110" fmla="*/ 929 w 1127"/>
                <a:gd name="T111" fmla="*/ 691 h 993"/>
                <a:gd name="T112" fmla="*/ 969 w 1127"/>
                <a:gd name="T113" fmla="*/ 709 h 993"/>
                <a:gd name="T114" fmla="*/ 1072 w 1127"/>
                <a:gd name="T115" fmla="*/ 600 h 993"/>
                <a:gd name="T116" fmla="*/ 1123 w 1127"/>
                <a:gd name="T117" fmla="*/ 59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7" h="993">
                  <a:moveTo>
                    <a:pt x="757" y="122"/>
                  </a:moveTo>
                  <a:lnTo>
                    <a:pt x="771" y="132"/>
                  </a:lnTo>
                  <a:lnTo>
                    <a:pt x="777" y="127"/>
                  </a:lnTo>
                  <a:lnTo>
                    <a:pt x="784" y="119"/>
                  </a:lnTo>
                  <a:lnTo>
                    <a:pt x="800" y="127"/>
                  </a:lnTo>
                  <a:lnTo>
                    <a:pt x="809" y="109"/>
                  </a:lnTo>
                  <a:lnTo>
                    <a:pt x="812" y="81"/>
                  </a:lnTo>
                  <a:lnTo>
                    <a:pt x="812" y="59"/>
                  </a:lnTo>
                  <a:lnTo>
                    <a:pt x="809" y="51"/>
                  </a:lnTo>
                  <a:lnTo>
                    <a:pt x="808" y="46"/>
                  </a:lnTo>
                  <a:lnTo>
                    <a:pt x="808" y="40"/>
                  </a:lnTo>
                  <a:lnTo>
                    <a:pt x="755" y="84"/>
                  </a:lnTo>
                  <a:lnTo>
                    <a:pt x="745" y="98"/>
                  </a:lnTo>
                  <a:lnTo>
                    <a:pt x="747" y="111"/>
                  </a:lnTo>
                  <a:lnTo>
                    <a:pt x="757" y="122"/>
                  </a:lnTo>
                  <a:close/>
                  <a:moveTo>
                    <a:pt x="1127" y="568"/>
                  </a:moveTo>
                  <a:lnTo>
                    <a:pt x="1122" y="557"/>
                  </a:lnTo>
                  <a:lnTo>
                    <a:pt x="1103" y="535"/>
                  </a:lnTo>
                  <a:lnTo>
                    <a:pt x="1100" y="529"/>
                  </a:lnTo>
                  <a:lnTo>
                    <a:pt x="1097" y="521"/>
                  </a:lnTo>
                  <a:lnTo>
                    <a:pt x="1092" y="500"/>
                  </a:lnTo>
                  <a:lnTo>
                    <a:pt x="1089" y="494"/>
                  </a:lnTo>
                  <a:lnTo>
                    <a:pt x="1069" y="458"/>
                  </a:lnTo>
                  <a:lnTo>
                    <a:pt x="1068" y="452"/>
                  </a:lnTo>
                  <a:lnTo>
                    <a:pt x="1069" y="447"/>
                  </a:lnTo>
                  <a:lnTo>
                    <a:pt x="1075" y="444"/>
                  </a:lnTo>
                  <a:lnTo>
                    <a:pt x="1082" y="442"/>
                  </a:lnTo>
                  <a:lnTo>
                    <a:pt x="1094" y="442"/>
                  </a:lnTo>
                  <a:lnTo>
                    <a:pt x="1099" y="440"/>
                  </a:lnTo>
                  <a:lnTo>
                    <a:pt x="1103" y="438"/>
                  </a:lnTo>
                  <a:lnTo>
                    <a:pt x="1110" y="432"/>
                  </a:lnTo>
                  <a:lnTo>
                    <a:pt x="1113" y="424"/>
                  </a:lnTo>
                  <a:lnTo>
                    <a:pt x="1115" y="414"/>
                  </a:lnTo>
                  <a:lnTo>
                    <a:pt x="1114" y="402"/>
                  </a:lnTo>
                  <a:lnTo>
                    <a:pt x="1115" y="377"/>
                  </a:lnTo>
                  <a:lnTo>
                    <a:pt x="1112" y="375"/>
                  </a:lnTo>
                  <a:lnTo>
                    <a:pt x="1101" y="367"/>
                  </a:lnTo>
                  <a:lnTo>
                    <a:pt x="1088" y="354"/>
                  </a:lnTo>
                  <a:lnTo>
                    <a:pt x="1079" y="349"/>
                  </a:lnTo>
                  <a:lnTo>
                    <a:pt x="1071" y="349"/>
                  </a:lnTo>
                  <a:lnTo>
                    <a:pt x="1063" y="341"/>
                  </a:lnTo>
                  <a:lnTo>
                    <a:pt x="1061" y="339"/>
                  </a:lnTo>
                  <a:lnTo>
                    <a:pt x="1055" y="327"/>
                  </a:lnTo>
                  <a:lnTo>
                    <a:pt x="1054" y="315"/>
                  </a:lnTo>
                  <a:lnTo>
                    <a:pt x="1056" y="276"/>
                  </a:lnTo>
                  <a:lnTo>
                    <a:pt x="1060" y="263"/>
                  </a:lnTo>
                  <a:lnTo>
                    <a:pt x="1076" y="238"/>
                  </a:lnTo>
                  <a:lnTo>
                    <a:pt x="1081" y="223"/>
                  </a:lnTo>
                  <a:lnTo>
                    <a:pt x="1080" y="203"/>
                  </a:lnTo>
                  <a:lnTo>
                    <a:pt x="1079" y="191"/>
                  </a:lnTo>
                  <a:lnTo>
                    <a:pt x="1079" y="181"/>
                  </a:lnTo>
                  <a:lnTo>
                    <a:pt x="1080" y="177"/>
                  </a:lnTo>
                  <a:lnTo>
                    <a:pt x="1090" y="166"/>
                  </a:lnTo>
                  <a:lnTo>
                    <a:pt x="1092" y="166"/>
                  </a:lnTo>
                  <a:lnTo>
                    <a:pt x="1086" y="161"/>
                  </a:lnTo>
                  <a:lnTo>
                    <a:pt x="1049" y="154"/>
                  </a:lnTo>
                  <a:lnTo>
                    <a:pt x="1040" y="154"/>
                  </a:lnTo>
                  <a:lnTo>
                    <a:pt x="1030" y="159"/>
                  </a:lnTo>
                  <a:lnTo>
                    <a:pt x="1025" y="149"/>
                  </a:lnTo>
                  <a:lnTo>
                    <a:pt x="1011" y="134"/>
                  </a:lnTo>
                  <a:lnTo>
                    <a:pt x="1009" y="127"/>
                  </a:lnTo>
                  <a:lnTo>
                    <a:pt x="1008" y="115"/>
                  </a:lnTo>
                  <a:lnTo>
                    <a:pt x="1002" y="113"/>
                  </a:lnTo>
                  <a:lnTo>
                    <a:pt x="992" y="116"/>
                  </a:lnTo>
                  <a:lnTo>
                    <a:pt x="982" y="117"/>
                  </a:lnTo>
                  <a:lnTo>
                    <a:pt x="966" y="113"/>
                  </a:lnTo>
                  <a:lnTo>
                    <a:pt x="953" y="102"/>
                  </a:lnTo>
                  <a:lnTo>
                    <a:pt x="943" y="89"/>
                  </a:lnTo>
                  <a:lnTo>
                    <a:pt x="937" y="74"/>
                  </a:lnTo>
                  <a:lnTo>
                    <a:pt x="929" y="63"/>
                  </a:lnTo>
                  <a:lnTo>
                    <a:pt x="910" y="46"/>
                  </a:lnTo>
                  <a:lnTo>
                    <a:pt x="895" y="27"/>
                  </a:lnTo>
                  <a:lnTo>
                    <a:pt x="856" y="0"/>
                  </a:lnTo>
                  <a:lnTo>
                    <a:pt x="856" y="0"/>
                  </a:lnTo>
                  <a:lnTo>
                    <a:pt x="855" y="7"/>
                  </a:lnTo>
                  <a:lnTo>
                    <a:pt x="858" y="16"/>
                  </a:lnTo>
                  <a:lnTo>
                    <a:pt x="858" y="27"/>
                  </a:lnTo>
                  <a:lnTo>
                    <a:pt x="854" y="36"/>
                  </a:lnTo>
                  <a:lnTo>
                    <a:pt x="829" y="61"/>
                  </a:lnTo>
                  <a:lnTo>
                    <a:pt x="823" y="68"/>
                  </a:lnTo>
                  <a:lnTo>
                    <a:pt x="821" y="77"/>
                  </a:lnTo>
                  <a:lnTo>
                    <a:pt x="825" y="87"/>
                  </a:lnTo>
                  <a:lnTo>
                    <a:pt x="836" y="91"/>
                  </a:lnTo>
                  <a:lnTo>
                    <a:pt x="850" y="92"/>
                  </a:lnTo>
                  <a:lnTo>
                    <a:pt x="862" y="95"/>
                  </a:lnTo>
                  <a:lnTo>
                    <a:pt x="867" y="105"/>
                  </a:lnTo>
                  <a:lnTo>
                    <a:pt x="839" y="95"/>
                  </a:lnTo>
                  <a:lnTo>
                    <a:pt x="827" y="97"/>
                  </a:lnTo>
                  <a:lnTo>
                    <a:pt x="816" y="109"/>
                  </a:lnTo>
                  <a:lnTo>
                    <a:pt x="814" y="117"/>
                  </a:lnTo>
                  <a:lnTo>
                    <a:pt x="814" y="122"/>
                  </a:lnTo>
                  <a:lnTo>
                    <a:pt x="813" y="127"/>
                  </a:lnTo>
                  <a:lnTo>
                    <a:pt x="808" y="132"/>
                  </a:lnTo>
                  <a:lnTo>
                    <a:pt x="801" y="136"/>
                  </a:lnTo>
                  <a:lnTo>
                    <a:pt x="796" y="136"/>
                  </a:lnTo>
                  <a:lnTo>
                    <a:pt x="791" y="134"/>
                  </a:lnTo>
                  <a:lnTo>
                    <a:pt x="789" y="128"/>
                  </a:lnTo>
                  <a:lnTo>
                    <a:pt x="782" y="139"/>
                  </a:lnTo>
                  <a:lnTo>
                    <a:pt x="776" y="144"/>
                  </a:lnTo>
                  <a:lnTo>
                    <a:pt x="772" y="152"/>
                  </a:lnTo>
                  <a:lnTo>
                    <a:pt x="770" y="182"/>
                  </a:lnTo>
                  <a:lnTo>
                    <a:pt x="767" y="194"/>
                  </a:lnTo>
                  <a:lnTo>
                    <a:pt x="760" y="204"/>
                  </a:lnTo>
                  <a:lnTo>
                    <a:pt x="747" y="211"/>
                  </a:lnTo>
                  <a:lnTo>
                    <a:pt x="746" y="192"/>
                  </a:lnTo>
                  <a:lnTo>
                    <a:pt x="742" y="175"/>
                  </a:lnTo>
                  <a:lnTo>
                    <a:pt x="733" y="161"/>
                  </a:lnTo>
                  <a:lnTo>
                    <a:pt x="720" y="150"/>
                  </a:lnTo>
                  <a:lnTo>
                    <a:pt x="704" y="145"/>
                  </a:lnTo>
                  <a:lnTo>
                    <a:pt x="694" y="150"/>
                  </a:lnTo>
                  <a:lnTo>
                    <a:pt x="643" y="218"/>
                  </a:lnTo>
                  <a:lnTo>
                    <a:pt x="631" y="224"/>
                  </a:lnTo>
                  <a:lnTo>
                    <a:pt x="614" y="227"/>
                  </a:lnTo>
                  <a:lnTo>
                    <a:pt x="594" y="234"/>
                  </a:lnTo>
                  <a:lnTo>
                    <a:pt x="576" y="237"/>
                  </a:lnTo>
                  <a:lnTo>
                    <a:pt x="560" y="229"/>
                  </a:lnTo>
                  <a:lnTo>
                    <a:pt x="552" y="233"/>
                  </a:lnTo>
                  <a:lnTo>
                    <a:pt x="543" y="234"/>
                  </a:lnTo>
                  <a:lnTo>
                    <a:pt x="525" y="234"/>
                  </a:lnTo>
                  <a:lnTo>
                    <a:pt x="518" y="235"/>
                  </a:lnTo>
                  <a:lnTo>
                    <a:pt x="503" y="240"/>
                  </a:lnTo>
                  <a:lnTo>
                    <a:pt x="498" y="243"/>
                  </a:lnTo>
                  <a:lnTo>
                    <a:pt x="450" y="238"/>
                  </a:lnTo>
                  <a:lnTo>
                    <a:pt x="436" y="243"/>
                  </a:lnTo>
                  <a:lnTo>
                    <a:pt x="391" y="284"/>
                  </a:lnTo>
                  <a:lnTo>
                    <a:pt x="359" y="302"/>
                  </a:lnTo>
                  <a:lnTo>
                    <a:pt x="330" y="294"/>
                  </a:lnTo>
                  <a:lnTo>
                    <a:pt x="318" y="300"/>
                  </a:lnTo>
                  <a:lnTo>
                    <a:pt x="313" y="310"/>
                  </a:lnTo>
                  <a:lnTo>
                    <a:pt x="310" y="323"/>
                  </a:lnTo>
                  <a:lnTo>
                    <a:pt x="312" y="339"/>
                  </a:lnTo>
                  <a:lnTo>
                    <a:pt x="312" y="343"/>
                  </a:lnTo>
                  <a:lnTo>
                    <a:pt x="307" y="349"/>
                  </a:lnTo>
                  <a:lnTo>
                    <a:pt x="307" y="353"/>
                  </a:lnTo>
                  <a:lnTo>
                    <a:pt x="310" y="357"/>
                  </a:lnTo>
                  <a:lnTo>
                    <a:pt x="319" y="364"/>
                  </a:lnTo>
                  <a:lnTo>
                    <a:pt x="330" y="394"/>
                  </a:lnTo>
                  <a:lnTo>
                    <a:pt x="326" y="389"/>
                  </a:lnTo>
                  <a:lnTo>
                    <a:pt x="316" y="372"/>
                  </a:lnTo>
                  <a:lnTo>
                    <a:pt x="308" y="364"/>
                  </a:lnTo>
                  <a:lnTo>
                    <a:pt x="302" y="360"/>
                  </a:lnTo>
                  <a:lnTo>
                    <a:pt x="296" y="353"/>
                  </a:lnTo>
                  <a:lnTo>
                    <a:pt x="293" y="343"/>
                  </a:lnTo>
                  <a:lnTo>
                    <a:pt x="306" y="301"/>
                  </a:lnTo>
                  <a:lnTo>
                    <a:pt x="306" y="296"/>
                  </a:lnTo>
                  <a:lnTo>
                    <a:pt x="303" y="288"/>
                  </a:lnTo>
                  <a:lnTo>
                    <a:pt x="286" y="301"/>
                  </a:lnTo>
                  <a:lnTo>
                    <a:pt x="245" y="314"/>
                  </a:lnTo>
                  <a:lnTo>
                    <a:pt x="229" y="321"/>
                  </a:lnTo>
                  <a:lnTo>
                    <a:pt x="224" y="326"/>
                  </a:lnTo>
                  <a:lnTo>
                    <a:pt x="216" y="338"/>
                  </a:lnTo>
                  <a:lnTo>
                    <a:pt x="211" y="343"/>
                  </a:lnTo>
                  <a:lnTo>
                    <a:pt x="190" y="360"/>
                  </a:lnTo>
                  <a:lnTo>
                    <a:pt x="186" y="362"/>
                  </a:lnTo>
                  <a:lnTo>
                    <a:pt x="177" y="364"/>
                  </a:lnTo>
                  <a:lnTo>
                    <a:pt x="164" y="374"/>
                  </a:lnTo>
                  <a:lnTo>
                    <a:pt x="144" y="377"/>
                  </a:lnTo>
                  <a:lnTo>
                    <a:pt x="126" y="383"/>
                  </a:lnTo>
                  <a:lnTo>
                    <a:pt x="117" y="386"/>
                  </a:lnTo>
                  <a:lnTo>
                    <a:pt x="108" y="388"/>
                  </a:lnTo>
                  <a:lnTo>
                    <a:pt x="95" y="401"/>
                  </a:lnTo>
                  <a:lnTo>
                    <a:pt x="85" y="403"/>
                  </a:lnTo>
                  <a:lnTo>
                    <a:pt x="62" y="405"/>
                  </a:lnTo>
                  <a:lnTo>
                    <a:pt x="53" y="404"/>
                  </a:lnTo>
                  <a:lnTo>
                    <a:pt x="42" y="399"/>
                  </a:lnTo>
                  <a:lnTo>
                    <a:pt x="21" y="414"/>
                  </a:lnTo>
                  <a:lnTo>
                    <a:pt x="7" y="438"/>
                  </a:lnTo>
                  <a:lnTo>
                    <a:pt x="0" y="466"/>
                  </a:lnTo>
                  <a:lnTo>
                    <a:pt x="0" y="495"/>
                  </a:lnTo>
                  <a:lnTo>
                    <a:pt x="2" y="506"/>
                  </a:lnTo>
                  <a:lnTo>
                    <a:pt x="6" y="516"/>
                  </a:lnTo>
                  <a:lnTo>
                    <a:pt x="11" y="523"/>
                  </a:lnTo>
                  <a:lnTo>
                    <a:pt x="20" y="528"/>
                  </a:lnTo>
                  <a:lnTo>
                    <a:pt x="32" y="529"/>
                  </a:lnTo>
                  <a:lnTo>
                    <a:pt x="42" y="534"/>
                  </a:lnTo>
                  <a:lnTo>
                    <a:pt x="48" y="542"/>
                  </a:lnTo>
                  <a:lnTo>
                    <a:pt x="53" y="561"/>
                  </a:lnTo>
                  <a:lnTo>
                    <a:pt x="57" y="573"/>
                  </a:lnTo>
                  <a:lnTo>
                    <a:pt x="61" y="586"/>
                  </a:lnTo>
                  <a:lnTo>
                    <a:pt x="59" y="600"/>
                  </a:lnTo>
                  <a:lnTo>
                    <a:pt x="54" y="611"/>
                  </a:lnTo>
                  <a:lnTo>
                    <a:pt x="48" y="617"/>
                  </a:lnTo>
                  <a:lnTo>
                    <a:pt x="43" y="625"/>
                  </a:lnTo>
                  <a:lnTo>
                    <a:pt x="42" y="639"/>
                  </a:lnTo>
                  <a:lnTo>
                    <a:pt x="43" y="653"/>
                  </a:lnTo>
                  <a:lnTo>
                    <a:pt x="48" y="666"/>
                  </a:lnTo>
                  <a:lnTo>
                    <a:pt x="63" y="692"/>
                  </a:lnTo>
                  <a:lnTo>
                    <a:pt x="73" y="701"/>
                  </a:lnTo>
                  <a:lnTo>
                    <a:pt x="76" y="707"/>
                  </a:lnTo>
                  <a:lnTo>
                    <a:pt x="79" y="716"/>
                  </a:lnTo>
                  <a:lnTo>
                    <a:pt x="76" y="722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89" y="770"/>
                  </a:lnTo>
                  <a:lnTo>
                    <a:pt x="98" y="782"/>
                  </a:lnTo>
                  <a:lnTo>
                    <a:pt x="102" y="784"/>
                  </a:lnTo>
                  <a:lnTo>
                    <a:pt x="108" y="785"/>
                  </a:lnTo>
                  <a:lnTo>
                    <a:pt x="112" y="787"/>
                  </a:lnTo>
                  <a:lnTo>
                    <a:pt x="117" y="787"/>
                  </a:lnTo>
                  <a:lnTo>
                    <a:pt x="120" y="787"/>
                  </a:lnTo>
                  <a:lnTo>
                    <a:pt x="122" y="785"/>
                  </a:lnTo>
                  <a:lnTo>
                    <a:pt x="126" y="781"/>
                  </a:lnTo>
                  <a:lnTo>
                    <a:pt x="128" y="779"/>
                  </a:lnTo>
                  <a:lnTo>
                    <a:pt x="132" y="777"/>
                  </a:lnTo>
                  <a:lnTo>
                    <a:pt x="134" y="775"/>
                  </a:lnTo>
                  <a:lnTo>
                    <a:pt x="136" y="771"/>
                  </a:lnTo>
                  <a:lnTo>
                    <a:pt x="138" y="766"/>
                  </a:lnTo>
                  <a:lnTo>
                    <a:pt x="141" y="758"/>
                  </a:lnTo>
                  <a:lnTo>
                    <a:pt x="144" y="751"/>
                  </a:lnTo>
                  <a:lnTo>
                    <a:pt x="144" y="750"/>
                  </a:lnTo>
                  <a:lnTo>
                    <a:pt x="145" y="748"/>
                  </a:lnTo>
                  <a:lnTo>
                    <a:pt x="146" y="748"/>
                  </a:lnTo>
                  <a:lnTo>
                    <a:pt x="148" y="746"/>
                  </a:lnTo>
                  <a:lnTo>
                    <a:pt x="150" y="746"/>
                  </a:lnTo>
                  <a:lnTo>
                    <a:pt x="173" y="748"/>
                  </a:lnTo>
                  <a:lnTo>
                    <a:pt x="184" y="746"/>
                  </a:lnTo>
                  <a:lnTo>
                    <a:pt x="197" y="744"/>
                  </a:lnTo>
                  <a:lnTo>
                    <a:pt x="205" y="741"/>
                  </a:lnTo>
                  <a:lnTo>
                    <a:pt x="209" y="739"/>
                  </a:lnTo>
                  <a:lnTo>
                    <a:pt x="216" y="733"/>
                  </a:lnTo>
                  <a:lnTo>
                    <a:pt x="230" y="718"/>
                  </a:lnTo>
                  <a:lnTo>
                    <a:pt x="234" y="716"/>
                  </a:lnTo>
                  <a:lnTo>
                    <a:pt x="238" y="713"/>
                  </a:lnTo>
                  <a:lnTo>
                    <a:pt x="245" y="710"/>
                  </a:lnTo>
                  <a:lnTo>
                    <a:pt x="251" y="710"/>
                  </a:lnTo>
                  <a:lnTo>
                    <a:pt x="255" y="710"/>
                  </a:lnTo>
                  <a:lnTo>
                    <a:pt x="258" y="711"/>
                  </a:lnTo>
                  <a:lnTo>
                    <a:pt x="262" y="712"/>
                  </a:lnTo>
                  <a:lnTo>
                    <a:pt x="268" y="717"/>
                  </a:lnTo>
                  <a:lnTo>
                    <a:pt x="274" y="723"/>
                  </a:lnTo>
                  <a:lnTo>
                    <a:pt x="275" y="725"/>
                  </a:lnTo>
                  <a:lnTo>
                    <a:pt x="276" y="727"/>
                  </a:lnTo>
                  <a:lnTo>
                    <a:pt x="276" y="728"/>
                  </a:lnTo>
                  <a:lnTo>
                    <a:pt x="276" y="729"/>
                  </a:lnTo>
                  <a:lnTo>
                    <a:pt x="276" y="730"/>
                  </a:lnTo>
                  <a:lnTo>
                    <a:pt x="275" y="731"/>
                  </a:lnTo>
                  <a:lnTo>
                    <a:pt x="268" y="739"/>
                  </a:lnTo>
                  <a:lnTo>
                    <a:pt x="266" y="743"/>
                  </a:lnTo>
                  <a:lnTo>
                    <a:pt x="264" y="745"/>
                  </a:lnTo>
                  <a:lnTo>
                    <a:pt x="264" y="748"/>
                  </a:lnTo>
                  <a:lnTo>
                    <a:pt x="263" y="750"/>
                  </a:lnTo>
                  <a:lnTo>
                    <a:pt x="263" y="752"/>
                  </a:lnTo>
                  <a:lnTo>
                    <a:pt x="264" y="755"/>
                  </a:lnTo>
                  <a:lnTo>
                    <a:pt x="265" y="757"/>
                  </a:lnTo>
                  <a:lnTo>
                    <a:pt x="267" y="759"/>
                  </a:lnTo>
                  <a:lnTo>
                    <a:pt x="269" y="762"/>
                  </a:lnTo>
                  <a:lnTo>
                    <a:pt x="301" y="781"/>
                  </a:lnTo>
                  <a:lnTo>
                    <a:pt x="303" y="783"/>
                  </a:lnTo>
                  <a:lnTo>
                    <a:pt x="305" y="785"/>
                  </a:lnTo>
                  <a:lnTo>
                    <a:pt x="305" y="787"/>
                  </a:lnTo>
                  <a:lnTo>
                    <a:pt x="305" y="789"/>
                  </a:lnTo>
                  <a:lnTo>
                    <a:pt x="304" y="790"/>
                  </a:lnTo>
                  <a:lnTo>
                    <a:pt x="303" y="792"/>
                  </a:lnTo>
                  <a:lnTo>
                    <a:pt x="299" y="796"/>
                  </a:lnTo>
                  <a:lnTo>
                    <a:pt x="294" y="800"/>
                  </a:lnTo>
                  <a:lnTo>
                    <a:pt x="291" y="803"/>
                  </a:lnTo>
                  <a:lnTo>
                    <a:pt x="287" y="808"/>
                  </a:lnTo>
                  <a:lnTo>
                    <a:pt x="284" y="813"/>
                  </a:lnTo>
                  <a:lnTo>
                    <a:pt x="271" y="831"/>
                  </a:lnTo>
                  <a:lnTo>
                    <a:pt x="270" y="832"/>
                  </a:lnTo>
                  <a:lnTo>
                    <a:pt x="271" y="835"/>
                  </a:lnTo>
                  <a:lnTo>
                    <a:pt x="274" y="837"/>
                  </a:lnTo>
                  <a:lnTo>
                    <a:pt x="281" y="844"/>
                  </a:lnTo>
                  <a:lnTo>
                    <a:pt x="286" y="846"/>
                  </a:lnTo>
                  <a:lnTo>
                    <a:pt x="289" y="847"/>
                  </a:lnTo>
                  <a:lnTo>
                    <a:pt x="291" y="846"/>
                  </a:lnTo>
                  <a:lnTo>
                    <a:pt x="292" y="845"/>
                  </a:lnTo>
                  <a:lnTo>
                    <a:pt x="294" y="844"/>
                  </a:lnTo>
                  <a:lnTo>
                    <a:pt x="296" y="843"/>
                  </a:lnTo>
                  <a:lnTo>
                    <a:pt x="300" y="843"/>
                  </a:lnTo>
                  <a:lnTo>
                    <a:pt x="302" y="844"/>
                  </a:lnTo>
                  <a:lnTo>
                    <a:pt x="303" y="846"/>
                  </a:lnTo>
                  <a:lnTo>
                    <a:pt x="304" y="858"/>
                  </a:lnTo>
                  <a:lnTo>
                    <a:pt x="305" y="861"/>
                  </a:lnTo>
                  <a:lnTo>
                    <a:pt x="306" y="862"/>
                  </a:lnTo>
                  <a:lnTo>
                    <a:pt x="308" y="863"/>
                  </a:lnTo>
                  <a:lnTo>
                    <a:pt x="310" y="863"/>
                  </a:lnTo>
                  <a:lnTo>
                    <a:pt x="312" y="862"/>
                  </a:lnTo>
                  <a:lnTo>
                    <a:pt x="317" y="858"/>
                  </a:lnTo>
                  <a:lnTo>
                    <a:pt x="321" y="857"/>
                  </a:lnTo>
                  <a:lnTo>
                    <a:pt x="325" y="857"/>
                  </a:lnTo>
                  <a:lnTo>
                    <a:pt x="327" y="860"/>
                  </a:lnTo>
                  <a:lnTo>
                    <a:pt x="331" y="865"/>
                  </a:lnTo>
                  <a:lnTo>
                    <a:pt x="344" y="876"/>
                  </a:lnTo>
                  <a:lnTo>
                    <a:pt x="349" y="880"/>
                  </a:lnTo>
                  <a:lnTo>
                    <a:pt x="354" y="881"/>
                  </a:lnTo>
                  <a:lnTo>
                    <a:pt x="358" y="881"/>
                  </a:lnTo>
                  <a:lnTo>
                    <a:pt x="360" y="882"/>
                  </a:lnTo>
                  <a:lnTo>
                    <a:pt x="361" y="882"/>
                  </a:lnTo>
                  <a:lnTo>
                    <a:pt x="361" y="884"/>
                  </a:lnTo>
                  <a:lnTo>
                    <a:pt x="361" y="885"/>
                  </a:lnTo>
                  <a:lnTo>
                    <a:pt x="344" y="904"/>
                  </a:lnTo>
                  <a:lnTo>
                    <a:pt x="342" y="907"/>
                  </a:lnTo>
                  <a:lnTo>
                    <a:pt x="341" y="909"/>
                  </a:lnTo>
                  <a:lnTo>
                    <a:pt x="341" y="913"/>
                  </a:lnTo>
                  <a:lnTo>
                    <a:pt x="340" y="917"/>
                  </a:lnTo>
                  <a:lnTo>
                    <a:pt x="340" y="919"/>
                  </a:lnTo>
                  <a:lnTo>
                    <a:pt x="339" y="920"/>
                  </a:lnTo>
                  <a:lnTo>
                    <a:pt x="338" y="920"/>
                  </a:lnTo>
                  <a:lnTo>
                    <a:pt x="336" y="921"/>
                  </a:lnTo>
                  <a:lnTo>
                    <a:pt x="334" y="922"/>
                  </a:lnTo>
                  <a:lnTo>
                    <a:pt x="332" y="922"/>
                  </a:lnTo>
                  <a:lnTo>
                    <a:pt x="331" y="924"/>
                  </a:lnTo>
                  <a:lnTo>
                    <a:pt x="330" y="925"/>
                  </a:lnTo>
                  <a:lnTo>
                    <a:pt x="329" y="927"/>
                  </a:lnTo>
                  <a:lnTo>
                    <a:pt x="328" y="930"/>
                  </a:lnTo>
                  <a:lnTo>
                    <a:pt x="328" y="932"/>
                  </a:lnTo>
                  <a:lnTo>
                    <a:pt x="328" y="935"/>
                  </a:lnTo>
                  <a:lnTo>
                    <a:pt x="330" y="940"/>
                  </a:lnTo>
                  <a:lnTo>
                    <a:pt x="330" y="943"/>
                  </a:lnTo>
                  <a:lnTo>
                    <a:pt x="330" y="948"/>
                  </a:lnTo>
                  <a:lnTo>
                    <a:pt x="332" y="952"/>
                  </a:lnTo>
                  <a:lnTo>
                    <a:pt x="343" y="970"/>
                  </a:lnTo>
                  <a:lnTo>
                    <a:pt x="357" y="969"/>
                  </a:lnTo>
                  <a:lnTo>
                    <a:pt x="371" y="973"/>
                  </a:lnTo>
                  <a:lnTo>
                    <a:pt x="411" y="977"/>
                  </a:lnTo>
                  <a:lnTo>
                    <a:pt x="431" y="983"/>
                  </a:lnTo>
                  <a:lnTo>
                    <a:pt x="438" y="986"/>
                  </a:lnTo>
                  <a:lnTo>
                    <a:pt x="444" y="989"/>
                  </a:lnTo>
                  <a:lnTo>
                    <a:pt x="450" y="993"/>
                  </a:lnTo>
                  <a:lnTo>
                    <a:pt x="451" y="993"/>
                  </a:lnTo>
                  <a:lnTo>
                    <a:pt x="453" y="991"/>
                  </a:lnTo>
                  <a:lnTo>
                    <a:pt x="456" y="989"/>
                  </a:lnTo>
                  <a:lnTo>
                    <a:pt x="459" y="987"/>
                  </a:lnTo>
                  <a:lnTo>
                    <a:pt x="460" y="983"/>
                  </a:lnTo>
                  <a:lnTo>
                    <a:pt x="459" y="980"/>
                  </a:lnTo>
                  <a:lnTo>
                    <a:pt x="456" y="979"/>
                  </a:lnTo>
                  <a:lnTo>
                    <a:pt x="453" y="979"/>
                  </a:lnTo>
                  <a:lnTo>
                    <a:pt x="451" y="980"/>
                  </a:lnTo>
                  <a:lnTo>
                    <a:pt x="450" y="979"/>
                  </a:lnTo>
                  <a:lnTo>
                    <a:pt x="448" y="978"/>
                  </a:lnTo>
                  <a:lnTo>
                    <a:pt x="440" y="969"/>
                  </a:lnTo>
                  <a:lnTo>
                    <a:pt x="439" y="964"/>
                  </a:lnTo>
                  <a:lnTo>
                    <a:pt x="440" y="961"/>
                  </a:lnTo>
                  <a:lnTo>
                    <a:pt x="452" y="957"/>
                  </a:lnTo>
                  <a:lnTo>
                    <a:pt x="458" y="953"/>
                  </a:lnTo>
                  <a:lnTo>
                    <a:pt x="476" y="949"/>
                  </a:lnTo>
                  <a:lnTo>
                    <a:pt x="485" y="946"/>
                  </a:lnTo>
                  <a:lnTo>
                    <a:pt x="495" y="936"/>
                  </a:lnTo>
                  <a:lnTo>
                    <a:pt x="498" y="930"/>
                  </a:lnTo>
                  <a:lnTo>
                    <a:pt x="511" y="896"/>
                  </a:lnTo>
                  <a:lnTo>
                    <a:pt x="520" y="881"/>
                  </a:lnTo>
                  <a:lnTo>
                    <a:pt x="528" y="860"/>
                  </a:lnTo>
                  <a:lnTo>
                    <a:pt x="537" y="848"/>
                  </a:lnTo>
                  <a:lnTo>
                    <a:pt x="538" y="844"/>
                  </a:lnTo>
                  <a:lnTo>
                    <a:pt x="538" y="841"/>
                  </a:lnTo>
                  <a:lnTo>
                    <a:pt x="536" y="836"/>
                  </a:lnTo>
                  <a:lnTo>
                    <a:pt x="531" y="831"/>
                  </a:lnTo>
                  <a:lnTo>
                    <a:pt x="525" y="826"/>
                  </a:lnTo>
                  <a:lnTo>
                    <a:pt x="508" y="814"/>
                  </a:lnTo>
                  <a:lnTo>
                    <a:pt x="507" y="810"/>
                  </a:lnTo>
                  <a:lnTo>
                    <a:pt x="505" y="805"/>
                  </a:lnTo>
                  <a:lnTo>
                    <a:pt x="510" y="801"/>
                  </a:lnTo>
                  <a:lnTo>
                    <a:pt x="516" y="796"/>
                  </a:lnTo>
                  <a:lnTo>
                    <a:pt x="529" y="790"/>
                  </a:lnTo>
                  <a:lnTo>
                    <a:pt x="539" y="784"/>
                  </a:lnTo>
                  <a:lnTo>
                    <a:pt x="553" y="772"/>
                  </a:lnTo>
                  <a:lnTo>
                    <a:pt x="559" y="769"/>
                  </a:lnTo>
                  <a:lnTo>
                    <a:pt x="567" y="765"/>
                  </a:lnTo>
                  <a:lnTo>
                    <a:pt x="574" y="762"/>
                  </a:lnTo>
                  <a:lnTo>
                    <a:pt x="593" y="749"/>
                  </a:lnTo>
                  <a:lnTo>
                    <a:pt x="601" y="748"/>
                  </a:lnTo>
                  <a:lnTo>
                    <a:pt x="611" y="746"/>
                  </a:lnTo>
                  <a:lnTo>
                    <a:pt x="627" y="749"/>
                  </a:lnTo>
                  <a:lnTo>
                    <a:pt x="644" y="748"/>
                  </a:lnTo>
                  <a:lnTo>
                    <a:pt x="715" y="763"/>
                  </a:lnTo>
                  <a:lnTo>
                    <a:pt x="720" y="766"/>
                  </a:lnTo>
                  <a:lnTo>
                    <a:pt x="724" y="768"/>
                  </a:lnTo>
                  <a:lnTo>
                    <a:pt x="734" y="781"/>
                  </a:lnTo>
                  <a:lnTo>
                    <a:pt x="746" y="782"/>
                  </a:lnTo>
                  <a:lnTo>
                    <a:pt x="750" y="781"/>
                  </a:lnTo>
                  <a:lnTo>
                    <a:pt x="754" y="779"/>
                  </a:lnTo>
                  <a:lnTo>
                    <a:pt x="757" y="775"/>
                  </a:lnTo>
                  <a:lnTo>
                    <a:pt x="778" y="740"/>
                  </a:lnTo>
                  <a:lnTo>
                    <a:pt x="793" y="725"/>
                  </a:lnTo>
                  <a:lnTo>
                    <a:pt x="800" y="720"/>
                  </a:lnTo>
                  <a:lnTo>
                    <a:pt x="801" y="718"/>
                  </a:lnTo>
                  <a:lnTo>
                    <a:pt x="801" y="714"/>
                  </a:lnTo>
                  <a:lnTo>
                    <a:pt x="801" y="711"/>
                  </a:lnTo>
                  <a:lnTo>
                    <a:pt x="803" y="706"/>
                  </a:lnTo>
                  <a:lnTo>
                    <a:pt x="807" y="702"/>
                  </a:lnTo>
                  <a:lnTo>
                    <a:pt x="815" y="692"/>
                  </a:lnTo>
                  <a:lnTo>
                    <a:pt x="823" y="686"/>
                  </a:lnTo>
                  <a:lnTo>
                    <a:pt x="836" y="677"/>
                  </a:lnTo>
                  <a:lnTo>
                    <a:pt x="843" y="675"/>
                  </a:lnTo>
                  <a:lnTo>
                    <a:pt x="851" y="675"/>
                  </a:lnTo>
                  <a:lnTo>
                    <a:pt x="872" y="681"/>
                  </a:lnTo>
                  <a:lnTo>
                    <a:pt x="894" y="684"/>
                  </a:lnTo>
                  <a:lnTo>
                    <a:pt x="903" y="687"/>
                  </a:lnTo>
                  <a:lnTo>
                    <a:pt x="916" y="690"/>
                  </a:lnTo>
                  <a:lnTo>
                    <a:pt x="924" y="690"/>
                  </a:lnTo>
                  <a:lnTo>
                    <a:pt x="929" y="691"/>
                  </a:lnTo>
                  <a:lnTo>
                    <a:pt x="936" y="693"/>
                  </a:lnTo>
                  <a:lnTo>
                    <a:pt x="940" y="697"/>
                  </a:lnTo>
                  <a:lnTo>
                    <a:pt x="950" y="706"/>
                  </a:lnTo>
                  <a:lnTo>
                    <a:pt x="955" y="710"/>
                  </a:lnTo>
                  <a:lnTo>
                    <a:pt x="959" y="712"/>
                  </a:lnTo>
                  <a:lnTo>
                    <a:pt x="965" y="711"/>
                  </a:lnTo>
                  <a:lnTo>
                    <a:pt x="969" y="709"/>
                  </a:lnTo>
                  <a:lnTo>
                    <a:pt x="980" y="700"/>
                  </a:lnTo>
                  <a:lnTo>
                    <a:pt x="991" y="688"/>
                  </a:lnTo>
                  <a:lnTo>
                    <a:pt x="1014" y="659"/>
                  </a:lnTo>
                  <a:lnTo>
                    <a:pt x="1035" y="635"/>
                  </a:lnTo>
                  <a:lnTo>
                    <a:pt x="1045" y="621"/>
                  </a:lnTo>
                  <a:lnTo>
                    <a:pt x="1050" y="615"/>
                  </a:lnTo>
                  <a:lnTo>
                    <a:pt x="1072" y="600"/>
                  </a:lnTo>
                  <a:lnTo>
                    <a:pt x="1079" y="598"/>
                  </a:lnTo>
                  <a:lnTo>
                    <a:pt x="1084" y="597"/>
                  </a:lnTo>
                  <a:lnTo>
                    <a:pt x="1095" y="599"/>
                  </a:lnTo>
                  <a:lnTo>
                    <a:pt x="1101" y="599"/>
                  </a:lnTo>
                  <a:lnTo>
                    <a:pt x="1111" y="598"/>
                  </a:lnTo>
                  <a:lnTo>
                    <a:pt x="1118" y="595"/>
                  </a:lnTo>
                  <a:lnTo>
                    <a:pt x="1123" y="591"/>
                  </a:lnTo>
                  <a:lnTo>
                    <a:pt x="1126" y="586"/>
                  </a:lnTo>
                  <a:lnTo>
                    <a:pt x="1127" y="577"/>
                  </a:lnTo>
                  <a:lnTo>
                    <a:pt x="1127" y="56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BE50660-9F83-0FCA-4243-B9BE4DCC2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303" y="4661612"/>
              <a:ext cx="964909" cy="823703"/>
            </a:xfrm>
            <a:custGeom>
              <a:avLst/>
              <a:gdLst>
                <a:gd name="T0" fmla="*/ 499 w 656"/>
                <a:gd name="T1" fmla="*/ 78 h 560"/>
                <a:gd name="T2" fmla="*/ 503 w 656"/>
                <a:gd name="T3" fmla="*/ 107 h 560"/>
                <a:gd name="T4" fmla="*/ 481 w 656"/>
                <a:gd name="T5" fmla="*/ 158 h 560"/>
                <a:gd name="T6" fmla="*/ 458 w 656"/>
                <a:gd name="T7" fmla="*/ 176 h 560"/>
                <a:gd name="T8" fmla="*/ 458 w 656"/>
                <a:gd name="T9" fmla="*/ 188 h 560"/>
                <a:gd name="T10" fmla="*/ 527 w 656"/>
                <a:gd name="T11" fmla="*/ 182 h 560"/>
                <a:gd name="T12" fmla="*/ 572 w 656"/>
                <a:gd name="T13" fmla="*/ 182 h 560"/>
                <a:gd name="T14" fmla="*/ 592 w 656"/>
                <a:gd name="T15" fmla="*/ 237 h 560"/>
                <a:gd name="T16" fmla="*/ 602 w 656"/>
                <a:gd name="T17" fmla="*/ 258 h 560"/>
                <a:gd name="T18" fmla="*/ 615 w 656"/>
                <a:gd name="T19" fmla="*/ 263 h 560"/>
                <a:gd name="T20" fmla="*/ 617 w 656"/>
                <a:gd name="T21" fmla="*/ 275 h 560"/>
                <a:gd name="T22" fmla="*/ 588 w 656"/>
                <a:gd name="T23" fmla="*/ 313 h 560"/>
                <a:gd name="T24" fmla="*/ 585 w 656"/>
                <a:gd name="T25" fmla="*/ 346 h 560"/>
                <a:gd name="T26" fmla="*/ 576 w 656"/>
                <a:gd name="T27" fmla="*/ 391 h 560"/>
                <a:gd name="T28" fmla="*/ 588 w 656"/>
                <a:gd name="T29" fmla="*/ 390 h 560"/>
                <a:gd name="T30" fmla="*/ 608 w 656"/>
                <a:gd name="T31" fmla="*/ 367 h 560"/>
                <a:gd name="T32" fmla="*/ 627 w 656"/>
                <a:gd name="T33" fmla="*/ 371 h 560"/>
                <a:gd name="T34" fmla="*/ 646 w 656"/>
                <a:gd name="T35" fmla="*/ 386 h 560"/>
                <a:gd name="T36" fmla="*/ 656 w 656"/>
                <a:gd name="T37" fmla="*/ 409 h 560"/>
                <a:gd name="T38" fmla="*/ 648 w 656"/>
                <a:gd name="T39" fmla="*/ 436 h 560"/>
                <a:gd name="T40" fmla="*/ 631 w 656"/>
                <a:gd name="T41" fmla="*/ 454 h 560"/>
                <a:gd name="T42" fmla="*/ 635 w 656"/>
                <a:gd name="T43" fmla="*/ 483 h 560"/>
                <a:gd name="T44" fmla="*/ 622 w 656"/>
                <a:gd name="T45" fmla="*/ 502 h 560"/>
                <a:gd name="T46" fmla="*/ 590 w 656"/>
                <a:gd name="T47" fmla="*/ 509 h 560"/>
                <a:gd name="T48" fmla="*/ 560 w 656"/>
                <a:gd name="T49" fmla="*/ 501 h 560"/>
                <a:gd name="T50" fmla="*/ 518 w 656"/>
                <a:gd name="T51" fmla="*/ 500 h 560"/>
                <a:gd name="T52" fmla="*/ 499 w 656"/>
                <a:gd name="T53" fmla="*/ 476 h 560"/>
                <a:gd name="T54" fmla="*/ 482 w 656"/>
                <a:gd name="T55" fmla="*/ 479 h 560"/>
                <a:gd name="T56" fmla="*/ 446 w 656"/>
                <a:gd name="T57" fmla="*/ 501 h 560"/>
                <a:gd name="T58" fmla="*/ 404 w 656"/>
                <a:gd name="T59" fmla="*/ 529 h 560"/>
                <a:gd name="T60" fmla="*/ 336 w 656"/>
                <a:gd name="T61" fmla="*/ 525 h 560"/>
                <a:gd name="T62" fmla="*/ 274 w 656"/>
                <a:gd name="T63" fmla="*/ 527 h 560"/>
                <a:gd name="T64" fmla="*/ 180 w 656"/>
                <a:gd name="T65" fmla="*/ 557 h 560"/>
                <a:gd name="T66" fmla="*/ 121 w 656"/>
                <a:gd name="T67" fmla="*/ 560 h 560"/>
                <a:gd name="T68" fmla="*/ 104 w 656"/>
                <a:gd name="T69" fmla="*/ 545 h 560"/>
                <a:gd name="T70" fmla="*/ 102 w 656"/>
                <a:gd name="T71" fmla="*/ 521 h 560"/>
                <a:gd name="T72" fmla="*/ 79 w 656"/>
                <a:gd name="T73" fmla="*/ 473 h 560"/>
                <a:gd name="T74" fmla="*/ 86 w 656"/>
                <a:gd name="T75" fmla="*/ 457 h 560"/>
                <a:gd name="T76" fmla="*/ 80 w 656"/>
                <a:gd name="T77" fmla="*/ 434 h 560"/>
                <a:gd name="T78" fmla="*/ 86 w 656"/>
                <a:gd name="T79" fmla="*/ 408 h 560"/>
                <a:gd name="T80" fmla="*/ 83 w 656"/>
                <a:gd name="T81" fmla="*/ 380 h 560"/>
                <a:gd name="T82" fmla="*/ 75 w 656"/>
                <a:gd name="T83" fmla="*/ 364 h 560"/>
                <a:gd name="T84" fmla="*/ 64 w 656"/>
                <a:gd name="T85" fmla="*/ 352 h 560"/>
                <a:gd name="T86" fmla="*/ 71 w 656"/>
                <a:gd name="T87" fmla="*/ 314 h 560"/>
                <a:gd name="T88" fmla="*/ 53 w 656"/>
                <a:gd name="T89" fmla="*/ 299 h 560"/>
                <a:gd name="T90" fmla="*/ 52 w 656"/>
                <a:gd name="T91" fmla="*/ 268 h 560"/>
                <a:gd name="T92" fmla="*/ 19 w 656"/>
                <a:gd name="T93" fmla="*/ 242 h 560"/>
                <a:gd name="T94" fmla="*/ 4 w 656"/>
                <a:gd name="T95" fmla="*/ 234 h 560"/>
                <a:gd name="T96" fmla="*/ 2 w 656"/>
                <a:gd name="T97" fmla="*/ 217 h 560"/>
                <a:gd name="T98" fmla="*/ 20 w 656"/>
                <a:gd name="T99" fmla="*/ 194 h 560"/>
                <a:gd name="T100" fmla="*/ 17 w 656"/>
                <a:gd name="T101" fmla="*/ 208 h 560"/>
                <a:gd name="T102" fmla="*/ 33 w 656"/>
                <a:gd name="T103" fmla="*/ 195 h 560"/>
                <a:gd name="T104" fmla="*/ 66 w 656"/>
                <a:gd name="T105" fmla="*/ 200 h 560"/>
                <a:gd name="T106" fmla="*/ 129 w 656"/>
                <a:gd name="T107" fmla="*/ 192 h 560"/>
                <a:gd name="T108" fmla="*/ 155 w 656"/>
                <a:gd name="T109" fmla="*/ 171 h 560"/>
                <a:gd name="T110" fmla="*/ 191 w 656"/>
                <a:gd name="T111" fmla="*/ 106 h 560"/>
                <a:gd name="T112" fmla="*/ 204 w 656"/>
                <a:gd name="T113" fmla="*/ 157 h 560"/>
                <a:gd name="T114" fmla="*/ 220 w 656"/>
                <a:gd name="T115" fmla="*/ 140 h 560"/>
                <a:gd name="T116" fmla="*/ 253 w 656"/>
                <a:gd name="T117" fmla="*/ 114 h 560"/>
                <a:gd name="T118" fmla="*/ 272 w 656"/>
                <a:gd name="T119" fmla="*/ 73 h 560"/>
                <a:gd name="T120" fmla="*/ 300 w 656"/>
                <a:gd name="T121" fmla="*/ 0 h 560"/>
                <a:gd name="T122" fmla="*/ 358 w 656"/>
                <a:gd name="T123" fmla="*/ 3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6" h="560">
                  <a:moveTo>
                    <a:pt x="391" y="13"/>
                  </a:moveTo>
                  <a:lnTo>
                    <a:pt x="474" y="57"/>
                  </a:lnTo>
                  <a:lnTo>
                    <a:pt x="499" y="78"/>
                  </a:lnTo>
                  <a:lnTo>
                    <a:pt x="502" y="87"/>
                  </a:lnTo>
                  <a:lnTo>
                    <a:pt x="504" y="98"/>
                  </a:lnTo>
                  <a:lnTo>
                    <a:pt x="503" y="107"/>
                  </a:lnTo>
                  <a:lnTo>
                    <a:pt x="500" y="116"/>
                  </a:lnTo>
                  <a:lnTo>
                    <a:pt x="485" y="144"/>
                  </a:lnTo>
                  <a:lnTo>
                    <a:pt x="481" y="158"/>
                  </a:lnTo>
                  <a:lnTo>
                    <a:pt x="477" y="165"/>
                  </a:lnTo>
                  <a:lnTo>
                    <a:pt x="471" y="169"/>
                  </a:lnTo>
                  <a:lnTo>
                    <a:pt x="458" y="176"/>
                  </a:lnTo>
                  <a:lnTo>
                    <a:pt x="455" y="179"/>
                  </a:lnTo>
                  <a:lnTo>
                    <a:pt x="453" y="184"/>
                  </a:lnTo>
                  <a:lnTo>
                    <a:pt x="458" y="188"/>
                  </a:lnTo>
                  <a:lnTo>
                    <a:pt x="465" y="191"/>
                  </a:lnTo>
                  <a:lnTo>
                    <a:pt x="489" y="191"/>
                  </a:lnTo>
                  <a:lnTo>
                    <a:pt x="527" y="182"/>
                  </a:lnTo>
                  <a:lnTo>
                    <a:pt x="552" y="180"/>
                  </a:lnTo>
                  <a:lnTo>
                    <a:pt x="560" y="180"/>
                  </a:lnTo>
                  <a:lnTo>
                    <a:pt x="572" y="182"/>
                  </a:lnTo>
                  <a:lnTo>
                    <a:pt x="594" y="190"/>
                  </a:lnTo>
                  <a:lnTo>
                    <a:pt x="591" y="226"/>
                  </a:lnTo>
                  <a:lnTo>
                    <a:pt x="592" y="237"/>
                  </a:lnTo>
                  <a:lnTo>
                    <a:pt x="595" y="248"/>
                  </a:lnTo>
                  <a:lnTo>
                    <a:pt x="598" y="255"/>
                  </a:lnTo>
                  <a:lnTo>
                    <a:pt x="602" y="258"/>
                  </a:lnTo>
                  <a:lnTo>
                    <a:pt x="607" y="259"/>
                  </a:lnTo>
                  <a:lnTo>
                    <a:pt x="611" y="260"/>
                  </a:lnTo>
                  <a:lnTo>
                    <a:pt x="615" y="263"/>
                  </a:lnTo>
                  <a:lnTo>
                    <a:pt x="618" y="268"/>
                  </a:lnTo>
                  <a:lnTo>
                    <a:pt x="618" y="271"/>
                  </a:lnTo>
                  <a:lnTo>
                    <a:pt x="617" y="275"/>
                  </a:lnTo>
                  <a:lnTo>
                    <a:pt x="615" y="280"/>
                  </a:lnTo>
                  <a:lnTo>
                    <a:pt x="592" y="306"/>
                  </a:lnTo>
                  <a:lnTo>
                    <a:pt x="588" y="313"/>
                  </a:lnTo>
                  <a:lnTo>
                    <a:pt x="585" y="321"/>
                  </a:lnTo>
                  <a:lnTo>
                    <a:pt x="584" y="337"/>
                  </a:lnTo>
                  <a:lnTo>
                    <a:pt x="585" y="346"/>
                  </a:lnTo>
                  <a:lnTo>
                    <a:pt x="576" y="376"/>
                  </a:lnTo>
                  <a:lnTo>
                    <a:pt x="575" y="385"/>
                  </a:lnTo>
                  <a:lnTo>
                    <a:pt x="576" y="391"/>
                  </a:lnTo>
                  <a:lnTo>
                    <a:pt x="579" y="396"/>
                  </a:lnTo>
                  <a:lnTo>
                    <a:pt x="583" y="395"/>
                  </a:lnTo>
                  <a:lnTo>
                    <a:pt x="588" y="390"/>
                  </a:lnTo>
                  <a:lnTo>
                    <a:pt x="596" y="382"/>
                  </a:lnTo>
                  <a:lnTo>
                    <a:pt x="604" y="372"/>
                  </a:lnTo>
                  <a:lnTo>
                    <a:pt x="608" y="367"/>
                  </a:lnTo>
                  <a:lnTo>
                    <a:pt x="615" y="365"/>
                  </a:lnTo>
                  <a:lnTo>
                    <a:pt x="621" y="367"/>
                  </a:lnTo>
                  <a:lnTo>
                    <a:pt x="627" y="371"/>
                  </a:lnTo>
                  <a:lnTo>
                    <a:pt x="634" y="377"/>
                  </a:lnTo>
                  <a:lnTo>
                    <a:pt x="642" y="383"/>
                  </a:lnTo>
                  <a:lnTo>
                    <a:pt x="646" y="386"/>
                  </a:lnTo>
                  <a:lnTo>
                    <a:pt x="651" y="391"/>
                  </a:lnTo>
                  <a:lnTo>
                    <a:pt x="654" y="399"/>
                  </a:lnTo>
                  <a:lnTo>
                    <a:pt x="656" y="409"/>
                  </a:lnTo>
                  <a:lnTo>
                    <a:pt x="654" y="418"/>
                  </a:lnTo>
                  <a:lnTo>
                    <a:pt x="651" y="429"/>
                  </a:lnTo>
                  <a:lnTo>
                    <a:pt x="648" y="436"/>
                  </a:lnTo>
                  <a:lnTo>
                    <a:pt x="645" y="440"/>
                  </a:lnTo>
                  <a:lnTo>
                    <a:pt x="634" y="450"/>
                  </a:lnTo>
                  <a:lnTo>
                    <a:pt x="631" y="454"/>
                  </a:lnTo>
                  <a:lnTo>
                    <a:pt x="631" y="459"/>
                  </a:lnTo>
                  <a:lnTo>
                    <a:pt x="635" y="477"/>
                  </a:lnTo>
                  <a:lnTo>
                    <a:pt x="635" y="483"/>
                  </a:lnTo>
                  <a:lnTo>
                    <a:pt x="633" y="490"/>
                  </a:lnTo>
                  <a:lnTo>
                    <a:pt x="628" y="496"/>
                  </a:lnTo>
                  <a:lnTo>
                    <a:pt x="622" y="502"/>
                  </a:lnTo>
                  <a:lnTo>
                    <a:pt x="614" y="507"/>
                  </a:lnTo>
                  <a:lnTo>
                    <a:pt x="602" y="511"/>
                  </a:lnTo>
                  <a:lnTo>
                    <a:pt x="590" y="509"/>
                  </a:lnTo>
                  <a:lnTo>
                    <a:pt x="581" y="507"/>
                  </a:lnTo>
                  <a:lnTo>
                    <a:pt x="569" y="503"/>
                  </a:lnTo>
                  <a:lnTo>
                    <a:pt x="560" y="501"/>
                  </a:lnTo>
                  <a:lnTo>
                    <a:pt x="537" y="504"/>
                  </a:lnTo>
                  <a:lnTo>
                    <a:pt x="526" y="503"/>
                  </a:lnTo>
                  <a:lnTo>
                    <a:pt x="518" y="500"/>
                  </a:lnTo>
                  <a:lnTo>
                    <a:pt x="507" y="490"/>
                  </a:lnTo>
                  <a:lnTo>
                    <a:pt x="503" y="485"/>
                  </a:lnTo>
                  <a:lnTo>
                    <a:pt x="499" y="476"/>
                  </a:lnTo>
                  <a:lnTo>
                    <a:pt x="494" y="475"/>
                  </a:lnTo>
                  <a:lnTo>
                    <a:pt x="489" y="475"/>
                  </a:lnTo>
                  <a:lnTo>
                    <a:pt x="482" y="479"/>
                  </a:lnTo>
                  <a:lnTo>
                    <a:pt x="473" y="483"/>
                  </a:lnTo>
                  <a:lnTo>
                    <a:pt x="452" y="494"/>
                  </a:lnTo>
                  <a:lnTo>
                    <a:pt x="446" y="501"/>
                  </a:lnTo>
                  <a:lnTo>
                    <a:pt x="428" y="520"/>
                  </a:lnTo>
                  <a:lnTo>
                    <a:pt x="419" y="526"/>
                  </a:lnTo>
                  <a:lnTo>
                    <a:pt x="404" y="529"/>
                  </a:lnTo>
                  <a:lnTo>
                    <a:pt x="361" y="531"/>
                  </a:lnTo>
                  <a:lnTo>
                    <a:pt x="349" y="530"/>
                  </a:lnTo>
                  <a:lnTo>
                    <a:pt x="336" y="525"/>
                  </a:lnTo>
                  <a:lnTo>
                    <a:pt x="325" y="522"/>
                  </a:lnTo>
                  <a:lnTo>
                    <a:pt x="313" y="522"/>
                  </a:lnTo>
                  <a:lnTo>
                    <a:pt x="274" y="527"/>
                  </a:lnTo>
                  <a:lnTo>
                    <a:pt x="261" y="529"/>
                  </a:lnTo>
                  <a:lnTo>
                    <a:pt x="222" y="548"/>
                  </a:lnTo>
                  <a:lnTo>
                    <a:pt x="180" y="557"/>
                  </a:lnTo>
                  <a:lnTo>
                    <a:pt x="130" y="560"/>
                  </a:lnTo>
                  <a:lnTo>
                    <a:pt x="121" y="560"/>
                  </a:lnTo>
                  <a:lnTo>
                    <a:pt x="121" y="560"/>
                  </a:lnTo>
                  <a:lnTo>
                    <a:pt x="116" y="556"/>
                  </a:lnTo>
                  <a:lnTo>
                    <a:pt x="111" y="552"/>
                  </a:lnTo>
                  <a:lnTo>
                    <a:pt x="104" y="545"/>
                  </a:lnTo>
                  <a:lnTo>
                    <a:pt x="103" y="540"/>
                  </a:lnTo>
                  <a:lnTo>
                    <a:pt x="103" y="527"/>
                  </a:lnTo>
                  <a:lnTo>
                    <a:pt x="102" y="521"/>
                  </a:lnTo>
                  <a:lnTo>
                    <a:pt x="97" y="507"/>
                  </a:lnTo>
                  <a:lnTo>
                    <a:pt x="83" y="486"/>
                  </a:lnTo>
                  <a:lnTo>
                    <a:pt x="79" y="473"/>
                  </a:lnTo>
                  <a:lnTo>
                    <a:pt x="80" y="467"/>
                  </a:lnTo>
                  <a:lnTo>
                    <a:pt x="84" y="463"/>
                  </a:lnTo>
                  <a:lnTo>
                    <a:pt x="86" y="457"/>
                  </a:lnTo>
                  <a:lnTo>
                    <a:pt x="86" y="451"/>
                  </a:lnTo>
                  <a:lnTo>
                    <a:pt x="82" y="438"/>
                  </a:lnTo>
                  <a:lnTo>
                    <a:pt x="80" y="434"/>
                  </a:lnTo>
                  <a:lnTo>
                    <a:pt x="80" y="426"/>
                  </a:lnTo>
                  <a:lnTo>
                    <a:pt x="82" y="421"/>
                  </a:lnTo>
                  <a:lnTo>
                    <a:pt x="86" y="408"/>
                  </a:lnTo>
                  <a:lnTo>
                    <a:pt x="87" y="401"/>
                  </a:lnTo>
                  <a:lnTo>
                    <a:pt x="86" y="393"/>
                  </a:lnTo>
                  <a:lnTo>
                    <a:pt x="83" y="380"/>
                  </a:lnTo>
                  <a:lnTo>
                    <a:pt x="83" y="373"/>
                  </a:lnTo>
                  <a:lnTo>
                    <a:pt x="80" y="367"/>
                  </a:lnTo>
                  <a:lnTo>
                    <a:pt x="75" y="364"/>
                  </a:lnTo>
                  <a:lnTo>
                    <a:pt x="69" y="362"/>
                  </a:lnTo>
                  <a:lnTo>
                    <a:pt x="64" y="358"/>
                  </a:lnTo>
                  <a:lnTo>
                    <a:pt x="64" y="352"/>
                  </a:lnTo>
                  <a:lnTo>
                    <a:pt x="70" y="334"/>
                  </a:lnTo>
                  <a:lnTo>
                    <a:pt x="71" y="321"/>
                  </a:lnTo>
                  <a:lnTo>
                    <a:pt x="71" y="314"/>
                  </a:lnTo>
                  <a:lnTo>
                    <a:pt x="69" y="309"/>
                  </a:lnTo>
                  <a:lnTo>
                    <a:pt x="64" y="304"/>
                  </a:lnTo>
                  <a:lnTo>
                    <a:pt x="53" y="299"/>
                  </a:lnTo>
                  <a:lnTo>
                    <a:pt x="49" y="296"/>
                  </a:lnTo>
                  <a:lnTo>
                    <a:pt x="48" y="282"/>
                  </a:lnTo>
                  <a:lnTo>
                    <a:pt x="52" y="268"/>
                  </a:lnTo>
                  <a:lnTo>
                    <a:pt x="53" y="256"/>
                  </a:lnTo>
                  <a:lnTo>
                    <a:pt x="44" y="248"/>
                  </a:lnTo>
                  <a:lnTo>
                    <a:pt x="19" y="242"/>
                  </a:lnTo>
                  <a:lnTo>
                    <a:pt x="8" y="236"/>
                  </a:lnTo>
                  <a:lnTo>
                    <a:pt x="4" y="234"/>
                  </a:lnTo>
                  <a:lnTo>
                    <a:pt x="4" y="234"/>
                  </a:lnTo>
                  <a:lnTo>
                    <a:pt x="1" y="229"/>
                  </a:lnTo>
                  <a:lnTo>
                    <a:pt x="0" y="224"/>
                  </a:lnTo>
                  <a:lnTo>
                    <a:pt x="2" y="217"/>
                  </a:lnTo>
                  <a:lnTo>
                    <a:pt x="12" y="211"/>
                  </a:lnTo>
                  <a:lnTo>
                    <a:pt x="17" y="204"/>
                  </a:lnTo>
                  <a:lnTo>
                    <a:pt x="20" y="194"/>
                  </a:lnTo>
                  <a:lnTo>
                    <a:pt x="25" y="185"/>
                  </a:lnTo>
                  <a:lnTo>
                    <a:pt x="19" y="204"/>
                  </a:lnTo>
                  <a:lnTo>
                    <a:pt x="17" y="208"/>
                  </a:lnTo>
                  <a:lnTo>
                    <a:pt x="21" y="222"/>
                  </a:lnTo>
                  <a:lnTo>
                    <a:pt x="28" y="216"/>
                  </a:lnTo>
                  <a:lnTo>
                    <a:pt x="33" y="195"/>
                  </a:lnTo>
                  <a:lnTo>
                    <a:pt x="39" y="185"/>
                  </a:lnTo>
                  <a:lnTo>
                    <a:pt x="58" y="204"/>
                  </a:lnTo>
                  <a:lnTo>
                    <a:pt x="66" y="200"/>
                  </a:lnTo>
                  <a:lnTo>
                    <a:pt x="115" y="190"/>
                  </a:lnTo>
                  <a:lnTo>
                    <a:pt x="124" y="191"/>
                  </a:lnTo>
                  <a:lnTo>
                    <a:pt x="129" y="192"/>
                  </a:lnTo>
                  <a:lnTo>
                    <a:pt x="134" y="192"/>
                  </a:lnTo>
                  <a:lnTo>
                    <a:pt x="140" y="190"/>
                  </a:lnTo>
                  <a:lnTo>
                    <a:pt x="155" y="171"/>
                  </a:lnTo>
                  <a:lnTo>
                    <a:pt x="159" y="169"/>
                  </a:lnTo>
                  <a:lnTo>
                    <a:pt x="185" y="116"/>
                  </a:lnTo>
                  <a:lnTo>
                    <a:pt x="191" y="106"/>
                  </a:lnTo>
                  <a:lnTo>
                    <a:pt x="206" y="110"/>
                  </a:lnTo>
                  <a:lnTo>
                    <a:pt x="209" y="126"/>
                  </a:lnTo>
                  <a:lnTo>
                    <a:pt x="204" y="157"/>
                  </a:lnTo>
                  <a:lnTo>
                    <a:pt x="212" y="153"/>
                  </a:lnTo>
                  <a:lnTo>
                    <a:pt x="216" y="146"/>
                  </a:lnTo>
                  <a:lnTo>
                    <a:pt x="220" y="140"/>
                  </a:lnTo>
                  <a:lnTo>
                    <a:pt x="226" y="132"/>
                  </a:lnTo>
                  <a:lnTo>
                    <a:pt x="231" y="127"/>
                  </a:lnTo>
                  <a:lnTo>
                    <a:pt x="253" y="114"/>
                  </a:lnTo>
                  <a:lnTo>
                    <a:pt x="263" y="102"/>
                  </a:lnTo>
                  <a:lnTo>
                    <a:pt x="269" y="88"/>
                  </a:lnTo>
                  <a:lnTo>
                    <a:pt x="272" y="73"/>
                  </a:lnTo>
                  <a:lnTo>
                    <a:pt x="276" y="48"/>
                  </a:lnTo>
                  <a:lnTo>
                    <a:pt x="286" y="23"/>
                  </a:lnTo>
                  <a:lnTo>
                    <a:pt x="300" y="0"/>
                  </a:lnTo>
                  <a:lnTo>
                    <a:pt x="302" y="0"/>
                  </a:lnTo>
                  <a:lnTo>
                    <a:pt x="306" y="1"/>
                  </a:lnTo>
                  <a:lnTo>
                    <a:pt x="358" y="3"/>
                  </a:lnTo>
                  <a:lnTo>
                    <a:pt x="364" y="6"/>
                  </a:lnTo>
                  <a:lnTo>
                    <a:pt x="391" y="1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6F7DCC32-FE4F-6CF1-5908-9E3FDEC11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397" y="2002228"/>
              <a:ext cx="920782" cy="850179"/>
            </a:xfrm>
            <a:custGeom>
              <a:avLst/>
              <a:gdLst>
                <a:gd name="T0" fmla="*/ 437 w 626"/>
                <a:gd name="T1" fmla="*/ 194 h 578"/>
                <a:gd name="T2" fmla="*/ 453 w 626"/>
                <a:gd name="T3" fmla="*/ 187 h 578"/>
                <a:gd name="T4" fmla="*/ 472 w 626"/>
                <a:gd name="T5" fmla="*/ 174 h 578"/>
                <a:gd name="T6" fmla="*/ 487 w 626"/>
                <a:gd name="T7" fmla="*/ 183 h 578"/>
                <a:gd name="T8" fmla="*/ 517 w 626"/>
                <a:gd name="T9" fmla="*/ 172 h 578"/>
                <a:gd name="T10" fmla="*/ 549 w 626"/>
                <a:gd name="T11" fmla="*/ 174 h 578"/>
                <a:gd name="T12" fmla="*/ 621 w 626"/>
                <a:gd name="T13" fmla="*/ 226 h 578"/>
                <a:gd name="T14" fmla="*/ 622 w 626"/>
                <a:gd name="T15" fmla="*/ 275 h 578"/>
                <a:gd name="T16" fmla="*/ 624 w 626"/>
                <a:gd name="T17" fmla="*/ 326 h 578"/>
                <a:gd name="T18" fmla="*/ 607 w 626"/>
                <a:gd name="T19" fmla="*/ 359 h 578"/>
                <a:gd name="T20" fmla="*/ 603 w 626"/>
                <a:gd name="T21" fmla="*/ 381 h 578"/>
                <a:gd name="T22" fmla="*/ 593 w 626"/>
                <a:gd name="T23" fmla="*/ 392 h 578"/>
                <a:gd name="T24" fmla="*/ 598 w 626"/>
                <a:gd name="T25" fmla="*/ 405 h 578"/>
                <a:gd name="T26" fmla="*/ 604 w 626"/>
                <a:gd name="T27" fmla="*/ 430 h 578"/>
                <a:gd name="T28" fmla="*/ 596 w 626"/>
                <a:gd name="T29" fmla="*/ 449 h 578"/>
                <a:gd name="T30" fmla="*/ 587 w 626"/>
                <a:gd name="T31" fmla="*/ 481 h 578"/>
                <a:gd name="T32" fmla="*/ 557 w 626"/>
                <a:gd name="T33" fmla="*/ 493 h 578"/>
                <a:gd name="T34" fmla="*/ 539 w 626"/>
                <a:gd name="T35" fmla="*/ 482 h 578"/>
                <a:gd name="T36" fmla="*/ 522 w 626"/>
                <a:gd name="T37" fmla="*/ 478 h 578"/>
                <a:gd name="T38" fmla="*/ 508 w 626"/>
                <a:gd name="T39" fmla="*/ 488 h 578"/>
                <a:gd name="T40" fmla="*/ 502 w 626"/>
                <a:gd name="T41" fmla="*/ 507 h 578"/>
                <a:gd name="T42" fmla="*/ 470 w 626"/>
                <a:gd name="T43" fmla="*/ 512 h 578"/>
                <a:gd name="T44" fmla="*/ 432 w 626"/>
                <a:gd name="T45" fmla="*/ 534 h 578"/>
                <a:gd name="T46" fmla="*/ 373 w 626"/>
                <a:gd name="T47" fmla="*/ 526 h 578"/>
                <a:gd name="T48" fmla="*/ 325 w 626"/>
                <a:gd name="T49" fmla="*/ 550 h 578"/>
                <a:gd name="T50" fmla="*/ 279 w 626"/>
                <a:gd name="T51" fmla="*/ 553 h 578"/>
                <a:gd name="T52" fmla="*/ 238 w 626"/>
                <a:gd name="T53" fmla="*/ 577 h 578"/>
                <a:gd name="T54" fmla="*/ 194 w 626"/>
                <a:gd name="T55" fmla="*/ 568 h 578"/>
                <a:gd name="T56" fmla="*/ 166 w 626"/>
                <a:gd name="T57" fmla="*/ 545 h 578"/>
                <a:gd name="T58" fmla="*/ 143 w 626"/>
                <a:gd name="T59" fmla="*/ 540 h 578"/>
                <a:gd name="T60" fmla="*/ 60 w 626"/>
                <a:gd name="T61" fmla="*/ 572 h 578"/>
                <a:gd name="T62" fmla="*/ 6 w 626"/>
                <a:gd name="T63" fmla="*/ 530 h 578"/>
                <a:gd name="T64" fmla="*/ 2 w 626"/>
                <a:gd name="T65" fmla="*/ 486 h 578"/>
                <a:gd name="T66" fmla="*/ 12 w 626"/>
                <a:gd name="T67" fmla="*/ 416 h 578"/>
                <a:gd name="T68" fmla="*/ 28 w 626"/>
                <a:gd name="T69" fmla="*/ 370 h 578"/>
                <a:gd name="T70" fmla="*/ 51 w 626"/>
                <a:gd name="T71" fmla="*/ 351 h 578"/>
                <a:gd name="T72" fmla="*/ 80 w 626"/>
                <a:gd name="T73" fmla="*/ 306 h 578"/>
                <a:gd name="T74" fmla="*/ 95 w 626"/>
                <a:gd name="T75" fmla="*/ 294 h 578"/>
                <a:gd name="T76" fmla="*/ 158 w 626"/>
                <a:gd name="T77" fmla="*/ 138 h 578"/>
                <a:gd name="T78" fmla="*/ 175 w 626"/>
                <a:gd name="T79" fmla="*/ 158 h 578"/>
                <a:gd name="T80" fmla="*/ 192 w 626"/>
                <a:gd name="T81" fmla="*/ 157 h 578"/>
                <a:gd name="T82" fmla="*/ 200 w 626"/>
                <a:gd name="T83" fmla="*/ 137 h 578"/>
                <a:gd name="T84" fmla="*/ 216 w 626"/>
                <a:gd name="T85" fmla="*/ 129 h 578"/>
                <a:gd name="T86" fmla="*/ 223 w 626"/>
                <a:gd name="T87" fmla="*/ 121 h 578"/>
                <a:gd name="T88" fmla="*/ 216 w 626"/>
                <a:gd name="T89" fmla="*/ 105 h 578"/>
                <a:gd name="T90" fmla="*/ 196 w 626"/>
                <a:gd name="T91" fmla="*/ 93 h 578"/>
                <a:gd name="T92" fmla="*/ 198 w 626"/>
                <a:gd name="T93" fmla="*/ 83 h 578"/>
                <a:gd name="T94" fmla="*/ 214 w 626"/>
                <a:gd name="T95" fmla="*/ 49 h 578"/>
                <a:gd name="T96" fmla="*/ 232 w 626"/>
                <a:gd name="T97" fmla="*/ 39 h 578"/>
                <a:gd name="T98" fmla="*/ 238 w 626"/>
                <a:gd name="T99" fmla="*/ 29 h 578"/>
                <a:gd name="T100" fmla="*/ 245 w 626"/>
                <a:gd name="T101" fmla="*/ 14 h 578"/>
                <a:gd name="T102" fmla="*/ 259 w 626"/>
                <a:gd name="T103" fmla="*/ 8 h 578"/>
                <a:gd name="T104" fmla="*/ 265 w 626"/>
                <a:gd name="T105" fmla="*/ 1 h 578"/>
                <a:gd name="T106" fmla="*/ 277 w 626"/>
                <a:gd name="T107" fmla="*/ 8 h 578"/>
                <a:gd name="T108" fmla="*/ 304 w 626"/>
                <a:gd name="T109" fmla="*/ 53 h 578"/>
                <a:gd name="T110" fmla="*/ 324 w 626"/>
                <a:gd name="T111" fmla="*/ 90 h 578"/>
                <a:gd name="T112" fmla="*/ 340 w 626"/>
                <a:gd name="T113" fmla="*/ 121 h 578"/>
                <a:gd name="T114" fmla="*/ 400 w 626"/>
                <a:gd name="T115" fmla="*/ 182 h 578"/>
                <a:gd name="T116" fmla="*/ 408 w 626"/>
                <a:gd name="T117" fmla="*/ 206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6" h="578">
                  <a:moveTo>
                    <a:pt x="413" y="208"/>
                  </a:moveTo>
                  <a:lnTo>
                    <a:pt x="419" y="206"/>
                  </a:lnTo>
                  <a:lnTo>
                    <a:pt x="437" y="194"/>
                  </a:lnTo>
                  <a:lnTo>
                    <a:pt x="443" y="190"/>
                  </a:lnTo>
                  <a:lnTo>
                    <a:pt x="447" y="189"/>
                  </a:lnTo>
                  <a:lnTo>
                    <a:pt x="453" y="187"/>
                  </a:lnTo>
                  <a:lnTo>
                    <a:pt x="457" y="184"/>
                  </a:lnTo>
                  <a:lnTo>
                    <a:pt x="465" y="179"/>
                  </a:lnTo>
                  <a:lnTo>
                    <a:pt x="472" y="174"/>
                  </a:lnTo>
                  <a:lnTo>
                    <a:pt x="479" y="174"/>
                  </a:lnTo>
                  <a:lnTo>
                    <a:pt x="484" y="179"/>
                  </a:lnTo>
                  <a:lnTo>
                    <a:pt x="487" y="183"/>
                  </a:lnTo>
                  <a:lnTo>
                    <a:pt x="491" y="185"/>
                  </a:lnTo>
                  <a:lnTo>
                    <a:pt x="499" y="182"/>
                  </a:lnTo>
                  <a:lnTo>
                    <a:pt x="517" y="172"/>
                  </a:lnTo>
                  <a:lnTo>
                    <a:pt x="523" y="171"/>
                  </a:lnTo>
                  <a:lnTo>
                    <a:pt x="533" y="172"/>
                  </a:lnTo>
                  <a:lnTo>
                    <a:pt x="549" y="174"/>
                  </a:lnTo>
                  <a:lnTo>
                    <a:pt x="558" y="173"/>
                  </a:lnTo>
                  <a:lnTo>
                    <a:pt x="576" y="181"/>
                  </a:lnTo>
                  <a:lnTo>
                    <a:pt x="621" y="226"/>
                  </a:lnTo>
                  <a:lnTo>
                    <a:pt x="615" y="244"/>
                  </a:lnTo>
                  <a:lnTo>
                    <a:pt x="615" y="251"/>
                  </a:lnTo>
                  <a:lnTo>
                    <a:pt x="622" y="275"/>
                  </a:lnTo>
                  <a:lnTo>
                    <a:pt x="626" y="299"/>
                  </a:lnTo>
                  <a:lnTo>
                    <a:pt x="626" y="313"/>
                  </a:lnTo>
                  <a:lnTo>
                    <a:pt x="624" y="326"/>
                  </a:lnTo>
                  <a:lnTo>
                    <a:pt x="616" y="340"/>
                  </a:lnTo>
                  <a:lnTo>
                    <a:pt x="610" y="351"/>
                  </a:lnTo>
                  <a:lnTo>
                    <a:pt x="607" y="359"/>
                  </a:lnTo>
                  <a:lnTo>
                    <a:pt x="606" y="366"/>
                  </a:lnTo>
                  <a:lnTo>
                    <a:pt x="606" y="376"/>
                  </a:lnTo>
                  <a:lnTo>
                    <a:pt x="603" y="381"/>
                  </a:lnTo>
                  <a:lnTo>
                    <a:pt x="600" y="387"/>
                  </a:lnTo>
                  <a:lnTo>
                    <a:pt x="596" y="390"/>
                  </a:lnTo>
                  <a:lnTo>
                    <a:pt x="593" y="392"/>
                  </a:lnTo>
                  <a:lnTo>
                    <a:pt x="590" y="396"/>
                  </a:lnTo>
                  <a:lnTo>
                    <a:pt x="593" y="401"/>
                  </a:lnTo>
                  <a:lnTo>
                    <a:pt x="598" y="405"/>
                  </a:lnTo>
                  <a:lnTo>
                    <a:pt x="613" y="407"/>
                  </a:lnTo>
                  <a:lnTo>
                    <a:pt x="624" y="414"/>
                  </a:lnTo>
                  <a:lnTo>
                    <a:pt x="604" y="430"/>
                  </a:lnTo>
                  <a:lnTo>
                    <a:pt x="602" y="435"/>
                  </a:lnTo>
                  <a:lnTo>
                    <a:pt x="598" y="442"/>
                  </a:lnTo>
                  <a:lnTo>
                    <a:pt x="596" y="449"/>
                  </a:lnTo>
                  <a:lnTo>
                    <a:pt x="596" y="456"/>
                  </a:lnTo>
                  <a:lnTo>
                    <a:pt x="596" y="468"/>
                  </a:lnTo>
                  <a:lnTo>
                    <a:pt x="587" y="481"/>
                  </a:lnTo>
                  <a:lnTo>
                    <a:pt x="582" y="488"/>
                  </a:lnTo>
                  <a:lnTo>
                    <a:pt x="573" y="492"/>
                  </a:lnTo>
                  <a:lnTo>
                    <a:pt x="557" y="493"/>
                  </a:lnTo>
                  <a:lnTo>
                    <a:pt x="548" y="491"/>
                  </a:lnTo>
                  <a:lnTo>
                    <a:pt x="543" y="486"/>
                  </a:lnTo>
                  <a:lnTo>
                    <a:pt x="539" y="482"/>
                  </a:lnTo>
                  <a:lnTo>
                    <a:pt x="534" y="480"/>
                  </a:lnTo>
                  <a:lnTo>
                    <a:pt x="530" y="478"/>
                  </a:lnTo>
                  <a:lnTo>
                    <a:pt x="522" y="478"/>
                  </a:lnTo>
                  <a:lnTo>
                    <a:pt x="516" y="479"/>
                  </a:lnTo>
                  <a:lnTo>
                    <a:pt x="509" y="485"/>
                  </a:lnTo>
                  <a:lnTo>
                    <a:pt x="508" y="488"/>
                  </a:lnTo>
                  <a:lnTo>
                    <a:pt x="508" y="498"/>
                  </a:lnTo>
                  <a:lnTo>
                    <a:pt x="506" y="503"/>
                  </a:lnTo>
                  <a:lnTo>
                    <a:pt x="502" y="507"/>
                  </a:lnTo>
                  <a:lnTo>
                    <a:pt x="495" y="509"/>
                  </a:lnTo>
                  <a:lnTo>
                    <a:pt x="478" y="510"/>
                  </a:lnTo>
                  <a:lnTo>
                    <a:pt x="470" y="512"/>
                  </a:lnTo>
                  <a:lnTo>
                    <a:pt x="455" y="525"/>
                  </a:lnTo>
                  <a:lnTo>
                    <a:pt x="443" y="531"/>
                  </a:lnTo>
                  <a:lnTo>
                    <a:pt x="432" y="534"/>
                  </a:lnTo>
                  <a:lnTo>
                    <a:pt x="416" y="533"/>
                  </a:lnTo>
                  <a:lnTo>
                    <a:pt x="385" y="526"/>
                  </a:lnTo>
                  <a:lnTo>
                    <a:pt x="373" y="526"/>
                  </a:lnTo>
                  <a:lnTo>
                    <a:pt x="360" y="529"/>
                  </a:lnTo>
                  <a:lnTo>
                    <a:pt x="343" y="534"/>
                  </a:lnTo>
                  <a:lnTo>
                    <a:pt x="325" y="550"/>
                  </a:lnTo>
                  <a:lnTo>
                    <a:pt x="307" y="558"/>
                  </a:lnTo>
                  <a:lnTo>
                    <a:pt x="287" y="552"/>
                  </a:lnTo>
                  <a:lnTo>
                    <a:pt x="279" y="553"/>
                  </a:lnTo>
                  <a:lnTo>
                    <a:pt x="268" y="559"/>
                  </a:lnTo>
                  <a:lnTo>
                    <a:pt x="249" y="574"/>
                  </a:lnTo>
                  <a:lnTo>
                    <a:pt x="238" y="577"/>
                  </a:lnTo>
                  <a:lnTo>
                    <a:pt x="223" y="578"/>
                  </a:lnTo>
                  <a:lnTo>
                    <a:pt x="207" y="574"/>
                  </a:lnTo>
                  <a:lnTo>
                    <a:pt x="194" y="568"/>
                  </a:lnTo>
                  <a:lnTo>
                    <a:pt x="173" y="555"/>
                  </a:lnTo>
                  <a:lnTo>
                    <a:pt x="169" y="550"/>
                  </a:lnTo>
                  <a:lnTo>
                    <a:pt x="166" y="545"/>
                  </a:lnTo>
                  <a:lnTo>
                    <a:pt x="161" y="542"/>
                  </a:lnTo>
                  <a:lnTo>
                    <a:pt x="153" y="540"/>
                  </a:lnTo>
                  <a:lnTo>
                    <a:pt x="143" y="540"/>
                  </a:lnTo>
                  <a:lnTo>
                    <a:pt x="125" y="543"/>
                  </a:lnTo>
                  <a:lnTo>
                    <a:pt x="108" y="547"/>
                  </a:lnTo>
                  <a:lnTo>
                    <a:pt x="60" y="572"/>
                  </a:lnTo>
                  <a:lnTo>
                    <a:pt x="29" y="574"/>
                  </a:lnTo>
                  <a:lnTo>
                    <a:pt x="24" y="552"/>
                  </a:lnTo>
                  <a:lnTo>
                    <a:pt x="6" y="530"/>
                  </a:lnTo>
                  <a:lnTo>
                    <a:pt x="0" y="519"/>
                  </a:lnTo>
                  <a:lnTo>
                    <a:pt x="1" y="504"/>
                  </a:lnTo>
                  <a:lnTo>
                    <a:pt x="2" y="486"/>
                  </a:lnTo>
                  <a:lnTo>
                    <a:pt x="13" y="440"/>
                  </a:lnTo>
                  <a:lnTo>
                    <a:pt x="11" y="428"/>
                  </a:lnTo>
                  <a:lnTo>
                    <a:pt x="12" y="416"/>
                  </a:lnTo>
                  <a:lnTo>
                    <a:pt x="13" y="404"/>
                  </a:lnTo>
                  <a:lnTo>
                    <a:pt x="22" y="380"/>
                  </a:lnTo>
                  <a:lnTo>
                    <a:pt x="28" y="370"/>
                  </a:lnTo>
                  <a:lnTo>
                    <a:pt x="35" y="364"/>
                  </a:lnTo>
                  <a:lnTo>
                    <a:pt x="43" y="357"/>
                  </a:lnTo>
                  <a:lnTo>
                    <a:pt x="51" y="351"/>
                  </a:lnTo>
                  <a:lnTo>
                    <a:pt x="68" y="317"/>
                  </a:lnTo>
                  <a:lnTo>
                    <a:pt x="74" y="312"/>
                  </a:lnTo>
                  <a:lnTo>
                    <a:pt x="80" y="306"/>
                  </a:lnTo>
                  <a:lnTo>
                    <a:pt x="86" y="303"/>
                  </a:lnTo>
                  <a:lnTo>
                    <a:pt x="91" y="300"/>
                  </a:lnTo>
                  <a:lnTo>
                    <a:pt x="95" y="294"/>
                  </a:lnTo>
                  <a:lnTo>
                    <a:pt x="105" y="276"/>
                  </a:lnTo>
                  <a:lnTo>
                    <a:pt x="152" y="168"/>
                  </a:lnTo>
                  <a:lnTo>
                    <a:pt x="158" y="138"/>
                  </a:lnTo>
                  <a:lnTo>
                    <a:pt x="169" y="154"/>
                  </a:lnTo>
                  <a:lnTo>
                    <a:pt x="171" y="156"/>
                  </a:lnTo>
                  <a:lnTo>
                    <a:pt x="175" y="158"/>
                  </a:lnTo>
                  <a:lnTo>
                    <a:pt x="180" y="160"/>
                  </a:lnTo>
                  <a:lnTo>
                    <a:pt x="185" y="160"/>
                  </a:lnTo>
                  <a:lnTo>
                    <a:pt x="192" y="157"/>
                  </a:lnTo>
                  <a:lnTo>
                    <a:pt x="196" y="153"/>
                  </a:lnTo>
                  <a:lnTo>
                    <a:pt x="198" y="147"/>
                  </a:lnTo>
                  <a:lnTo>
                    <a:pt x="200" y="137"/>
                  </a:lnTo>
                  <a:lnTo>
                    <a:pt x="204" y="134"/>
                  </a:lnTo>
                  <a:lnTo>
                    <a:pt x="208" y="132"/>
                  </a:lnTo>
                  <a:lnTo>
                    <a:pt x="216" y="129"/>
                  </a:lnTo>
                  <a:lnTo>
                    <a:pt x="220" y="127"/>
                  </a:lnTo>
                  <a:lnTo>
                    <a:pt x="223" y="124"/>
                  </a:lnTo>
                  <a:lnTo>
                    <a:pt x="223" y="121"/>
                  </a:lnTo>
                  <a:lnTo>
                    <a:pt x="221" y="116"/>
                  </a:lnTo>
                  <a:lnTo>
                    <a:pt x="219" y="110"/>
                  </a:lnTo>
                  <a:lnTo>
                    <a:pt x="216" y="105"/>
                  </a:lnTo>
                  <a:lnTo>
                    <a:pt x="211" y="101"/>
                  </a:lnTo>
                  <a:lnTo>
                    <a:pt x="199" y="96"/>
                  </a:lnTo>
                  <a:lnTo>
                    <a:pt x="196" y="93"/>
                  </a:lnTo>
                  <a:lnTo>
                    <a:pt x="194" y="90"/>
                  </a:lnTo>
                  <a:lnTo>
                    <a:pt x="195" y="86"/>
                  </a:lnTo>
                  <a:lnTo>
                    <a:pt x="198" y="83"/>
                  </a:lnTo>
                  <a:lnTo>
                    <a:pt x="204" y="72"/>
                  </a:lnTo>
                  <a:lnTo>
                    <a:pt x="212" y="53"/>
                  </a:lnTo>
                  <a:lnTo>
                    <a:pt x="214" y="49"/>
                  </a:lnTo>
                  <a:lnTo>
                    <a:pt x="218" y="45"/>
                  </a:lnTo>
                  <a:lnTo>
                    <a:pt x="221" y="44"/>
                  </a:lnTo>
                  <a:lnTo>
                    <a:pt x="232" y="39"/>
                  </a:lnTo>
                  <a:lnTo>
                    <a:pt x="235" y="37"/>
                  </a:lnTo>
                  <a:lnTo>
                    <a:pt x="237" y="33"/>
                  </a:lnTo>
                  <a:lnTo>
                    <a:pt x="238" y="29"/>
                  </a:lnTo>
                  <a:lnTo>
                    <a:pt x="239" y="24"/>
                  </a:lnTo>
                  <a:lnTo>
                    <a:pt x="242" y="18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51" y="10"/>
                  </a:lnTo>
                  <a:lnTo>
                    <a:pt x="259" y="8"/>
                  </a:lnTo>
                  <a:lnTo>
                    <a:pt x="261" y="5"/>
                  </a:lnTo>
                  <a:lnTo>
                    <a:pt x="263" y="3"/>
                  </a:lnTo>
                  <a:lnTo>
                    <a:pt x="265" y="1"/>
                  </a:lnTo>
                  <a:lnTo>
                    <a:pt x="270" y="0"/>
                  </a:lnTo>
                  <a:lnTo>
                    <a:pt x="275" y="4"/>
                  </a:lnTo>
                  <a:lnTo>
                    <a:pt x="277" y="8"/>
                  </a:lnTo>
                  <a:lnTo>
                    <a:pt x="277" y="16"/>
                  </a:lnTo>
                  <a:lnTo>
                    <a:pt x="279" y="20"/>
                  </a:lnTo>
                  <a:lnTo>
                    <a:pt x="304" y="53"/>
                  </a:lnTo>
                  <a:lnTo>
                    <a:pt x="314" y="72"/>
                  </a:lnTo>
                  <a:lnTo>
                    <a:pt x="322" y="84"/>
                  </a:lnTo>
                  <a:lnTo>
                    <a:pt x="324" y="90"/>
                  </a:lnTo>
                  <a:lnTo>
                    <a:pt x="328" y="106"/>
                  </a:lnTo>
                  <a:lnTo>
                    <a:pt x="330" y="114"/>
                  </a:lnTo>
                  <a:lnTo>
                    <a:pt x="340" y="121"/>
                  </a:lnTo>
                  <a:lnTo>
                    <a:pt x="382" y="151"/>
                  </a:lnTo>
                  <a:lnTo>
                    <a:pt x="394" y="168"/>
                  </a:lnTo>
                  <a:lnTo>
                    <a:pt x="400" y="182"/>
                  </a:lnTo>
                  <a:lnTo>
                    <a:pt x="401" y="193"/>
                  </a:lnTo>
                  <a:lnTo>
                    <a:pt x="404" y="199"/>
                  </a:lnTo>
                  <a:lnTo>
                    <a:pt x="408" y="206"/>
                  </a:lnTo>
                  <a:lnTo>
                    <a:pt x="413" y="20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C29AB02B-C835-C7CB-8D88-056F3A54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614" y="3064217"/>
              <a:ext cx="764867" cy="961968"/>
            </a:xfrm>
            <a:custGeom>
              <a:avLst/>
              <a:gdLst>
                <a:gd name="T0" fmla="*/ 369 w 520"/>
                <a:gd name="T1" fmla="*/ 37 h 654"/>
                <a:gd name="T2" fmla="*/ 403 w 520"/>
                <a:gd name="T3" fmla="*/ 39 h 654"/>
                <a:gd name="T4" fmla="*/ 421 w 520"/>
                <a:gd name="T5" fmla="*/ 19 h 654"/>
                <a:gd name="T6" fmla="*/ 443 w 520"/>
                <a:gd name="T7" fmla="*/ 16 h 654"/>
                <a:gd name="T8" fmla="*/ 481 w 520"/>
                <a:gd name="T9" fmla="*/ 33 h 654"/>
                <a:gd name="T10" fmla="*/ 505 w 520"/>
                <a:gd name="T11" fmla="*/ 44 h 654"/>
                <a:gd name="T12" fmla="*/ 515 w 520"/>
                <a:gd name="T13" fmla="*/ 61 h 654"/>
                <a:gd name="T14" fmla="*/ 511 w 520"/>
                <a:gd name="T15" fmla="*/ 84 h 654"/>
                <a:gd name="T16" fmla="*/ 519 w 520"/>
                <a:gd name="T17" fmla="*/ 119 h 654"/>
                <a:gd name="T18" fmla="*/ 510 w 520"/>
                <a:gd name="T19" fmla="*/ 138 h 654"/>
                <a:gd name="T20" fmla="*/ 482 w 520"/>
                <a:gd name="T21" fmla="*/ 158 h 654"/>
                <a:gd name="T22" fmla="*/ 468 w 520"/>
                <a:gd name="T23" fmla="*/ 175 h 654"/>
                <a:gd name="T24" fmla="*/ 456 w 520"/>
                <a:gd name="T25" fmla="*/ 189 h 654"/>
                <a:gd name="T26" fmla="*/ 456 w 520"/>
                <a:gd name="T27" fmla="*/ 223 h 654"/>
                <a:gd name="T28" fmla="*/ 465 w 520"/>
                <a:gd name="T29" fmla="*/ 243 h 654"/>
                <a:gd name="T30" fmla="*/ 473 w 520"/>
                <a:gd name="T31" fmla="*/ 268 h 654"/>
                <a:gd name="T32" fmla="*/ 450 w 520"/>
                <a:gd name="T33" fmla="*/ 327 h 654"/>
                <a:gd name="T34" fmla="*/ 429 w 520"/>
                <a:gd name="T35" fmla="*/ 370 h 654"/>
                <a:gd name="T36" fmla="*/ 441 w 520"/>
                <a:gd name="T37" fmla="*/ 384 h 654"/>
                <a:gd name="T38" fmla="*/ 448 w 520"/>
                <a:gd name="T39" fmla="*/ 415 h 654"/>
                <a:gd name="T40" fmla="*/ 456 w 520"/>
                <a:gd name="T41" fmla="*/ 441 h 654"/>
                <a:gd name="T42" fmla="*/ 428 w 520"/>
                <a:gd name="T43" fmla="*/ 460 h 654"/>
                <a:gd name="T44" fmla="*/ 419 w 520"/>
                <a:gd name="T45" fmla="*/ 516 h 654"/>
                <a:gd name="T46" fmla="*/ 422 w 520"/>
                <a:gd name="T47" fmla="*/ 527 h 654"/>
                <a:gd name="T48" fmla="*/ 401 w 520"/>
                <a:gd name="T49" fmla="*/ 547 h 654"/>
                <a:gd name="T50" fmla="*/ 395 w 520"/>
                <a:gd name="T51" fmla="*/ 572 h 654"/>
                <a:gd name="T52" fmla="*/ 355 w 520"/>
                <a:gd name="T53" fmla="*/ 589 h 654"/>
                <a:gd name="T54" fmla="*/ 229 w 520"/>
                <a:gd name="T55" fmla="*/ 611 h 654"/>
                <a:gd name="T56" fmla="*/ 179 w 520"/>
                <a:gd name="T57" fmla="*/ 647 h 654"/>
                <a:gd name="T58" fmla="*/ 123 w 520"/>
                <a:gd name="T59" fmla="*/ 652 h 654"/>
                <a:gd name="T60" fmla="*/ 88 w 520"/>
                <a:gd name="T61" fmla="*/ 633 h 654"/>
                <a:gd name="T62" fmla="*/ 47 w 520"/>
                <a:gd name="T63" fmla="*/ 587 h 654"/>
                <a:gd name="T64" fmla="*/ 29 w 520"/>
                <a:gd name="T65" fmla="*/ 575 h 654"/>
                <a:gd name="T66" fmla="*/ 19 w 520"/>
                <a:gd name="T67" fmla="*/ 557 h 654"/>
                <a:gd name="T68" fmla="*/ 9 w 520"/>
                <a:gd name="T69" fmla="*/ 550 h 654"/>
                <a:gd name="T70" fmla="*/ 0 w 520"/>
                <a:gd name="T71" fmla="*/ 523 h 654"/>
                <a:gd name="T72" fmla="*/ 73 w 520"/>
                <a:gd name="T73" fmla="*/ 460 h 654"/>
                <a:gd name="T74" fmla="*/ 76 w 520"/>
                <a:gd name="T75" fmla="*/ 438 h 654"/>
                <a:gd name="T76" fmla="*/ 69 w 520"/>
                <a:gd name="T77" fmla="*/ 418 h 654"/>
                <a:gd name="T78" fmla="*/ 82 w 520"/>
                <a:gd name="T79" fmla="*/ 309 h 654"/>
                <a:gd name="T80" fmla="*/ 83 w 520"/>
                <a:gd name="T81" fmla="*/ 246 h 654"/>
                <a:gd name="T82" fmla="*/ 95 w 520"/>
                <a:gd name="T83" fmla="*/ 229 h 654"/>
                <a:gd name="T84" fmla="*/ 136 w 520"/>
                <a:gd name="T85" fmla="*/ 219 h 654"/>
                <a:gd name="T86" fmla="*/ 181 w 520"/>
                <a:gd name="T87" fmla="*/ 161 h 654"/>
                <a:gd name="T88" fmla="*/ 183 w 520"/>
                <a:gd name="T89" fmla="*/ 104 h 654"/>
                <a:gd name="T90" fmla="*/ 182 w 520"/>
                <a:gd name="T91" fmla="*/ 70 h 654"/>
                <a:gd name="T92" fmla="*/ 167 w 520"/>
                <a:gd name="T93" fmla="*/ 37 h 654"/>
                <a:gd name="T94" fmla="*/ 203 w 520"/>
                <a:gd name="T95" fmla="*/ 5 h 654"/>
                <a:gd name="T96" fmla="*/ 230 w 520"/>
                <a:gd name="T97" fmla="*/ 3 h 654"/>
                <a:gd name="T98" fmla="*/ 272 w 520"/>
                <a:gd name="T99" fmla="*/ 30 h 654"/>
                <a:gd name="T100" fmla="*/ 341 w 520"/>
                <a:gd name="T101" fmla="*/ 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0" h="654">
                  <a:moveTo>
                    <a:pt x="341" y="44"/>
                  </a:moveTo>
                  <a:lnTo>
                    <a:pt x="357" y="42"/>
                  </a:lnTo>
                  <a:lnTo>
                    <a:pt x="369" y="37"/>
                  </a:lnTo>
                  <a:lnTo>
                    <a:pt x="381" y="36"/>
                  </a:lnTo>
                  <a:lnTo>
                    <a:pt x="392" y="37"/>
                  </a:lnTo>
                  <a:lnTo>
                    <a:pt x="403" y="39"/>
                  </a:lnTo>
                  <a:lnTo>
                    <a:pt x="412" y="37"/>
                  </a:lnTo>
                  <a:lnTo>
                    <a:pt x="417" y="30"/>
                  </a:lnTo>
                  <a:lnTo>
                    <a:pt x="421" y="19"/>
                  </a:lnTo>
                  <a:lnTo>
                    <a:pt x="428" y="12"/>
                  </a:lnTo>
                  <a:lnTo>
                    <a:pt x="434" y="11"/>
                  </a:lnTo>
                  <a:lnTo>
                    <a:pt x="443" y="16"/>
                  </a:lnTo>
                  <a:lnTo>
                    <a:pt x="459" y="25"/>
                  </a:lnTo>
                  <a:lnTo>
                    <a:pt x="468" y="30"/>
                  </a:lnTo>
                  <a:lnTo>
                    <a:pt x="481" y="33"/>
                  </a:lnTo>
                  <a:lnTo>
                    <a:pt x="489" y="36"/>
                  </a:lnTo>
                  <a:lnTo>
                    <a:pt x="496" y="41"/>
                  </a:lnTo>
                  <a:lnTo>
                    <a:pt x="505" y="44"/>
                  </a:lnTo>
                  <a:lnTo>
                    <a:pt x="509" y="46"/>
                  </a:lnTo>
                  <a:lnTo>
                    <a:pt x="512" y="49"/>
                  </a:lnTo>
                  <a:lnTo>
                    <a:pt x="515" y="61"/>
                  </a:lnTo>
                  <a:lnTo>
                    <a:pt x="520" y="69"/>
                  </a:lnTo>
                  <a:lnTo>
                    <a:pt x="513" y="78"/>
                  </a:lnTo>
                  <a:lnTo>
                    <a:pt x="511" y="84"/>
                  </a:lnTo>
                  <a:lnTo>
                    <a:pt x="511" y="94"/>
                  </a:lnTo>
                  <a:lnTo>
                    <a:pt x="518" y="112"/>
                  </a:lnTo>
                  <a:lnTo>
                    <a:pt x="519" y="119"/>
                  </a:lnTo>
                  <a:lnTo>
                    <a:pt x="518" y="126"/>
                  </a:lnTo>
                  <a:lnTo>
                    <a:pt x="516" y="133"/>
                  </a:lnTo>
                  <a:lnTo>
                    <a:pt x="510" y="138"/>
                  </a:lnTo>
                  <a:lnTo>
                    <a:pt x="504" y="144"/>
                  </a:lnTo>
                  <a:lnTo>
                    <a:pt x="489" y="152"/>
                  </a:lnTo>
                  <a:lnTo>
                    <a:pt x="482" y="158"/>
                  </a:lnTo>
                  <a:lnTo>
                    <a:pt x="478" y="163"/>
                  </a:lnTo>
                  <a:lnTo>
                    <a:pt x="472" y="171"/>
                  </a:lnTo>
                  <a:lnTo>
                    <a:pt x="468" y="175"/>
                  </a:lnTo>
                  <a:lnTo>
                    <a:pt x="464" y="179"/>
                  </a:lnTo>
                  <a:lnTo>
                    <a:pt x="459" y="183"/>
                  </a:lnTo>
                  <a:lnTo>
                    <a:pt x="456" y="189"/>
                  </a:lnTo>
                  <a:lnTo>
                    <a:pt x="455" y="197"/>
                  </a:lnTo>
                  <a:lnTo>
                    <a:pt x="455" y="211"/>
                  </a:lnTo>
                  <a:lnTo>
                    <a:pt x="456" y="223"/>
                  </a:lnTo>
                  <a:lnTo>
                    <a:pt x="458" y="233"/>
                  </a:lnTo>
                  <a:lnTo>
                    <a:pt x="461" y="239"/>
                  </a:lnTo>
                  <a:lnTo>
                    <a:pt x="465" y="243"/>
                  </a:lnTo>
                  <a:lnTo>
                    <a:pt x="469" y="246"/>
                  </a:lnTo>
                  <a:lnTo>
                    <a:pt x="471" y="252"/>
                  </a:lnTo>
                  <a:lnTo>
                    <a:pt x="473" y="268"/>
                  </a:lnTo>
                  <a:lnTo>
                    <a:pt x="478" y="289"/>
                  </a:lnTo>
                  <a:lnTo>
                    <a:pt x="477" y="297"/>
                  </a:lnTo>
                  <a:lnTo>
                    <a:pt x="450" y="327"/>
                  </a:lnTo>
                  <a:lnTo>
                    <a:pt x="431" y="355"/>
                  </a:lnTo>
                  <a:lnTo>
                    <a:pt x="428" y="362"/>
                  </a:lnTo>
                  <a:lnTo>
                    <a:pt x="429" y="370"/>
                  </a:lnTo>
                  <a:lnTo>
                    <a:pt x="431" y="375"/>
                  </a:lnTo>
                  <a:lnTo>
                    <a:pt x="437" y="381"/>
                  </a:lnTo>
                  <a:lnTo>
                    <a:pt x="441" y="384"/>
                  </a:lnTo>
                  <a:lnTo>
                    <a:pt x="446" y="391"/>
                  </a:lnTo>
                  <a:lnTo>
                    <a:pt x="448" y="399"/>
                  </a:lnTo>
                  <a:lnTo>
                    <a:pt x="448" y="415"/>
                  </a:lnTo>
                  <a:lnTo>
                    <a:pt x="451" y="423"/>
                  </a:lnTo>
                  <a:lnTo>
                    <a:pt x="458" y="436"/>
                  </a:lnTo>
                  <a:lnTo>
                    <a:pt x="456" y="441"/>
                  </a:lnTo>
                  <a:lnTo>
                    <a:pt x="447" y="448"/>
                  </a:lnTo>
                  <a:lnTo>
                    <a:pt x="438" y="452"/>
                  </a:lnTo>
                  <a:lnTo>
                    <a:pt x="428" y="460"/>
                  </a:lnTo>
                  <a:lnTo>
                    <a:pt x="421" y="471"/>
                  </a:lnTo>
                  <a:lnTo>
                    <a:pt x="417" y="490"/>
                  </a:lnTo>
                  <a:lnTo>
                    <a:pt x="419" y="516"/>
                  </a:lnTo>
                  <a:lnTo>
                    <a:pt x="420" y="519"/>
                  </a:lnTo>
                  <a:lnTo>
                    <a:pt x="422" y="523"/>
                  </a:lnTo>
                  <a:lnTo>
                    <a:pt x="422" y="527"/>
                  </a:lnTo>
                  <a:lnTo>
                    <a:pt x="419" y="532"/>
                  </a:lnTo>
                  <a:lnTo>
                    <a:pt x="407" y="540"/>
                  </a:lnTo>
                  <a:lnTo>
                    <a:pt x="401" y="547"/>
                  </a:lnTo>
                  <a:lnTo>
                    <a:pt x="399" y="556"/>
                  </a:lnTo>
                  <a:lnTo>
                    <a:pt x="399" y="563"/>
                  </a:lnTo>
                  <a:lnTo>
                    <a:pt x="395" y="572"/>
                  </a:lnTo>
                  <a:lnTo>
                    <a:pt x="391" y="578"/>
                  </a:lnTo>
                  <a:lnTo>
                    <a:pt x="368" y="594"/>
                  </a:lnTo>
                  <a:lnTo>
                    <a:pt x="355" y="589"/>
                  </a:lnTo>
                  <a:lnTo>
                    <a:pt x="271" y="599"/>
                  </a:lnTo>
                  <a:lnTo>
                    <a:pt x="246" y="604"/>
                  </a:lnTo>
                  <a:lnTo>
                    <a:pt x="229" y="611"/>
                  </a:lnTo>
                  <a:lnTo>
                    <a:pt x="213" y="626"/>
                  </a:lnTo>
                  <a:lnTo>
                    <a:pt x="203" y="635"/>
                  </a:lnTo>
                  <a:lnTo>
                    <a:pt x="179" y="647"/>
                  </a:lnTo>
                  <a:lnTo>
                    <a:pt x="158" y="652"/>
                  </a:lnTo>
                  <a:lnTo>
                    <a:pt x="139" y="654"/>
                  </a:lnTo>
                  <a:lnTo>
                    <a:pt x="123" y="652"/>
                  </a:lnTo>
                  <a:lnTo>
                    <a:pt x="115" y="648"/>
                  </a:lnTo>
                  <a:lnTo>
                    <a:pt x="102" y="639"/>
                  </a:lnTo>
                  <a:lnTo>
                    <a:pt x="88" y="633"/>
                  </a:lnTo>
                  <a:lnTo>
                    <a:pt x="78" y="627"/>
                  </a:lnTo>
                  <a:lnTo>
                    <a:pt x="68" y="617"/>
                  </a:lnTo>
                  <a:lnTo>
                    <a:pt x="47" y="587"/>
                  </a:lnTo>
                  <a:lnTo>
                    <a:pt x="40" y="582"/>
                  </a:lnTo>
                  <a:lnTo>
                    <a:pt x="34" y="578"/>
                  </a:lnTo>
                  <a:lnTo>
                    <a:pt x="29" y="575"/>
                  </a:lnTo>
                  <a:lnTo>
                    <a:pt x="26" y="569"/>
                  </a:lnTo>
                  <a:lnTo>
                    <a:pt x="23" y="560"/>
                  </a:lnTo>
                  <a:lnTo>
                    <a:pt x="19" y="557"/>
                  </a:lnTo>
                  <a:lnTo>
                    <a:pt x="16" y="555"/>
                  </a:lnTo>
                  <a:lnTo>
                    <a:pt x="12" y="553"/>
                  </a:lnTo>
                  <a:lnTo>
                    <a:pt x="9" y="550"/>
                  </a:lnTo>
                  <a:lnTo>
                    <a:pt x="4" y="543"/>
                  </a:lnTo>
                  <a:lnTo>
                    <a:pt x="2" y="540"/>
                  </a:lnTo>
                  <a:lnTo>
                    <a:pt x="0" y="523"/>
                  </a:lnTo>
                  <a:lnTo>
                    <a:pt x="36" y="503"/>
                  </a:lnTo>
                  <a:lnTo>
                    <a:pt x="60" y="479"/>
                  </a:lnTo>
                  <a:lnTo>
                    <a:pt x="73" y="460"/>
                  </a:lnTo>
                  <a:lnTo>
                    <a:pt x="76" y="452"/>
                  </a:lnTo>
                  <a:lnTo>
                    <a:pt x="77" y="445"/>
                  </a:lnTo>
                  <a:lnTo>
                    <a:pt x="76" y="438"/>
                  </a:lnTo>
                  <a:lnTo>
                    <a:pt x="73" y="432"/>
                  </a:lnTo>
                  <a:lnTo>
                    <a:pt x="70" y="425"/>
                  </a:lnTo>
                  <a:lnTo>
                    <a:pt x="69" y="418"/>
                  </a:lnTo>
                  <a:lnTo>
                    <a:pt x="87" y="331"/>
                  </a:lnTo>
                  <a:lnTo>
                    <a:pt x="87" y="323"/>
                  </a:lnTo>
                  <a:lnTo>
                    <a:pt x="82" y="309"/>
                  </a:lnTo>
                  <a:lnTo>
                    <a:pt x="81" y="288"/>
                  </a:lnTo>
                  <a:lnTo>
                    <a:pt x="83" y="258"/>
                  </a:lnTo>
                  <a:lnTo>
                    <a:pt x="83" y="246"/>
                  </a:lnTo>
                  <a:lnTo>
                    <a:pt x="86" y="240"/>
                  </a:lnTo>
                  <a:lnTo>
                    <a:pt x="89" y="235"/>
                  </a:lnTo>
                  <a:lnTo>
                    <a:pt x="95" y="229"/>
                  </a:lnTo>
                  <a:lnTo>
                    <a:pt x="103" y="226"/>
                  </a:lnTo>
                  <a:lnTo>
                    <a:pt x="127" y="223"/>
                  </a:lnTo>
                  <a:lnTo>
                    <a:pt x="136" y="219"/>
                  </a:lnTo>
                  <a:lnTo>
                    <a:pt x="160" y="199"/>
                  </a:lnTo>
                  <a:lnTo>
                    <a:pt x="173" y="178"/>
                  </a:lnTo>
                  <a:lnTo>
                    <a:pt x="181" y="161"/>
                  </a:lnTo>
                  <a:lnTo>
                    <a:pt x="183" y="142"/>
                  </a:lnTo>
                  <a:lnTo>
                    <a:pt x="182" y="121"/>
                  </a:lnTo>
                  <a:lnTo>
                    <a:pt x="183" y="104"/>
                  </a:lnTo>
                  <a:lnTo>
                    <a:pt x="185" y="89"/>
                  </a:lnTo>
                  <a:lnTo>
                    <a:pt x="185" y="78"/>
                  </a:lnTo>
                  <a:lnTo>
                    <a:pt x="182" y="70"/>
                  </a:lnTo>
                  <a:lnTo>
                    <a:pt x="171" y="52"/>
                  </a:lnTo>
                  <a:lnTo>
                    <a:pt x="168" y="44"/>
                  </a:lnTo>
                  <a:lnTo>
                    <a:pt x="167" y="37"/>
                  </a:lnTo>
                  <a:lnTo>
                    <a:pt x="167" y="23"/>
                  </a:lnTo>
                  <a:lnTo>
                    <a:pt x="181" y="19"/>
                  </a:lnTo>
                  <a:lnTo>
                    <a:pt x="203" y="5"/>
                  </a:lnTo>
                  <a:lnTo>
                    <a:pt x="211" y="0"/>
                  </a:lnTo>
                  <a:lnTo>
                    <a:pt x="221" y="0"/>
                  </a:lnTo>
                  <a:lnTo>
                    <a:pt x="230" y="3"/>
                  </a:lnTo>
                  <a:lnTo>
                    <a:pt x="238" y="7"/>
                  </a:lnTo>
                  <a:lnTo>
                    <a:pt x="259" y="22"/>
                  </a:lnTo>
                  <a:lnTo>
                    <a:pt x="272" y="30"/>
                  </a:lnTo>
                  <a:lnTo>
                    <a:pt x="288" y="36"/>
                  </a:lnTo>
                  <a:lnTo>
                    <a:pt x="324" y="44"/>
                  </a:lnTo>
                  <a:lnTo>
                    <a:pt x="341" y="4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727B3215-ECC7-91CE-1DA8-39496B2C2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502" y="493086"/>
              <a:ext cx="1003153" cy="828116"/>
            </a:xfrm>
            <a:custGeom>
              <a:avLst/>
              <a:gdLst>
                <a:gd name="T0" fmla="*/ 409 w 682"/>
                <a:gd name="T1" fmla="*/ 209 h 563"/>
                <a:gd name="T2" fmla="*/ 419 w 682"/>
                <a:gd name="T3" fmla="*/ 215 h 563"/>
                <a:gd name="T4" fmla="*/ 421 w 682"/>
                <a:gd name="T5" fmla="*/ 230 h 563"/>
                <a:gd name="T6" fmla="*/ 429 w 682"/>
                <a:gd name="T7" fmla="*/ 243 h 563"/>
                <a:gd name="T8" fmla="*/ 459 w 682"/>
                <a:gd name="T9" fmla="*/ 252 h 563"/>
                <a:gd name="T10" fmla="*/ 486 w 682"/>
                <a:gd name="T11" fmla="*/ 250 h 563"/>
                <a:gd name="T12" fmla="*/ 555 w 682"/>
                <a:gd name="T13" fmla="*/ 229 h 563"/>
                <a:gd name="T14" fmla="*/ 580 w 682"/>
                <a:gd name="T15" fmla="*/ 293 h 563"/>
                <a:gd name="T16" fmla="*/ 639 w 682"/>
                <a:gd name="T17" fmla="*/ 345 h 563"/>
                <a:gd name="T18" fmla="*/ 682 w 682"/>
                <a:gd name="T19" fmla="*/ 352 h 563"/>
                <a:gd name="T20" fmla="*/ 656 w 682"/>
                <a:gd name="T21" fmla="*/ 373 h 563"/>
                <a:gd name="T22" fmla="*/ 631 w 682"/>
                <a:gd name="T23" fmla="*/ 370 h 563"/>
                <a:gd name="T24" fmla="*/ 610 w 682"/>
                <a:gd name="T25" fmla="*/ 370 h 563"/>
                <a:gd name="T26" fmla="*/ 593 w 682"/>
                <a:gd name="T27" fmla="*/ 366 h 563"/>
                <a:gd name="T28" fmla="*/ 584 w 682"/>
                <a:gd name="T29" fmla="*/ 365 h 563"/>
                <a:gd name="T30" fmla="*/ 578 w 682"/>
                <a:gd name="T31" fmla="*/ 367 h 563"/>
                <a:gd name="T32" fmla="*/ 575 w 682"/>
                <a:gd name="T33" fmla="*/ 377 h 563"/>
                <a:gd name="T34" fmla="*/ 578 w 682"/>
                <a:gd name="T35" fmla="*/ 384 h 563"/>
                <a:gd name="T36" fmla="*/ 588 w 682"/>
                <a:gd name="T37" fmla="*/ 394 h 563"/>
                <a:gd name="T38" fmla="*/ 591 w 682"/>
                <a:gd name="T39" fmla="*/ 401 h 563"/>
                <a:gd name="T40" fmla="*/ 589 w 682"/>
                <a:gd name="T41" fmla="*/ 407 h 563"/>
                <a:gd name="T42" fmla="*/ 559 w 682"/>
                <a:gd name="T43" fmla="*/ 430 h 563"/>
                <a:gd name="T44" fmla="*/ 508 w 682"/>
                <a:gd name="T45" fmla="*/ 494 h 563"/>
                <a:gd name="T46" fmla="*/ 498 w 682"/>
                <a:gd name="T47" fmla="*/ 511 h 563"/>
                <a:gd name="T48" fmla="*/ 498 w 682"/>
                <a:gd name="T49" fmla="*/ 530 h 563"/>
                <a:gd name="T50" fmla="*/ 497 w 682"/>
                <a:gd name="T51" fmla="*/ 546 h 563"/>
                <a:gd name="T52" fmla="*/ 465 w 682"/>
                <a:gd name="T53" fmla="*/ 554 h 563"/>
                <a:gd name="T54" fmla="*/ 446 w 682"/>
                <a:gd name="T55" fmla="*/ 534 h 563"/>
                <a:gd name="T56" fmla="*/ 387 w 682"/>
                <a:gd name="T57" fmla="*/ 498 h 563"/>
                <a:gd name="T58" fmla="*/ 333 w 682"/>
                <a:gd name="T59" fmla="*/ 475 h 563"/>
                <a:gd name="T60" fmla="*/ 308 w 682"/>
                <a:gd name="T61" fmla="*/ 471 h 563"/>
                <a:gd name="T62" fmla="*/ 295 w 682"/>
                <a:gd name="T63" fmla="*/ 460 h 563"/>
                <a:gd name="T64" fmla="*/ 262 w 682"/>
                <a:gd name="T65" fmla="*/ 446 h 563"/>
                <a:gd name="T66" fmla="*/ 257 w 682"/>
                <a:gd name="T67" fmla="*/ 422 h 563"/>
                <a:gd name="T68" fmla="*/ 259 w 682"/>
                <a:gd name="T69" fmla="*/ 397 h 563"/>
                <a:gd name="T70" fmla="*/ 217 w 682"/>
                <a:gd name="T71" fmla="*/ 325 h 563"/>
                <a:gd name="T72" fmla="*/ 184 w 682"/>
                <a:gd name="T73" fmla="*/ 275 h 563"/>
                <a:gd name="T74" fmla="*/ 133 w 682"/>
                <a:gd name="T75" fmla="*/ 238 h 563"/>
                <a:gd name="T76" fmla="*/ 116 w 682"/>
                <a:gd name="T77" fmla="*/ 223 h 563"/>
                <a:gd name="T78" fmla="*/ 83 w 682"/>
                <a:gd name="T79" fmla="*/ 220 h 563"/>
                <a:gd name="T80" fmla="*/ 61 w 682"/>
                <a:gd name="T81" fmla="*/ 211 h 563"/>
                <a:gd name="T82" fmla="*/ 47 w 682"/>
                <a:gd name="T83" fmla="*/ 201 h 563"/>
                <a:gd name="T84" fmla="*/ 25 w 682"/>
                <a:gd name="T85" fmla="*/ 183 h 563"/>
                <a:gd name="T86" fmla="*/ 9 w 682"/>
                <a:gd name="T87" fmla="*/ 175 h 563"/>
                <a:gd name="T88" fmla="*/ 1 w 682"/>
                <a:gd name="T89" fmla="*/ 161 h 563"/>
                <a:gd name="T90" fmla="*/ 2 w 682"/>
                <a:gd name="T91" fmla="*/ 110 h 563"/>
                <a:gd name="T92" fmla="*/ 22 w 682"/>
                <a:gd name="T93" fmla="*/ 72 h 563"/>
                <a:gd name="T94" fmla="*/ 26 w 682"/>
                <a:gd name="T95" fmla="*/ 37 h 563"/>
                <a:gd name="T96" fmla="*/ 25 w 682"/>
                <a:gd name="T97" fmla="*/ 15 h 563"/>
                <a:gd name="T98" fmla="*/ 36 w 682"/>
                <a:gd name="T99" fmla="*/ 0 h 563"/>
                <a:gd name="T100" fmla="*/ 44 w 682"/>
                <a:gd name="T101" fmla="*/ 5 h 563"/>
                <a:gd name="T102" fmla="*/ 123 w 682"/>
                <a:gd name="T103" fmla="*/ 87 h 563"/>
                <a:gd name="T104" fmla="*/ 176 w 682"/>
                <a:gd name="T105" fmla="*/ 105 h 563"/>
                <a:gd name="T106" fmla="*/ 277 w 682"/>
                <a:gd name="T107" fmla="*/ 177 h 563"/>
                <a:gd name="T108" fmla="*/ 353 w 682"/>
                <a:gd name="T109" fmla="*/ 193 h 563"/>
                <a:gd name="T110" fmla="*/ 405 w 682"/>
                <a:gd name="T111" fmla="*/ 21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563">
                  <a:moveTo>
                    <a:pt x="405" y="210"/>
                  </a:moveTo>
                  <a:lnTo>
                    <a:pt x="409" y="209"/>
                  </a:lnTo>
                  <a:lnTo>
                    <a:pt x="412" y="209"/>
                  </a:lnTo>
                  <a:lnTo>
                    <a:pt x="419" y="215"/>
                  </a:lnTo>
                  <a:lnTo>
                    <a:pt x="421" y="223"/>
                  </a:lnTo>
                  <a:lnTo>
                    <a:pt x="421" y="230"/>
                  </a:lnTo>
                  <a:lnTo>
                    <a:pt x="422" y="237"/>
                  </a:lnTo>
                  <a:lnTo>
                    <a:pt x="429" y="243"/>
                  </a:lnTo>
                  <a:lnTo>
                    <a:pt x="445" y="249"/>
                  </a:lnTo>
                  <a:lnTo>
                    <a:pt x="459" y="252"/>
                  </a:lnTo>
                  <a:lnTo>
                    <a:pt x="472" y="253"/>
                  </a:lnTo>
                  <a:lnTo>
                    <a:pt x="486" y="250"/>
                  </a:lnTo>
                  <a:lnTo>
                    <a:pt x="539" y="229"/>
                  </a:lnTo>
                  <a:lnTo>
                    <a:pt x="555" y="229"/>
                  </a:lnTo>
                  <a:lnTo>
                    <a:pt x="576" y="246"/>
                  </a:lnTo>
                  <a:lnTo>
                    <a:pt x="580" y="293"/>
                  </a:lnTo>
                  <a:lnTo>
                    <a:pt x="594" y="315"/>
                  </a:lnTo>
                  <a:lnTo>
                    <a:pt x="639" y="345"/>
                  </a:lnTo>
                  <a:lnTo>
                    <a:pt x="663" y="355"/>
                  </a:lnTo>
                  <a:lnTo>
                    <a:pt x="682" y="352"/>
                  </a:lnTo>
                  <a:lnTo>
                    <a:pt x="680" y="355"/>
                  </a:lnTo>
                  <a:lnTo>
                    <a:pt x="656" y="373"/>
                  </a:lnTo>
                  <a:lnTo>
                    <a:pt x="645" y="376"/>
                  </a:lnTo>
                  <a:lnTo>
                    <a:pt x="631" y="370"/>
                  </a:lnTo>
                  <a:lnTo>
                    <a:pt x="628" y="370"/>
                  </a:lnTo>
                  <a:lnTo>
                    <a:pt x="610" y="370"/>
                  </a:lnTo>
                  <a:lnTo>
                    <a:pt x="604" y="369"/>
                  </a:lnTo>
                  <a:lnTo>
                    <a:pt x="593" y="366"/>
                  </a:lnTo>
                  <a:lnTo>
                    <a:pt x="588" y="365"/>
                  </a:lnTo>
                  <a:lnTo>
                    <a:pt x="584" y="365"/>
                  </a:lnTo>
                  <a:lnTo>
                    <a:pt x="580" y="365"/>
                  </a:lnTo>
                  <a:lnTo>
                    <a:pt x="578" y="367"/>
                  </a:lnTo>
                  <a:lnTo>
                    <a:pt x="576" y="370"/>
                  </a:lnTo>
                  <a:lnTo>
                    <a:pt x="575" y="377"/>
                  </a:lnTo>
                  <a:lnTo>
                    <a:pt x="576" y="381"/>
                  </a:lnTo>
                  <a:lnTo>
                    <a:pt x="578" y="384"/>
                  </a:lnTo>
                  <a:lnTo>
                    <a:pt x="586" y="391"/>
                  </a:lnTo>
                  <a:lnTo>
                    <a:pt x="588" y="394"/>
                  </a:lnTo>
                  <a:lnTo>
                    <a:pt x="590" y="397"/>
                  </a:lnTo>
                  <a:lnTo>
                    <a:pt x="591" y="401"/>
                  </a:lnTo>
                  <a:lnTo>
                    <a:pt x="591" y="403"/>
                  </a:lnTo>
                  <a:lnTo>
                    <a:pt x="589" y="407"/>
                  </a:lnTo>
                  <a:lnTo>
                    <a:pt x="585" y="411"/>
                  </a:lnTo>
                  <a:lnTo>
                    <a:pt x="559" y="430"/>
                  </a:lnTo>
                  <a:lnTo>
                    <a:pt x="554" y="435"/>
                  </a:lnTo>
                  <a:lnTo>
                    <a:pt x="508" y="494"/>
                  </a:lnTo>
                  <a:lnTo>
                    <a:pt x="502" y="504"/>
                  </a:lnTo>
                  <a:lnTo>
                    <a:pt x="498" y="511"/>
                  </a:lnTo>
                  <a:lnTo>
                    <a:pt x="497" y="523"/>
                  </a:lnTo>
                  <a:lnTo>
                    <a:pt x="498" y="530"/>
                  </a:lnTo>
                  <a:lnTo>
                    <a:pt x="499" y="538"/>
                  </a:lnTo>
                  <a:lnTo>
                    <a:pt x="497" y="546"/>
                  </a:lnTo>
                  <a:lnTo>
                    <a:pt x="482" y="563"/>
                  </a:lnTo>
                  <a:lnTo>
                    <a:pt x="465" y="554"/>
                  </a:lnTo>
                  <a:lnTo>
                    <a:pt x="454" y="540"/>
                  </a:lnTo>
                  <a:lnTo>
                    <a:pt x="446" y="534"/>
                  </a:lnTo>
                  <a:lnTo>
                    <a:pt x="415" y="517"/>
                  </a:lnTo>
                  <a:lnTo>
                    <a:pt x="387" y="498"/>
                  </a:lnTo>
                  <a:lnTo>
                    <a:pt x="357" y="481"/>
                  </a:lnTo>
                  <a:lnTo>
                    <a:pt x="333" y="475"/>
                  </a:lnTo>
                  <a:lnTo>
                    <a:pt x="321" y="474"/>
                  </a:lnTo>
                  <a:lnTo>
                    <a:pt x="308" y="471"/>
                  </a:lnTo>
                  <a:lnTo>
                    <a:pt x="300" y="466"/>
                  </a:lnTo>
                  <a:lnTo>
                    <a:pt x="295" y="460"/>
                  </a:lnTo>
                  <a:lnTo>
                    <a:pt x="269" y="456"/>
                  </a:lnTo>
                  <a:lnTo>
                    <a:pt x="262" y="446"/>
                  </a:lnTo>
                  <a:lnTo>
                    <a:pt x="259" y="434"/>
                  </a:lnTo>
                  <a:lnTo>
                    <a:pt x="257" y="422"/>
                  </a:lnTo>
                  <a:lnTo>
                    <a:pt x="259" y="403"/>
                  </a:lnTo>
                  <a:lnTo>
                    <a:pt x="259" y="397"/>
                  </a:lnTo>
                  <a:lnTo>
                    <a:pt x="244" y="358"/>
                  </a:lnTo>
                  <a:lnTo>
                    <a:pt x="217" y="325"/>
                  </a:lnTo>
                  <a:lnTo>
                    <a:pt x="200" y="294"/>
                  </a:lnTo>
                  <a:lnTo>
                    <a:pt x="184" y="275"/>
                  </a:lnTo>
                  <a:lnTo>
                    <a:pt x="163" y="258"/>
                  </a:lnTo>
                  <a:lnTo>
                    <a:pt x="133" y="238"/>
                  </a:lnTo>
                  <a:lnTo>
                    <a:pt x="122" y="227"/>
                  </a:lnTo>
                  <a:lnTo>
                    <a:pt x="116" y="223"/>
                  </a:lnTo>
                  <a:lnTo>
                    <a:pt x="108" y="222"/>
                  </a:lnTo>
                  <a:lnTo>
                    <a:pt x="83" y="220"/>
                  </a:lnTo>
                  <a:lnTo>
                    <a:pt x="70" y="215"/>
                  </a:lnTo>
                  <a:lnTo>
                    <a:pt x="61" y="211"/>
                  </a:lnTo>
                  <a:lnTo>
                    <a:pt x="58" y="209"/>
                  </a:lnTo>
                  <a:lnTo>
                    <a:pt x="47" y="201"/>
                  </a:lnTo>
                  <a:lnTo>
                    <a:pt x="34" y="188"/>
                  </a:lnTo>
                  <a:lnTo>
                    <a:pt x="25" y="183"/>
                  </a:lnTo>
                  <a:lnTo>
                    <a:pt x="17" y="183"/>
                  </a:lnTo>
                  <a:lnTo>
                    <a:pt x="9" y="175"/>
                  </a:lnTo>
                  <a:lnTo>
                    <a:pt x="7" y="173"/>
                  </a:lnTo>
                  <a:lnTo>
                    <a:pt x="1" y="161"/>
                  </a:lnTo>
                  <a:lnTo>
                    <a:pt x="0" y="149"/>
                  </a:lnTo>
                  <a:lnTo>
                    <a:pt x="2" y="110"/>
                  </a:lnTo>
                  <a:lnTo>
                    <a:pt x="6" y="97"/>
                  </a:lnTo>
                  <a:lnTo>
                    <a:pt x="22" y="72"/>
                  </a:lnTo>
                  <a:lnTo>
                    <a:pt x="27" y="57"/>
                  </a:lnTo>
                  <a:lnTo>
                    <a:pt x="26" y="37"/>
                  </a:lnTo>
                  <a:lnTo>
                    <a:pt x="25" y="25"/>
                  </a:lnTo>
                  <a:lnTo>
                    <a:pt x="25" y="15"/>
                  </a:lnTo>
                  <a:lnTo>
                    <a:pt x="26" y="11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4" y="5"/>
                  </a:lnTo>
                  <a:lnTo>
                    <a:pt x="108" y="76"/>
                  </a:lnTo>
                  <a:lnTo>
                    <a:pt x="123" y="87"/>
                  </a:lnTo>
                  <a:lnTo>
                    <a:pt x="136" y="94"/>
                  </a:lnTo>
                  <a:lnTo>
                    <a:pt x="176" y="105"/>
                  </a:lnTo>
                  <a:lnTo>
                    <a:pt x="189" y="111"/>
                  </a:lnTo>
                  <a:lnTo>
                    <a:pt x="277" y="177"/>
                  </a:lnTo>
                  <a:lnTo>
                    <a:pt x="305" y="191"/>
                  </a:lnTo>
                  <a:lnTo>
                    <a:pt x="353" y="193"/>
                  </a:lnTo>
                  <a:lnTo>
                    <a:pt x="398" y="210"/>
                  </a:lnTo>
                  <a:lnTo>
                    <a:pt x="405" y="2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24B85257-5A31-713F-3EEF-B6A12F132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122" y="3833496"/>
              <a:ext cx="1017862" cy="613365"/>
            </a:xfrm>
            <a:custGeom>
              <a:avLst/>
              <a:gdLst>
                <a:gd name="T0" fmla="*/ 437 w 692"/>
                <a:gd name="T1" fmla="*/ 124 h 417"/>
                <a:gd name="T2" fmla="*/ 487 w 692"/>
                <a:gd name="T3" fmla="*/ 88 h 417"/>
                <a:gd name="T4" fmla="*/ 613 w 692"/>
                <a:gd name="T5" fmla="*/ 66 h 417"/>
                <a:gd name="T6" fmla="*/ 636 w 692"/>
                <a:gd name="T7" fmla="*/ 84 h 417"/>
                <a:gd name="T8" fmla="*/ 692 w 692"/>
                <a:gd name="T9" fmla="*/ 118 h 417"/>
                <a:gd name="T10" fmla="*/ 690 w 692"/>
                <a:gd name="T11" fmla="*/ 170 h 417"/>
                <a:gd name="T12" fmla="*/ 687 w 692"/>
                <a:gd name="T13" fmla="*/ 196 h 417"/>
                <a:gd name="T14" fmla="*/ 667 w 692"/>
                <a:gd name="T15" fmla="*/ 232 h 417"/>
                <a:gd name="T16" fmla="*/ 656 w 692"/>
                <a:gd name="T17" fmla="*/ 242 h 417"/>
                <a:gd name="T18" fmla="*/ 647 w 692"/>
                <a:gd name="T19" fmla="*/ 240 h 417"/>
                <a:gd name="T20" fmla="*/ 606 w 692"/>
                <a:gd name="T21" fmla="*/ 263 h 417"/>
                <a:gd name="T22" fmla="*/ 597 w 692"/>
                <a:gd name="T23" fmla="*/ 287 h 417"/>
                <a:gd name="T24" fmla="*/ 563 w 692"/>
                <a:gd name="T25" fmla="*/ 301 h 417"/>
                <a:gd name="T26" fmla="*/ 535 w 692"/>
                <a:gd name="T27" fmla="*/ 323 h 417"/>
                <a:gd name="T28" fmla="*/ 510 w 692"/>
                <a:gd name="T29" fmla="*/ 324 h 417"/>
                <a:gd name="T30" fmla="*/ 489 w 692"/>
                <a:gd name="T31" fmla="*/ 331 h 417"/>
                <a:gd name="T32" fmla="*/ 484 w 692"/>
                <a:gd name="T33" fmla="*/ 352 h 417"/>
                <a:gd name="T34" fmla="*/ 485 w 692"/>
                <a:gd name="T35" fmla="*/ 368 h 417"/>
                <a:gd name="T36" fmla="*/ 468 w 692"/>
                <a:gd name="T37" fmla="*/ 393 h 417"/>
                <a:gd name="T38" fmla="*/ 468 w 692"/>
                <a:gd name="T39" fmla="*/ 414 h 417"/>
                <a:gd name="T40" fmla="*/ 455 w 692"/>
                <a:gd name="T41" fmla="*/ 413 h 417"/>
                <a:gd name="T42" fmla="*/ 437 w 692"/>
                <a:gd name="T43" fmla="*/ 416 h 417"/>
                <a:gd name="T44" fmla="*/ 391 w 692"/>
                <a:gd name="T45" fmla="*/ 410 h 417"/>
                <a:gd name="T46" fmla="*/ 381 w 692"/>
                <a:gd name="T47" fmla="*/ 380 h 417"/>
                <a:gd name="T48" fmla="*/ 351 w 692"/>
                <a:gd name="T49" fmla="*/ 350 h 417"/>
                <a:gd name="T50" fmla="*/ 313 w 692"/>
                <a:gd name="T51" fmla="*/ 306 h 417"/>
                <a:gd name="T52" fmla="*/ 292 w 692"/>
                <a:gd name="T53" fmla="*/ 299 h 417"/>
                <a:gd name="T54" fmla="*/ 285 w 692"/>
                <a:gd name="T55" fmla="*/ 312 h 417"/>
                <a:gd name="T56" fmla="*/ 262 w 692"/>
                <a:gd name="T57" fmla="*/ 326 h 417"/>
                <a:gd name="T58" fmla="*/ 253 w 692"/>
                <a:gd name="T59" fmla="*/ 340 h 417"/>
                <a:gd name="T60" fmla="*/ 243 w 692"/>
                <a:gd name="T61" fmla="*/ 355 h 417"/>
                <a:gd name="T62" fmla="*/ 166 w 692"/>
                <a:gd name="T63" fmla="*/ 286 h 417"/>
                <a:gd name="T64" fmla="*/ 154 w 692"/>
                <a:gd name="T65" fmla="*/ 264 h 417"/>
                <a:gd name="T66" fmla="*/ 119 w 692"/>
                <a:gd name="T67" fmla="*/ 248 h 417"/>
                <a:gd name="T68" fmla="*/ 92 w 692"/>
                <a:gd name="T69" fmla="*/ 212 h 417"/>
                <a:gd name="T70" fmla="*/ 52 w 692"/>
                <a:gd name="T71" fmla="*/ 196 h 417"/>
                <a:gd name="T72" fmla="*/ 7 w 692"/>
                <a:gd name="T73" fmla="*/ 209 h 417"/>
                <a:gd name="T74" fmla="*/ 38 w 692"/>
                <a:gd name="T75" fmla="*/ 160 h 417"/>
                <a:gd name="T76" fmla="*/ 59 w 692"/>
                <a:gd name="T77" fmla="*/ 137 h 417"/>
                <a:gd name="T78" fmla="*/ 60 w 692"/>
                <a:gd name="T79" fmla="*/ 121 h 417"/>
                <a:gd name="T80" fmla="*/ 73 w 692"/>
                <a:gd name="T81" fmla="*/ 89 h 417"/>
                <a:gd name="T82" fmla="*/ 108 w 692"/>
                <a:gd name="T83" fmla="*/ 66 h 417"/>
                <a:gd name="T84" fmla="*/ 216 w 692"/>
                <a:gd name="T85" fmla="*/ 42 h 417"/>
                <a:gd name="T86" fmla="*/ 248 w 692"/>
                <a:gd name="T87" fmla="*/ 18 h 417"/>
                <a:gd name="T88" fmla="*/ 260 w 692"/>
                <a:gd name="T89" fmla="*/ 17 h 417"/>
                <a:gd name="T90" fmla="*/ 270 w 692"/>
                <a:gd name="T91" fmla="*/ 30 h 417"/>
                <a:gd name="T92" fmla="*/ 281 w 692"/>
                <a:gd name="T93" fmla="*/ 37 h 417"/>
                <a:gd name="T94" fmla="*/ 292 w 692"/>
                <a:gd name="T95" fmla="*/ 55 h 417"/>
                <a:gd name="T96" fmla="*/ 326 w 692"/>
                <a:gd name="T97" fmla="*/ 94 h 417"/>
                <a:gd name="T98" fmla="*/ 360 w 692"/>
                <a:gd name="T99" fmla="*/ 116 h 417"/>
                <a:gd name="T100" fmla="*/ 397 w 692"/>
                <a:gd name="T101" fmla="*/ 131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2" h="417">
                  <a:moveTo>
                    <a:pt x="397" y="131"/>
                  </a:moveTo>
                  <a:lnTo>
                    <a:pt x="416" y="129"/>
                  </a:lnTo>
                  <a:lnTo>
                    <a:pt x="437" y="124"/>
                  </a:lnTo>
                  <a:lnTo>
                    <a:pt x="461" y="112"/>
                  </a:lnTo>
                  <a:lnTo>
                    <a:pt x="471" y="103"/>
                  </a:lnTo>
                  <a:lnTo>
                    <a:pt x="487" y="88"/>
                  </a:lnTo>
                  <a:lnTo>
                    <a:pt x="504" y="81"/>
                  </a:lnTo>
                  <a:lnTo>
                    <a:pt x="529" y="76"/>
                  </a:lnTo>
                  <a:lnTo>
                    <a:pt x="613" y="66"/>
                  </a:lnTo>
                  <a:lnTo>
                    <a:pt x="626" y="71"/>
                  </a:lnTo>
                  <a:lnTo>
                    <a:pt x="627" y="79"/>
                  </a:lnTo>
                  <a:lnTo>
                    <a:pt x="636" y="84"/>
                  </a:lnTo>
                  <a:lnTo>
                    <a:pt x="677" y="103"/>
                  </a:lnTo>
                  <a:lnTo>
                    <a:pt x="688" y="110"/>
                  </a:lnTo>
                  <a:lnTo>
                    <a:pt x="692" y="118"/>
                  </a:lnTo>
                  <a:lnTo>
                    <a:pt x="690" y="124"/>
                  </a:lnTo>
                  <a:lnTo>
                    <a:pt x="689" y="132"/>
                  </a:lnTo>
                  <a:lnTo>
                    <a:pt x="690" y="170"/>
                  </a:lnTo>
                  <a:lnTo>
                    <a:pt x="688" y="182"/>
                  </a:lnTo>
                  <a:lnTo>
                    <a:pt x="687" y="188"/>
                  </a:lnTo>
                  <a:lnTo>
                    <a:pt x="687" y="196"/>
                  </a:lnTo>
                  <a:lnTo>
                    <a:pt x="686" y="201"/>
                  </a:lnTo>
                  <a:lnTo>
                    <a:pt x="684" y="207"/>
                  </a:lnTo>
                  <a:lnTo>
                    <a:pt x="667" y="232"/>
                  </a:lnTo>
                  <a:lnTo>
                    <a:pt x="661" y="239"/>
                  </a:lnTo>
                  <a:lnTo>
                    <a:pt x="658" y="241"/>
                  </a:lnTo>
                  <a:lnTo>
                    <a:pt x="656" y="242"/>
                  </a:lnTo>
                  <a:lnTo>
                    <a:pt x="653" y="242"/>
                  </a:lnTo>
                  <a:lnTo>
                    <a:pt x="651" y="242"/>
                  </a:lnTo>
                  <a:lnTo>
                    <a:pt x="647" y="240"/>
                  </a:lnTo>
                  <a:lnTo>
                    <a:pt x="636" y="239"/>
                  </a:lnTo>
                  <a:lnTo>
                    <a:pt x="612" y="255"/>
                  </a:lnTo>
                  <a:lnTo>
                    <a:pt x="606" y="263"/>
                  </a:lnTo>
                  <a:lnTo>
                    <a:pt x="602" y="271"/>
                  </a:lnTo>
                  <a:lnTo>
                    <a:pt x="601" y="278"/>
                  </a:lnTo>
                  <a:lnTo>
                    <a:pt x="597" y="287"/>
                  </a:lnTo>
                  <a:lnTo>
                    <a:pt x="587" y="294"/>
                  </a:lnTo>
                  <a:lnTo>
                    <a:pt x="579" y="297"/>
                  </a:lnTo>
                  <a:lnTo>
                    <a:pt x="563" y="301"/>
                  </a:lnTo>
                  <a:lnTo>
                    <a:pt x="557" y="305"/>
                  </a:lnTo>
                  <a:lnTo>
                    <a:pt x="544" y="316"/>
                  </a:lnTo>
                  <a:lnTo>
                    <a:pt x="535" y="323"/>
                  </a:lnTo>
                  <a:lnTo>
                    <a:pt x="529" y="326"/>
                  </a:lnTo>
                  <a:lnTo>
                    <a:pt x="523" y="327"/>
                  </a:lnTo>
                  <a:lnTo>
                    <a:pt x="510" y="324"/>
                  </a:lnTo>
                  <a:lnTo>
                    <a:pt x="502" y="324"/>
                  </a:lnTo>
                  <a:lnTo>
                    <a:pt x="495" y="327"/>
                  </a:lnTo>
                  <a:lnTo>
                    <a:pt x="489" y="331"/>
                  </a:lnTo>
                  <a:lnTo>
                    <a:pt x="484" y="338"/>
                  </a:lnTo>
                  <a:lnTo>
                    <a:pt x="483" y="344"/>
                  </a:lnTo>
                  <a:lnTo>
                    <a:pt x="484" y="352"/>
                  </a:lnTo>
                  <a:lnTo>
                    <a:pt x="487" y="358"/>
                  </a:lnTo>
                  <a:lnTo>
                    <a:pt x="488" y="364"/>
                  </a:lnTo>
                  <a:lnTo>
                    <a:pt x="485" y="368"/>
                  </a:lnTo>
                  <a:lnTo>
                    <a:pt x="483" y="372"/>
                  </a:lnTo>
                  <a:lnTo>
                    <a:pt x="470" y="388"/>
                  </a:lnTo>
                  <a:lnTo>
                    <a:pt x="468" y="393"/>
                  </a:lnTo>
                  <a:lnTo>
                    <a:pt x="467" y="398"/>
                  </a:lnTo>
                  <a:lnTo>
                    <a:pt x="468" y="409"/>
                  </a:lnTo>
                  <a:lnTo>
                    <a:pt x="468" y="414"/>
                  </a:lnTo>
                  <a:lnTo>
                    <a:pt x="465" y="415"/>
                  </a:lnTo>
                  <a:lnTo>
                    <a:pt x="461" y="414"/>
                  </a:lnTo>
                  <a:lnTo>
                    <a:pt x="455" y="413"/>
                  </a:lnTo>
                  <a:lnTo>
                    <a:pt x="450" y="414"/>
                  </a:lnTo>
                  <a:lnTo>
                    <a:pt x="443" y="415"/>
                  </a:lnTo>
                  <a:lnTo>
                    <a:pt x="437" y="416"/>
                  </a:lnTo>
                  <a:lnTo>
                    <a:pt x="426" y="417"/>
                  </a:lnTo>
                  <a:lnTo>
                    <a:pt x="401" y="414"/>
                  </a:lnTo>
                  <a:lnTo>
                    <a:pt x="391" y="410"/>
                  </a:lnTo>
                  <a:lnTo>
                    <a:pt x="388" y="403"/>
                  </a:lnTo>
                  <a:lnTo>
                    <a:pt x="385" y="387"/>
                  </a:lnTo>
                  <a:lnTo>
                    <a:pt x="381" y="380"/>
                  </a:lnTo>
                  <a:lnTo>
                    <a:pt x="377" y="374"/>
                  </a:lnTo>
                  <a:lnTo>
                    <a:pt x="363" y="358"/>
                  </a:lnTo>
                  <a:lnTo>
                    <a:pt x="351" y="350"/>
                  </a:lnTo>
                  <a:lnTo>
                    <a:pt x="332" y="325"/>
                  </a:lnTo>
                  <a:lnTo>
                    <a:pt x="323" y="315"/>
                  </a:lnTo>
                  <a:lnTo>
                    <a:pt x="313" y="306"/>
                  </a:lnTo>
                  <a:lnTo>
                    <a:pt x="305" y="301"/>
                  </a:lnTo>
                  <a:lnTo>
                    <a:pt x="297" y="299"/>
                  </a:lnTo>
                  <a:lnTo>
                    <a:pt x="292" y="299"/>
                  </a:lnTo>
                  <a:lnTo>
                    <a:pt x="288" y="302"/>
                  </a:lnTo>
                  <a:lnTo>
                    <a:pt x="286" y="306"/>
                  </a:lnTo>
                  <a:lnTo>
                    <a:pt x="285" y="312"/>
                  </a:lnTo>
                  <a:lnTo>
                    <a:pt x="281" y="316"/>
                  </a:lnTo>
                  <a:lnTo>
                    <a:pt x="275" y="320"/>
                  </a:lnTo>
                  <a:lnTo>
                    <a:pt x="262" y="326"/>
                  </a:lnTo>
                  <a:lnTo>
                    <a:pt x="256" y="330"/>
                  </a:lnTo>
                  <a:lnTo>
                    <a:pt x="253" y="335"/>
                  </a:lnTo>
                  <a:lnTo>
                    <a:pt x="253" y="340"/>
                  </a:lnTo>
                  <a:lnTo>
                    <a:pt x="251" y="346"/>
                  </a:lnTo>
                  <a:lnTo>
                    <a:pt x="249" y="351"/>
                  </a:lnTo>
                  <a:lnTo>
                    <a:pt x="243" y="355"/>
                  </a:lnTo>
                  <a:lnTo>
                    <a:pt x="235" y="353"/>
                  </a:lnTo>
                  <a:lnTo>
                    <a:pt x="225" y="348"/>
                  </a:lnTo>
                  <a:lnTo>
                    <a:pt x="166" y="286"/>
                  </a:lnTo>
                  <a:lnTo>
                    <a:pt x="160" y="277"/>
                  </a:lnTo>
                  <a:lnTo>
                    <a:pt x="156" y="271"/>
                  </a:lnTo>
                  <a:lnTo>
                    <a:pt x="154" y="264"/>
                  </a:lnTo>
                  <a:lnTo>
                    <a:pt x="147" y="257"/>
                  </a:lnTo>
                  <a:lnTo>
                    <a:pt x="137" y="250"/>
                  </a:lnTo>
                  <a:lnTo>
                    <a:pt x="119" y="248"/>
                  </a:lnTo>
                  <a:lnTo>
                    <a:pt x="111" y="245"/>
                  </a:lnTo>
                  <a:lnTo>
                    <a:pt x="104" y="238"/>
                  </a:lnTo>
                  <a:lnTo>
                    <a:pt x="92" y="212"/>
                  </a:lnTo>
                  <a:lnTo>
                    <a:pt x="85" y="203"/>
                  </a:lnTo>
                  <a:lnTo>
                    <a:pt x="75" y="197"/>
                  </a:lnTo>
                  <a:lnTo>
                    <a:pt x="52" y="196"/>
                  </a:lnTo>
                  <a:lnTo>
                    <a:pt x="33" y="201"/>
                  </a:lnTo>
                  <a:lnTo>
                    <a:pt x="16" y="210"/>
                  </a:lnTo>
                  <a:lnTo>
                    <a:pt x="7" y="209"/>
                  </a:lnTo>
                  <a:lnTo>
                    <a:pt x="1" y="203"/>
                  </a:lnTo>
                  <a:lnTo>
                    <a:pt x="0" y="195"/>
                  </a:lnTo>
                  <a:lnTo>
                    <a:pt x="38" y="160"/>
                  </a:lnTo>
                  <a:lnTo>
                    <a:pt x="60" y="145"/>
                  </a:lnTo>
                  <a:lnTo>
                    <a:pt x="61" y="142"/>
                  </a:lnTo>
                  <a:lnTo>
                    <a:pt x="59" y="137"/>
                  </a:lnTo>
                  <a:lnTo>
                    <a:pt x="56" y="132"/>
                  </a:lnTo>
                  <a:lnTo>
                    <a:pt x="56" y="127"/>
                  </a:lnTo>
                  <a:lnTo>
                    <a:pt x="60" y="121"/>
                  </a:lnTo>
                  <a:lnTo>
                    <a:pt x="60" y="105"/>
                  </a:lnTo>
                  <a:lnTo>
                    <a:pt x="66" y="96"/>
                  </a:lnTo>
                  <a:lnTo>
                    <a:pt x="73" y="89"/>
                  </a:lnTo>
                  <a:lnTo>
                    <a:pt x="91" y="75"/>
                  </a:lnTo>
                  <a:lnTo>
                    <a:pt x="101" y="69"/>
                  </a:lnTo>
                  <a:lnTo>
                    <a:pt x="108" y="66"/>
                  </a:lnTo>
                  <a:lnTo>
                    <a:pt x="188" y="52"/>
                  </a:lnTo>
                  <a:lnTo>
                    <a:pt x="201" y="47"/>
                  </a:lnTo>
                  <a:lnTo>
                    <a:pt x="216" y="42"/>
                  </a:lnTo>
                  <a:lnTo>
                    <a:pt x="232" y="33"/>
                  </a:lnTo>
                  <a:lnTo>
                    <a:pt x="241" y="26"/>
                  </a:lnTo>
                  <a:lnTo>
                    <a:pt x="248" y="18"/>
                  </a:lnTo>
                  <a:lnTo>
                    <a:pt x="251" y="13"/>
                  </a:lnTo>
                  <a:lnTo>
                    <a:pt x="258" y="0"/>
                  </a:lnTo>
                  <a:lnTo>
                    <a:pt x="260" y="17"/>
                  </a:lnTo>
                  <a:lnTo>
                    <a:pt x="262" y="20"/>
                  </a:lnTo>
                  <a:lnTo>
                    <a:pt x="267" y="27"/>
                  </a:lnTo>
                  <a:lnTo>
                    <a:pt x="270" y="30"/>
                  </a:lnTo>
                  <a:lnTo>
                    <a:pt x="274" y="32"/>
                  </a:lnTo>
                  <a:lnTo>
                    <a:pt x="277" y="34"/>
                  </a:lnTo>
                  <a:lnTo>
                    <a:pt x="281" y="37"/>
                  </a:lnTo>
                  <a:lnTo>
                    <a:pt x="284" y="46"/>
                  </a:lnTo>
                  <a:lnTo>
                    <a:pt x="287" y="52"/>
                  </a:lnTo>
                  <a:lnTo>
                    <a:pt x="292" y="55"/>
                  </a:lnTo>
                  <a:lnTo>
                    <a:pt x="298" y="59"/>
                  </a:lnTo>
                  <a:lnTo>
                    <a:pt x="305" y="64"/>
                  </a:lnTo>
                  <a:lnTo>
                    <a:pt x="326" y="94"/>
                  </a:lnTo>
                  <a:lnTo>
                    <a:pt x="336" y="104"/>
                  </a:lnTo>
                  <a:lnTo>
                    <a:pt x="346" y="110"/>
                  </a:lnTo>
                  <a:lnTo>
                    <a:pt x="360" y="116"/>
                  </a:lnTo>
                  <a:lnTo>
                    <a:pt x="373" y="125"/>
                  </a:lnTo>
                  <a:lnTo>
                    <a:pt x="381" y="129"/>
                  </a:lnTo>
                  <a:lnTo>
                    <a:pt x="397" y="1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A86714A5-A57A-8D2B-1565-BC7CBAE91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149" y="2796513"/>
              <a:ext cx="526582" cy="1036983"/>
            </a:xfrm>
            <a:custGeom>
              <a:avLst/>
              <a:gdLst>
                <a:gd name="T0" fmla="*/ 292 w 358"/>
                <a:gd name="T1" fmla="*/ 34 h 705"/>
                <a:gd name="T2" fmla="*/ 330 w 358"/>
                <a:gd name="T3" fmla="*/ 12 h 705"/>
                <a:gd name="T4" fmla="*/ 333 w 358"/>
                <a:gd name="T5" fmla="*/ 52 h 705"/>
                <a:gd name="T6" fmla="*/ 320 w 358"/>
                <a:gd name="T7" fmla="*/ 109 h 705"/>
                <a:gd name="T8" fmla="*/ 311 w 358"/>
                <a:gd name="T9" fmla="*/ 164 h 705"/>
                <a:gd name="T10" fmla="*/ 340 w 358"/>
                <a:gd name="T11" fmla="*/ 205 h 705"/>
                <a:gd name="T12" fmla="*/ 344 w 358"/>
                <a:gd name="T13" fmla="*/ 234 h 705"/>
                <a:gd name="T14" fmla="*/ 358 w 358"/>
                <a:gd name="T15" fmla="*/ 271 h 705"/>
                <a:gd name="T16" fmla="*/ 356 w 358"/>
                <a:gd name="T17" fmla="*/ 324 h 705"/>
                <a:gd name="T18" fmla="*/ 333 w 358"/>
                <a:gd name="T19" fmla="*/ 381 h 705"/>
                <a:gd name="T20" fmla="*/ 276 w 358"/>
                <a:gd name="T21" fmla="*/ 408 h 705"/>
                <a:gd name="T22" fmla="*/ 259 w 358"/>
                <a:gd name="T23" fmla="*/ 422 h 705"/>
                <a:gd name="T24" fmla="*/ 254 w 358"/>
                <a:gd name="T25" fmla="*/ 470 h 705"/>
                <a:gd name="T26" fmla="*/ 260 w 358"/>
                <a:gd name="T27" fmla="*/ 513 h 705"/>
                <a:gd name="T28" fmla="*/ 246 w 358"/>
                <a:gd name="T29" fmla="*/ 614 h 705"/>
                <a:gd name="T30" fmla="*/ 249 w 358"/>
                <a:gd name="T31" fmla="*/ 634 h 705"/>
                <a:gd name="T32" fmla="*/ 209 w 358"/>
                <a:gd name="T33" fmla="*/ 685 h 705"/>
                <a:gd name="T34" fmla="*/ 172 w 358"/>
                <a:gd name="T35" fmla="*/ 671 h 705"/>
                <a:gd name="T36" fmla="*/ 153 w 358"/>
                <a:gd name="T37" fmla="*/ 670 h 705"/>
                <a:gd name="T38" fmla="*/ 137 w 358"/>
                <a:gd name="T39" fmla="*/ 677 h 705"/>
                <a:gd name="T40" fmla="*/ 112 w 358"/>
                <a:gd name="T41" fmla="*/ 651 h 705"/>
                <a:gd name="T42" fmla="*/ 122 w 358"/>
                <a:gd name="T43" fmla="*/ 612 h 705"/>
                <a:gd name="T44" fmla="*/ 73 w 358"/>
                <a:gd name="T45" fmla="*/ 537 h 705"/>
                <a:gd name="T46" fmla="*/ 84 w 358"/>
                <a:gd name="T47" fmla="*/ 519 h 705"/>
                <a:gd name="T48" fmla="*/ 105 w 358"/>
                <a:gd name="T49" fmla="*/ 459 h 705"/>
                <a:gd name="T50" fmla="*/ 98 w 358"/>
                <a:gd name="T51" fmla="*/ 435 h 705"/>
                <a:gd name="T52" fmla="*/ 90 w 358"/>
                <a:gd name="T53" fmla="*/ 410 h 705"/>
                <a:gd name="T54" fmla="*/ 72 w 358"/>
                <a:gd name="T55" fmla="*/ 361 h 705"/>
                <a:gd name="T56" fmla="*/ 55 w 358"/>
                <a:gd name="T57" fmla="*/ 337 h 705"/>
                <a:gd name="T58" fmla="*/ 44 w 358"/>
                <a:gd name="T59" fmla="*/ 333 h 705"/>
                <a:gd name="T60" fmla="*/ 32 w 358"/>
                <a:gd name="T61" fmla="*/ 329 h 705"/>
                <a:gd name="T62" fmla="*/ 35 w 358"/>
                <a:gd name="T63" fmla="*/ 319 h 705"/>
                <a:gd name="T64" fmla="*/ 64 w 358"/>
                <a:gd name="T65" fmla="*/ 290 h 705"/>
                <a:gd name="T66" fmla="*/ 75 w 358"/>
                <a:gd name="T67" fmla="*/ 293 h 705"/>
                <a:gd name="T68" fmla="*/ 85 w 358"/>
                <a:gd name="T69" fmla="*/ 284 h 705"/>
                <a:gd name="T70" fmla="*/ 93 w 358"/>
                <a:gd name="T71" fmla="*/ 260 h 705"/>
                <a:gd name="T72" fmla="*/ 61 w 358"/>
                <a:gd name="T73" fmla="*/ 232 h 705"/>
                <a:gd name="T74" fmla="*/ 44 w 358"/>
                <a:gd name="T75" fmla="*/ 198 h 705"/>
                <a:gd name="T76" fmla="*/ 49 w 358"/>
                <a:gd name="T77" fmla="*/ 135 h 705"/>
                <a:gd name="T78" fmla="*/ 59 w 358"/>
                <a:gd name="T79" fmla="*/ 132 h 705"/>
                <a:gd name="T80" fmla="*/ 65 w 358"/>
                <a:gd name="T81" fmla="*/ 122 h 705"/>
                <a:gd name="T82" fmla="*/ 34 w 358"/>
                <a:gd name="T83" fmla="*/ 93 h 705"/>
                <a:gd name="T84" fmla="*/ 17 w 358"/>
                <a:gd name="T85" fmla="*/ 110 h 705"/>
                <a:gd name="T86" fmla="*/ 2 w 358"/>
                <a:gd name="T87" fmla="*/ 115 h 705"/>
                <a:gd name="T88" fmla="*/ 12 w 358"/>
                <a:gd name="T89" fmla="*/ 91 h 705"/>
                <a:gd name="T90" fmla="*/ 72 w 358"/>
                <a:gd name="T91" fmla="*/ 34 h 705"/>
                <a:gd name="T92" fmla="*/ 168 w 358"/>
                <a:gd name="T93" fmla="*/ 3 h 705"/>
                <a:gd name="T94" fmla="*/ 204 w 358"/>
                <a:gd name="T95" fmla="*/ 2 h 705"/>
                <a:gd name="T96" fmla="*/ 216 w 358"/>
                <a:gd name="T97" fmla="*/ 15 h 705"/>
                <a:gd name="T98" fmla="*/ 266 w 358"/>
                <a:gd name="T99" fmla="*/ 38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8" h="705">
                  <a:moveTo>
                    <a:pt x="266" y="38"/>
                  </a:moveTo>
                  <a:lnTo>
                    <a:pt x="281" y="37"/>
                  </a:lnTo>
                  <a:lnTo>
                    <a:pt x="292" y="34"/>
                  </a:lnTo>
                  <a:lnTo>
                    <a:pt x="311" y="19"/>
                  </a:lnTo>
                  <a:lnTo>
                    <a:pt x="322" y="13"/>
                  </a:lnTo>
                  <a:lnTo>
                    <a:pt x="330" y="12"/>
                  </a:lnTo>
                  <a:lnTo>
                    <a:pt x="350" y="18"/>
                  </a:lnTo>
                  <a:lnTo>
                    <a:pt x="334" y="44"/>
                  </a:lnTo>
                  <a:lnTo>
                    <a:pt x="333" y="52"/>
                  </a:lnTo>
                  <a:lnTo>
                    <a:pt x="332" y="78"/>
                  </a:lnTo>
                  <a:lnTo>
                    <a:pt x="329" y="89"/>
                  </a:lnTo>
                  <a:lnTo>
                    <a:pt x="320" y="109"/>
                  </a:lnTo>
                  <a:lnTo>
                    <a:pt x="316" y="121"/>
                  </a:lnTo>
                  <a:lnTo>
                    <a:pt x="308" y="154"/>
                  </a:lnTo>
                  <a:lnTo>
                    <a:pt x="311" y="164"/>
                  </a:lnTo>
                  <a:lnTo>
                    <a:pt x="327" y="188"/>
                  </a:lnTo>
                  <a:lnTo>
                    <a:pt x="334" y="197"/>
                  </a:lnTo>
                  <a:lnTo>
                    <a:pt x="340" y="205"/>
                  </a:lnTo>
                  <a:lnTo>
                    <a:pt x="340" y="219"/>
                  </a:lnTo>
                  <a:lnTo>
                    <a:pt x="341" y="226"/>
                  </a:lnTo>
                  <a:lnTo>
                    <a:pt x="344" y="234"/>
                  </a:lnTo>
                  <a:lnTo>
                    <a:pt x="355" y="252"/>
                  </a:lnTo>
                  <a:lnTo>
                    <a:pt x="358" y="260"/>
                  </a:lnTo>
                  <a:lnTo>
                    <a:pt x="358" y="271"/>
                  </a:lnTo>
                  <a:lnTo>
                    <a:pt x="356" y="286"/>
                  </a:lnTo>
                  <a:lnTo>
                    <a:pt x="355" y="303"/>
                  </a:lnTo>
                  <a:lnTo>
                    <a:pt x="356" y="324"/>
                  </a:lnTo>
                  <a:lnTo>
                    <a:pt x="354" y="343"/>
                  </a:lnTo>
                  <a:lnTo>
                    <a:pt x="346" y="360"/>
                  </a:lnTo>
                  <a:lnTo>
                    <a:pt x="333" y="381"/>
                  </a:lnTo>
                  <a:lnTo>
                    <a:pt x="309" y="401"/>
                  </a:lnTo>
                  <a:lnTo>
                    <a:pt x="300" y="405"/>
                  </a:lnTo>
                  <a:lnTo>
                    <a:pt x="276" y="408"/>
                  </a:lnTo>
                  <a:lnTo>
                    <a:pt x="268" y="411"/>
                  </a:lnTo>
                  <a:lnTo>
                    <a:pt x="262" y="417"/>
                  </a:lnTo>
                  <a:lnTo>
                    <a:pt x="259" y="422"/>
                  </a:lnTo>
                  <a:lnTo>
                    <a:pt x="256" y="428"/>
                  </a:lnTo>
                  <a:lnTo>
                    <a:pt x="256" y="440"/>
                  </a:lnTo>
                  <a:lnTo>
                    <a:pt x="254" y="470"/>
                  </a:lnTo>
                  <a:lnTo>
                    <a:pt x="255" y="491"/>
                  </a:lnTo>
                  <a:lnTo>
                    <a:pt x="260" y="505"/>
                  </a:lnTo>
                  <a:lnTo>
                    <a:pt x="260" y="513"/>
                  </a:lnTo>
                  <a:lnTo>
                    <a:pt x="242" y="600"/>
                  </a:lnTo>
                  <a:lnTo>
                    <a:pt x="243" y="607"/>
                  </a:lnTo>
                  <a:lnTo>
                    <a:pt x="246" y="614"/>
                  </a:lnTo>
                  <a:lnTo>
                    <a:pt x="249" y="620"/>
                  </a:lnTo>
                  <a:lnTo>
                    <a:pt x="250" y="627"/>
                  </a:lnTo>
                  <a:lnTo>
                    <a:pt x="249" y="634"/>
                  </a:lnTo>
                  <a:lnTo>
                    <a:pt x="246" y="642"/>
                  </a:lnTo>
                  <a:lnTo>
                    <a:pt x="233" y="661"/>
                  </a:lnTo>
                  <a:lnTo>
                    <a:pt x="209" y="685"/>
                  </a:lnTo>
                  <a:lnTo>
                    <a:pt x="173" y="705"/>
                  </a:lnTo>
                  <a:lnTo>
                    <a:pt x="174" y="677"/>
                  </a:lnTo>
                  <a:lnTo>
                    <a:pt x="172" y="671"/>
                  </a:lnTo>
                  <a:lnTo>
                    <a:pt x="166" y="666"/>
                  </a:lnTo>
                  <a:lnTo>
                    <a:pt x="160" y="666"/>
                  </a:lnTo>
                  <a:lnTo>
                    <a:pt x="153" y="670"/>
                  </a:lnTo>
                  <a:lnTo>
                    <a:pt x="149" y="673"/>
                  </a:lnTo>
                  <a:lnTo>
                    <a:pt x="145" y="677"/>
                  </a:lnTo>
                  <a:lnTo>
                    <a:pt x="137" y="677"/>
                  </a:lnTo>
                  <a:lnTo>
                    <a:pt x="130" y="677"/>
                  </a:lnTo>
                  <a:lnTo>
                    <a:pt x="103" y="671"/>
                  </a:lnTo>
                  <a:lnTo>
                    <a:pt x="112" y="651"/>
                  </a:lnTo>
                  <a:lnTo>
                    <a:pt x="118" y="628"/>
                  </a:lnTo>
                  <a:lnTo>
                    <a:pt x="122" y="617"/>
                  </a:lnTo>
                  <a:lnTo>
                    <a:pt x="122" y="612"/>
                  </a:lnTo>
                  <a:lnTo>
                    <a:pt x="118" y="602"/>
                  </a:lnTo>
                  <a:lnTo>
                    <a:pt x="95" y="565"/>
                  </a:lnTo>
                  <a:lnTo>
                    <a:pt x="73" y="537"/>
                  </a:lnTo>
                  <a:lnTo>
                    <a:pt x="72" y="531"/>
                  </a:lnTo>
                  <a:lnTo>
                    <a:pt x="75" y="525"/>
                  </a:lnTo>
                  <a:lnTo>
                    <a:pt x="84" y="519"/>
                  </a:lnTo>
                  <a:lnTo>
                    <a:pt x="86" y="516"/>
                  </a:lnTo>
                  <a:lnTo>
                    <a:pt x="98" y="472"/>
                  </a:lnTo>
                  <a:lnTo>
                    <a:pt x="105" y="459"/>
                  </a:lnTo>
                  <a:lnTo>
                    <a:pt x="106" y="449"/>
                  </a:lnTo>
                  <a:lnTo>
                    <a:pt x="103" y="441"/>
                  </a:lnTo>
                  <a:lnTo>
                    <a:pt x="98" y="435"/>
                  </a:lnTo>
                  <a:lnTo>
                    <a:pt x="93" y="425"/>
                  </a:lnTo>
                  <a:lnTo>
                    <a:pt x="91" y="417"/>
                  </a:lnTo>
                  <a:lnTo>
                    <a:pt x="90" y="410"/>
                  </a:lnTo>
                  <a:lnTo>
                    <a:pt x="93" y="397"/>
                  </a:lnTo>
                  <a:lnTo>
                    <a:pt x="92" y="392"/>
                  </a:lnTo>
                  <a:lnTo>
                    <a:pt x="72" y="361"/>
                  </a:lnTo>
                  <a:lnTo>
                    <a:pt x="65" y="347"/>
                  </a:lnTo>
                  <a:lnTo>
                    <a:pt x="59" y="340"/>
                  </a:lnTo>
                  <a:lnTo>
                    <a:pt x="55" y="337"/>
                  </a:lnTo>
                  <a:lnTo>
                    <a:pt x="51" y="339"/>
                  </a:lnTo>
                  <a:lnTo>
                    <a:pt x="47" y="336"/>
                  </a:lnTo>
                  <a:lnTo>
                    <a:pt x="44" y="333"/>
                  </a:lnTo>
                  <a:lnTo>
                    <a:pt x="41" y="331"/>
                  </a:lnTo>
                  <a:lnTo>
                    <a:pt x="35" y="330"/>
                  </a:lnTo>
                  <a:lnTo>
                    <a:pt x="32" y="329"/>
                  </a:lnTo>
                  <a:lnTo>
                    <a:pt x="30" y="326"/>
                  </a:lnTo>
                  <a:lnTo>
                    <a:pt x="31" y="321"/>
                  </a:lnTo>
                  <a:lnTo>
                    <a:pt x="35" y="319"/>
                  </a:lnTo>
                  <a:lnTo>
                    <a:pt x="41" y="316"/>
                  </a:lnTo>
                  <a:lnTo>
                    <a:pt x="45" y="311"/>
                  </a:lnTo>
                  <a:lnTo>
                    <a:pt x="64" y="290"/>
                  </a:lnTo>
                  <a:lnTo>
                    <a:pt x="68" y="289"/>
                  </a:lnTo>
                  <a:lnTo>
                    <a:pt x="71" y="290"/>
                  </a:lnTo>
                  <a:lnTo>
                    <a:pt x="75" y="293"/>
                  </a:lnTo>
                  <a:lnTo>
                    <a:pt x="79" y="293"/>
                  </a:lnTo>
                  <a:lnTo>
                    <a:pt x="81" y="291"/>
                  </a:lnTo>
                  <a:lnTo>
                    <a:pt x="85" y="284"/>
                  </a:lnTo>
                  <a:lnTo>
                    <a:pt x="88" y="279"/>
                  </a:lnTo>
                  <a:lnTo>
                    <a:pt x="92" y="269"/>
                  </a:lnTo>
                  <a:lnTo>
                    <a:pt x="93" y="260"/>
                  </a:lnTo>
                  <a:lnTo>
                    <a:pt x="88" y="252"/>
                  </a:lnTo>
                  <a:lnTo>
                    <a:pt x="83" y="246"/>
                  </a:lnTo>
                  <a:lnTo>
                    <a:pt x="61" y="232"/>
                  </a:lnTo>
                  <a:lnTo>
                    <a:pt x="53" y="223"/>
                  </a:lnTo>
                  <a:lnTo>
                    <a:pt x="46" y="212"/>
                  </a:lnTo>
                  <a:lnTo>
                    <a:pt x="44" y="198"/>
                  </a:lnTo>
                  <a:lnTo>
                    <a:pt x="45" y="146"/>
                  </a:lnTo>
                  <a:lnTo>
                    <a:pt x="46" y="139"/>
                  </a:lnTo>
                  <a:lnTo>
                    <a:pt x="49" y="135"/>
                  </a:lnTo>
                  <a:lnTo>
                    <a:pt x="52" y="134"/>
                  </a:lnTo>
                  <a:lnTo>
                    <a:pt x="56" y="134"/>
                  </a:lnTo>
                  <a:lnTo>
                    <a:pt x="59" y="132"/>
                  </a:lnTo>
                  <a:lnTo>
                    <a:pt x="62" y="129"/>
                  </a:lnTo>
                  <a:lnTo>
                    <a:pt x="65" y="125"/>
                  </a:lnTo>
                  <a:lnTo>
                    <a:pt x="65" y="122"/>
                  </a:lnTo>
                  <a:lnTo>
                    <a:pt x="45" y="108"/>
                  </a:lnTo>
                  <a:lnTo>
                    <a:pt x="39" y="96"/>
                  </a:lnTo>
                  <a:lnTo>
                    <a:pt x="34" y="93"/>
                  </a:lnTo>
                  <a:lnTo>
                    <a:pt x="30" y="93"/>
                  </a:lnTo>
                  <a:lnTo>
                    <a:pt x="26" y="97"/>
                  </a:lnTo>
                  <a:lnTo>
                    <a:pt x="17" y="110"/>
                  </a:lnTo>
                  <a:lnTo>
                    <a:pt x="13" y="114"/>
                  </a:lnTo>
                  <a:lnTo>
                    <a:pt x="7" y="116"/>
                  </a:lnTo>
                  <a:lnTo>
                    <a:pt x="2" y="115"/>
                  </a:lnTo>
                  <a:lnTo>
                    <a:pt x="0" y="111"/>
                  </a:lnTo>
                  <a:lnTo>
                    <a:pt x="2" y="102"/>
                  </a:lnTo>
                  <a:lnTo>
                    <a:pt x="12" y="91"/>
                  </a:lnTo>
                  <a:lnTo>
                    <a:pt x="28" y="65"/>
                  </a:lnTo>
                  <a:lnTo>
                    <a:pt x="40" y="49"/>
                  </a:lnTo>
                  <a:lnTo>
                    <a:pt x="72" y="34"/>
                  </a:lnTo>
                  <a:lnTo>
                    <a:pt x="103" y="32"/>
                  </a:lnTo>
                  <a:lnTo>
                    <a:pt x="151" y="7"/>
                  </a:lnTo>
                  <a:lnTo>
                    <a:pt x="168" y="3"/>
                  </a:lnTo>
                  <a:lnTo>
                    <a:pt x="186" y="0"/>
                  </a:lnTo>
                  <a:lnTo>
                    <a:pt x="196" y="0"/>
                  </a:lnTo>
                  <a:lnTo>
                    <a:pt x="204" y="2"/>
                  </a:lnTo>
                  <a:lnTo>
                    <a:pt x="209" y="5"/>
                  </a:lnTo>
                  <a:lnTo>
                    <a:pt x="212" y="10"/>
                  </a:lnTo>
                  <a:lnTo>
                    <a:pt x="216" y="15"/>
                  </a:lnTo>
                  <a:lnTo>
                    <a:pt x="237" y="28"/>
                  </a:lnTo>
                  <a:lnTo>
                    <a:pt x="250" y="34"/>
                  </a:lnTo>
                  <a:lnTo>
                    <a:pt x="266" y="3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DC6D1F08-ED23-D09D-0E40-960CDF2DB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424" y="4121793"/>
              <a:ext cx="1319396" cy="1123766"/>
            </a:xfrm>
            <a:custGeom>
              <a:avLst/>
              <a:gdLst>
                <a:gd name="T0" fmla="*/ 418 w 897"/>
                <a:gd name="T1" fmla="*/ 144 h 764"/>
                <a:gd name="T2" fmla="*/ 440 w 897"/>
                <a:gd name="T3" fmla="*/ 124 h 764"/>
                <a:gd name="T4" fmla="*/ 453 w 897"/>
                <a:gd name="T5" fmla="*/ 106 h 764"/>
                <a:gd name="T6" fmla="*/ 478 w 897"/>
                <a:gd name="T7" fmla="*/ 110 h 764"/>
                <a:gd name="T8" fmla="*/ 528 w 897"/>
                <a:gd name="T9" fmla="*/ 162 h 764"/>
                <a:gd name="T10" fmla="*/ 553 w 897"/>
                <a:gd name="T11" fmla="*/ 207 h 764"/>
                <a:gd name="T12" fmla="*/ 602 w 897"/>
                <a:gd name="T13" fmla="*/ 220 h 764"/>
                <a:gd name="T14" fmla="*/ 626 w 897"/>
                <a:gd name="T15" fmla="*/ 218 h 764"/>
                <a:gd name="T16" fmla="*/ 632 w 897"/>
                <a:gd name="T17" fmla="*/ 202 h 764"/>
                <a:gd name="T18" fmla="*/ 650 w 897"/>
                <a:gd name="T19" fmla="*/ 172 h 764"/>
                <a:gd name="T20" fmla="*/ 648 w 897"/>
                <a:gd name="T21" fmla="*/ 148 h 764"/>
                <a:gd name="T22" fmla="*/ 667 w 897"/>
                <a:gd name="T23" fmla="*/ 128 h 764"/>
                <a:gd name="T24" fmla="*/ 700 w 897"/>
                <a:gd name="T25" fmla="*/ 127 h 764"/>
                <a:gd name="T26" fmla="*/ 744 w 897"/>
                <a:gd name="T27" fmla="*/ 101 h 764"/>
                <a:gd name="T28" fmla="*/ 767 w 897"/>
                <a:gd name="T29" fmla="*/ 75 h 764"/>
                <a:gd name="T30" fmla="*/ 812 w 897"/>
                <a:gd name="T31" fmla="*/ 44 h 764"/>
                <a:gd name="T32" fmla="*/ 816 w 897"/>
                <a:gd name="T33" fmla="*/ 82 h 764"/>
                <a:gd name="T34" fmla="*/ 831 w 897"/>
                <a:gd name="T35" fmla="*/ 74 h 764"/>
                <a:gd name="T36" fmla="*/ 851 w 897"/>
                <a:gd name="T37" fmla="*/ 50 h 764"/>
                <a:gd name="T38" fmla="*/ 888 w 897"/>
                <a:gd name="T39" fmla="*/ 65 h 764"/>
                <a:gd name="T40" fmla="*/ 897 w 897"/>
                <a:gd name="T41" fmla="*/ 87 h 764"/>
                <a:gd name="T42" fmla="*/ 805 w 897"/>
                <a:gd name="T43" fmla="*/ 143 h 764"/>
                <a:gd name="T44" fmla="*/ 780 w 897"/>
                <a:gd name="T45" fmla="*/ 198 h 764"/>
                <a:gd name="T46" fmla="*/ 798 w 897"/>
                <a:gd name="T47" fmla="*/ 223 h 764"/>
                <a:gd name="T48" fmla="*/ 758 w 897"/>
                <a:gd name="T49" fmla="*/ 302 h 764"/>
                <a:gd name="T50" fmla="*/ 737 w 897"/>
                <a:gd name="T51" fmla="*/ 364 h 764"/>
                <a:gd name="T52" fmla="*/ 712 w 897"/>
                <a:gd name="T53" fmla="*/ 417 h 764"/>
                <a:gd name="T54" fmla="*/ 634 w 897"/>
                <a:gd name="T55" fmla="*/ 464 h 764"/>
                <a:gd name="T56" fmla="*/ 551 w 897"/>
                <a:gd name="T57" fmla="*/ 554 h 764"/>
                <a:gd name="T58" fmla="*/ 479 w 897"/>
                <a:gd name="T59" fmla="*/ 604 h 764"/>
                <a:gd name="T60" fmla="*/ 470 w 897"/>
                <a:gd name="T61" fmla="*/ 632 h 764"/>
                <a:gd name="T62" fmla="*/ 478 w 897"/>
                <a:gd name="T63" fmla="*/ 655 h 764"/>
                <a:gd name="T64" fmla="*/ 476 w 897"/>
                <a:gd name="T65" fmla="*/ 707 h 764"/>
                <a:gd name="T66" fmla="*/ 458 w 897"/>
                <a:gd name="T67" fmla="*/ 760 h 764"/>
                <a:gd name="T68" fmla="*/ 427 w 897"/>
                <a:gd name="T69" fmla="*/ 726 h 764"/>
                <a:gd name="T70" fmla="*/ 395 w 897"/>
                <a:gd name="T71" fmla="*/ 651 h 764"/>
                <a:gd name="T72" fmla="*/ 361 w 897"/>
                <a:gd name="T73" fmla="*/ 645 h 764"/>
                <a:gd name="T74" fmla="*/ 314 w 897"/>
                <a:gd name="T75" fmla="*/ 630 h 764"/>
                <a:gd name="T76" fmla="*/ 308 w 897"/>
                <a:gd name="T77" fmla="*/ 587 h 764"/>
                <a:gd name="T78" fmla="*/ 280 w 897"/>
                <a:gd name="T79" fmla="*/ 565 h 764"/>
                <a:gd name="T80" fmla="*/ 203 w 897"/>
                <a:gd name="T81" fmla="*/ 557 h 764"/>
                <a:gd name="T82" fmla="*/ 136 w 897"/>
                <a:gd name="T83" fmla="*/ 549 h 764"/>
                <a:gd name="T84" fmla="*/ 62 w 897"/>
                <a:gd name="T85" fmla="*/ 551 h 764"/>
                <a:gd name="T86" fmla="*/ 86 w 897"/>
                <a:gd name="T87" fmla="*/ 532 h 764"/>
                <a:gd name="T88" fmla="*/ 112 w 897"/>
                <a:gd name="T89" fmla="*/ 474 h 764"/>
                <a:gd name="T90" fmla="*/ 83 w 897"/>
                <a:gd name="T91" fmla="*/ 424 h 764"/>
                <a:gd name="T92" fmla="*/ 8 w 897"/>
                <a:gd name="T93" fmla="*/ 353 h 764"/>
                <a:gd name="T94" fmla="*/ 39 w 897"/>
                <a:gd name="T95" fmla="*/ 265 h 764"/>
                <a:gd name="T96" fmla="*/ 194 w 897"/>
                <a:gd name="T97" fmla="*/ 67 h 764"/>
                <a:gd name="T98" fmla="*/ 211 w 897"/>
                <a:gd name="T99" fmla="*/ 54 h 764"/>
                <a:gd name="T100" fmla="*/ 225 w 897"/>
                <a:gd name="T101" fmla="*/ 17 h 764"/>
                <a:gd name="T102" fmla="*/ 257 w 897"/>
                <a:gd name="T103" fmla="*/ 16 h 764"/>
                <a:gd name="T104" fmla="*/ 302 w 897"/>
                <a:gd name="T105" fmla="*/ 54 h 764"/>
                <a:gd name="T106" fmla="*/ 325 w 897"/>
                <a:gd name="T107" fmla="*/ 81 h 764"/>
                <a:gd name="T108" fmla="*/ 408 w 897"/>
                <a:gd name="T109" fmla="*/ 1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7" h="764">
                  <a:moveTo>
                    <a:pt x="408" y="159"/>
                  </a:moveTo>
                  <a:lnTo>
                    <a:pt x="414" y="155"/>
                  </a:lnTo>
                  <a:lnTo>
                    <a:pt x="416" y="150"/>
                  </a:lnTo>
                  <a:lnTo>
                    <a:pt x="418" y="144"/>
                  </a:lnTo>
                  <a:lnTo>
                    <a:pt x="418" y="139"/>
                  </a:lnTo>
                  <a:lnTo>
                    <a:pt x="421" y="134"/>
                  </a:lnTo>
                  <a:lnTo>
                    <a:pt x="427" y="130"/>
                  </a:lnTo>
                  <a:lnTo>
                    <a:pt x="440" y="124"/>
                  </a:lnTo>
                  <a:lnTo>
                    <a:pt x="446" y="120"/>
                  </a:lnTo>
                  <a:lnTo>
                    <a:pt x="450" y="116"/>
                  </a:lnTo>
                  <a:lnTo>
                    <a:pt x="451" y="110"/>
                  </a:lnTo>
                  <a:lnTo>
                    <a:pt x="453" y="106"/>
                  </a:lnTo>
                  <a:lnTo>
                    <a:pt x="457" y="103"/>
                  </a:lnTo>
                  <a:lnTo>
                    <a:pt x="462" y="103"/>
                  </a:lnTo>
                  <a:lnTo>
                    <a:pt x="470" y="105"/>
                  </a:lnTo>
                  <a:lnTo>
                    <a:pt x="478" y="110"/>
                  </a:lnTo>
                  <a:lnTo>
                    <a:pt x="488" y="119"/>
                  </a:lnTo>
                  <a:lnTo>
                    <a:pt x="497" y="129"/>
                  </a:lnTo>
                  <a:lnTo>
                    <a:pt x="516" y="154"/>
                  </a:lnTo>
                  <a:lnTo>
                    <a:pt x="528" y="162"/>
                  </a:lnTo>
                  <a:lnTo>
                    <a:pt x="542" y="178"/>
                  </a:lnTo>
                  <a:lnTo>
                    <a:pt x="546" y="184"/>
                  </a:lnTo>
                  <a:lnTo>
                    <a:pt x="550" y="191"/>
                  </a:lnTo>
                  <a:lnTo>
                    <a:pt x="553" y="207"/>
                  </a:lnTo>
                  <a:lnTo>
                    <a:pt x="556" y="214"/>
                  </a:lnTo>
                  <a:lnTo>
                    <a:pt x="566" y="218"/>
                  </a:lnTo>
                  <a:lnTo>
                    <a:pt x="591" y="221"/>
                  </a:lnTo>
                  <a:lnTo>
                    <a:pt x="602" y="220"/>
                  </a:lnTo>
                  <a:lnTo>
                    <a:pt x="608" y="219"/>
                  </a:lnTo>
                  <a:lnTo>
                    <a:pt x="615" y="218"/>
                  </a:lnTo>
                  <a:lnTo>
                    <a:pt x="620" y="217"/>
                  </a:lnTo>
                  <a:lnTo>
                    <a:pt x="626" y="218"/>
                  </a:lnTo>
                  <a:lnTo>
                    <a:pt x="630" y="219"/>
                  </a:lnTo>
                  <a:lnTo>
                    <a:pt x="633" y="218"/>
                  </a:lnTo>
                  <a:lnTo>
                    <a:pt x="633" y="213"/>
                  </a:lnTo>
                  <a:lnTo>
                    <a:pt x="632" y="202"/>
                  </a:lnTo>
                  <a:lnTo>
                    <a:pt x="633" y="197"/>
                  </a:lnTo>
                  <a:lnTo>
                    <a:pt x="635" y="192"/>
                  </a:lnTo>
                  <a:lnTo>
                    <a:pt x="648" y="176"/>
                  </a:lnTo>
                  <a:lnTo>
                    <a:pt x="650" y="172"/>
                  </a:lnTo>
                  <a:lnTo>
                    <a:pt x="653" y="168"/>
                  </a:lnTo>
                  <a:lnTo>
                    <a:pt x="652" y="162"/>
                  </a:lnTo>
                  <a:lnTo>
                    <a:pt x="649" y="156"/>
                  </a:lnTo>
                  <a:lnTo>
                    <a:pt x="648" y="148"/>
                  </a:lnTo>
                  <a:lnTo>
                    <a:pt x="649" y="142"/>
                  </a:lnTo>
                  <a:lnTo>
                    <a:pt x="654" y="135"/>
                  </a:lnTo>
                  <a:lnTo>
                    <a:pt x="660" y="131"/>
                  </a:lnTo>
                  <a:lnTo>
                    <a:pt x="667" y="128"/>
                  </a:lnTo>
                  <a:lnTo>
                    <a:pt x="675" y="128"/>
                  </a:lnTo>
                  <a:lnTo>
                    <a:pt x="688" y="131"/>
                  </a:lnTo>
                  <a:lnTo>
                    <a:pt x="694" y="130"/>
                  </a:lnTo>
                  <a:lnTo>
                    <a:pt x="700" y="127"/>
                  </a:lnTo>
                  <a:lnTo>
                    <a:pt x="709" y="120"/>
                  </a:lnTo>
                  <a:lnTo>
                    <a:pt x="722" y="109"/>
                  </a:lnTo>
                  <a:lnTo>
                    <a:pt x="728" y="105"/>
                  </a:lnTo>
                  <a:lnTo>
                    <a:pt x="744" y="101"/>
                  </a:lnTo>
                  <a:lnTo>
                    <a:pt x="752" y="98"/>
                  </a:lnTo>
                  <a:lnTo>
                    <a:pt x="762" y="91"/>
                  </a:lnTo>
                  <a:lnTo>
                    <a:pt x="766" y="82"/>
                  </a:lnTo>
                  <a:lnTo>
                    <a:pt x="767" y="75"/>
                  </a:lnTo>
                  <a:lnTo>
                    <a:pt x="771" y="67"/>
                  </a:lnTo>
                  <a:lnTo>
                    <a:pt x="777" y="59"/>
                  </a:lnTo>
                  <a:lnTo>
                    <a:pt x="801" y="43"/>
                  </a:lnTo>
                  <a:lnTo>
                    <a:pt x="812" y="44"/>
                  </a:lnTo>
                  <a:lnTo>
                    <a:pt x="808" y="64"/>
                  </a:lnTo>
                  <a:lnTo>
                    <a:pt x="809" y="70"/>
                  </a:lnTo>
                  <a:lnTo>
                    <a:pt x="811" y="77"/>
                  </a:lnTo>
                  <a:lnTo>
                    <a:pt x="816" y="82"/>
                  </a:lnTo>
                  <a:lnTo>
                    <a:pt x="822" y="85"/>
                  </a:lnTo>
                  <a:lnTo>
                    <a:pt x="827" y="84"/>
                  </a:lnTo>
                  <a:lnTo>
                    <a:pt x="829" y="80"/>
                  </a:lnTo>
                  <a:lnTo>
                    <a:pt x="831" y="74"/>
                  </a:lnTo>
                  <a:lnTo>
                    <a:pt x="834" y="66"/>
                  </a:lnTo>
                  <a:lnTo>
                    <a:pt x="838" y="59"/>
                  </a:lnTo>
                  <a:lnTo>
                    <a:pt x="844" y="53"/>
                  </a:lnTo>
                  <a:lnTo>
                    <a:pt x="851" y="50"/>
                  </a:lnTo>
                  <a:lnTo>
                    <a:pt x="857" y="48"/>
                  </a:lnTo>
                  <a:lnTo>
                    <a:pt x="863" y="48"/>
                  </a:lnTo>
                  <a:lnTo>
                    <a:pt x="867" y="50"/>
                  </a:lnTo>
                  <a:lnTo>
                    <a:pt x="888" y="65"/>
                  </a:lnTo>
                  <a:lnTo>
                    <a:pt x="893" y="70"/>
                  </a:lnTo>
                  <a:lnTo>
                    <a:pt x="895" y="76"/>
                  </a:lnTo>
                  <a:lnTo>
                    <a:pt x="897" y="81"/>
                  </a:lnTo>
                  <a:lnTo>
                    <a:pt x="897" y="87"/>
                  </a:lnTo>
                  <a:lnTo>
                    <a:pt x="894" y="93"/>
                  </a:lnTo>
                  <a:lnTo>
                    <a:pt x="887" y="100"/>
                  </a:lnTo>
                  <a:lnTo>
                    <a:pt x="813" y="137"/>
                  </a:lnTo>
                  <a:lnTo>
                    <a:pt x="805" y="143"/>
                  </a:lnTo>
                  <a:lnTo>
                    <a:pt x="800" y="149"/>
                  </a:lnTo>
                  <a:lnTo>
                    <a:pt x="779" y="189"/>
                  </a:lnTo>
                  <a:lnTo>
                    <a:pt x="778" y="194"/>
                  </a:lnTo>
                  <a:lnTo>
                    <a:pt x="780" y="198"/>
                  </a:lnTo>
                  <a:lnTo>
                    <a:pt x="785" y="204"/>
                  </a:lnTo>
                  <a:lnTo>
                    <a:pt x="790" y="210"/>
                  </a:lnTo>
                  <a:lnTo>
                    <a:pt x="795" y="217"/>
                  </a:lnTo>
                  <a:lnTo>
                    <a:pt x="798" y="223"/>
                  </a:lnTo>
                  <a:lnTo>
                    <a:pt x="798" y="230"/>
                  </a:lnTo>
                  <a:lnTo>
                    <a:pt x="793" y="239"/>
                  </a:lnTo>
                  <a:lnTo>
                    <a:pt x="762" y="291"/>
                  </a:lnTo>
                  <a:lnTo>
                    <a:pt x="758" y="302"/>
                  </a:lnTo>
                  <a:lnTo>
                    <a:pt x="756" y="309"/>
                  </a:lnTo>
                  <a:lnTo>
                    <a:pt x="740" y="342"/>
                  </a:lnTo>
                  <a:lnTo>
                    <a:pt x="737" y="353"/>
                  </a:lnTo>
                  <a:lnTo>
                    <a:pt x="737" y="364"/>
                  </a:lnTo>
                  <a:lnTo>
                    <a:pt x="738" y="374"/>
                  </a:lnTo>
                  <a:lnTo>
                    <a:pt x="736" y="386"/>
                  </a:lnTo>
                  <a:lnTo>
                    <a:pt x="730" y="398"/>
                  </a:lnTo>
                  <a:lnTo>
                    <a:pt x="712" y="417"/>
                  </a:lnTo>
                  <a:lnTo>
                    <a:pt x="696" y="430"/>
                  </a:lnTo>
                  <a:lnTo>
                    <a:pt x="673" y="443"/>
                  </a:lnTo>
                  <a:lnTo>
                    <a:pt x="647" y="451"/>
                  </a:lnTo>
                  <a:lnTo>
                    <a:pt x="634" y="464"/>
                  </a:lnTo>
                  <a:lnTo>
                    <a:pt x="552" y="530"/>
                  </a:lnTo>
                  <a:lnTo>
                    <a:pt x="549" y="536"/>
                  </a:lnTo>
                  <a:lnTo>
                    <a:pt x="548" y="542"/>
                  </a:lnTo>
                  <a:lnTo>
                    <a:pt x="551" y="554"/>
                  </a:lnTo>
                  <a:lnTo>
                    <a:pt x="537" y="567"/>
                  </a:lnTo>
                  <a:lnTo>
                    <a:pt x="500" y="587"/>
                  </a:lnTo>
                  <a:lnTo>
                    <a:pt x="488" y="596"/>
                  </a:lnTo>
                  <a:lnTo>
                    <a:pt x="479" y="604"/>
                  </a:lnTo>
                  <a:lnTo>
                    <a:pt x="473" y="613"/>
                  </a:lnTo>
                  <a:lnTo>
                    <a:pt x="470" y="621"/>
                  </a:lnTo>
                  <a:lnTo>
                    <a:pt x="468" y="626"/>
                  </a:lnTo>
                  <a:lnTo>
                    <a:pt x="470" y="632"/>
                  </a:lnTo>
                  <a:lnTo>
                    <a:pt x="473" y="641"/>
                  </a:lnTo>
                  <a:lnTo>
                    <a:pt x="476" y="646"/>
                  </a:lnTo>
                  <a:lnTo>
                    <a:pt x="478" y="650"/>
                  </a:lnTo>
                  <a:lnTo>
                    <a:pt x="478" y="655"/>
                  </a:lnTo>
                  <a:lnTo>
                    <a:pt x="474" y="668"/>
                  </a:lnTo>
                  <a:lnTo>
                    <a:pt x="473" y="676"/>
                  </a:lnTo>
                  <a:lnTo>
                    <a:pt x="472" y="684"/>
                  </a:lnTo>
                  <a:lnTo>
                    <a:pt x="476" y="707"/>
                  </a:lnTo>
                  <a:lnTo>
                    <a:pt x="468" y="746"/>
                  </a:lnTo>
                  <a:lnTo>
                    <a:pt x="466" y="753"/>
                  </a:lnTo>
                  <a:lnTo>
                    <a:pt x="462" y="758"/>
                  </a:lnTo>
                  <a:lnTo>
                    <a:pt x="458" y="760"/>
                  </a:lnTo>
                  <a:lnTo>
                    <a:pt x="453" y="762"/>
                  </a:lnTo>
                  <a:lnTo>
                    <a:pt x="441" y="764"/>
                  </a:lnTo>
                  <a:lnTo>
                    <a:pt x="429" y="746"/>
                  </a:lnTo>
                  <a:lnTo>
                    <a:pt x="427" y="726"/>
                  </a:lnTo>
                  <a:lnTo>
                    <a:pt x="427" y="711"/>
                  </a:lnTo>
                  <a:lnTo>
                    <a:pt x="422" y="698"/>
                  </a:lnTo>
                  <a:lnTo>
                    <a:pt x="402" y="665"/>
                  </a:lnTo>
                  <a:lnTo>
                    <a:pt x="395" y="651"/>
                  </a:lnTo>
                  <a:lnTo>
                    <a:pt x="390" y="638"/>
                  </a:lnTo>
                  <a:lnTo>
                    <a:pt x="386" y="634"/>
                  </a:lnTo>
                  <a:lnTo>
                    <a:pt x="380" y="635"/>
                  </a:lnTo>
                  <a:lnTo>
                    <a:pt x="361" y="645"/>
                  </a:lnTo>
                  <a:lnTo>
                    <a:pt x="351" y="646"/>
                  </a:lnTo>
                  <a:lnTo>
                    <a:pt x="338" y="646"/>
                  </a:lnTo>
                  <a:lnTo>
                    <a:pt x="321" y="639"/>
                  </a:lnTo>
                  <a:lnTo>
                    <a:pt x="314" y="630"/>
                  </a:lnTo>
                  <a:lnTo>
                    <a:pt x="309" y="622"/>
                  </a:lnTo>
                  <a:lnTo>
                    <a:pt x="308" y="607"/>
                  </a:lnTo>
                  <a:lnTo>
                    <a:pt x="309" y="594"/>
                  </a:lnTo>
                  <a:lnTo>
                    <a:pt x="308" y="587"/>
                  </a:lnTo>
                  <a:lnTo>
                    <a:pt x="304" y="576"/>
                  </a:lnTo>
                  <a:lnTo>
                    <a:pt x="297" y="570"/>
                  </a:lnTo>
                  <a:lnTo>
                    <a:pt x="289" y="565"/>
                  </a:lnTo>
                  <a:lnTo>
                    <a:pt x="280" y="565"/>
                  </a:lnTo>
                  <a:lnTo>
                    <a:pt x="262" y="567"/>
                  </a:lnTo>
                  <a:lnTo>
                    <a:pt x="239" y="567"/>
                  </a:lnTo>
                  <a:lnTo>
                    <a:pt x="220" y="563"/>
                  </a:lnTo>
                  <a:lnTo>
                    <a:pt x="203" y="557"/>
                  </a:lnTo>
                  <a:lnTo>
                    <a:pt x="181" y="549"/>
                  </a:lnTo>
                  <a:lnTo>
                    <a:pt x="169" y="547"/>
                  </a:lnTo>
                  <a:lnTo>
                    <a:pt x="161" y="547"/>
                  </a:lnTo>
                  <a:lnTo>
                    <a:pt x="136" y="549"/>
                  </a:lnTo>
                  <a:lnTo>
                    <a:pt x="98" y="558"/>
                  </a:lnTo>
                  <a:lnTo>
                    <a:pt x="74" y="558"/>
                  </a:lnTo>
                  <a:lnTo>
                    <a:pt x="67" y="555"/>
                  </a:lnTo>
                  <a:lnTo>
                    <a:pt x="62" y="551"/>
                  </a:lnTo>
                  <a:lnTo>
                    <a:pt x="64" y="546"/>
                  </a:lnTo>
                  <a:lnTo>
                    <a:pt x="67" y="543"/>
                  </a:lnTo>
                  <a:lnTo>
                    <a:pt x="80" y="536"/>
                  </a:lnTo>
                  <a:lnTo>
                    <a:pt x="86" y="532"/>
                  </a:lnTo>
                  <a:lnTo>
                    <a:pt x="90" y="525"/>
                  </a:lnTo>
                  <a:lnTo>
                    <a:pt x="94" y="511"/>
                  </a:lnTo>
                  <a:lnTo>
                    <a:pt x="109" y="483"/>
                  </a:lnTo>
                  <a:lnTo>
                    <a:pt x="112" y="474"/>
                  </a:lnTo>
                  <a:lnTo>
                    <a:pt x="113" y="465"/>
                  </a:lnTo>
                  <a:lnTo>
                    <a:pt x="111" y="454"/>
                  </a:lnTo>
                  <a:lnTo>
                    <a:pt x="108" y="445"/>
                  </a:lnTo>
                  <a:lnTo>
                    <a:pt x="83" y="424"/>
                  </a:lnTo>
                  <a:lnTo>
                    <a:pt x="0" y="380"/>
                  </a:lnTo>
                  <a:lnTo>
                    <a:pt x="2" y="367"/>
                  </a:lnTo>
                  <a:lnTo>
                    <a:pt x="4" y="362"/>
                  </a:lnTo>
                  <a:lnTo>
                    <a:pt x="8" y="353"/>
                  </a:lnTo>
                  <a:lnTo>
                    <a:pt x="45" y="309"/>
                  </a:lnTo>
                  <a:lnTo>
                    <a:pt x="45" y="303"/>
                  </a:lnTo>
                  <a:lnTo>
                    <a:pt x="44" y="284"/>
                  </a:lnTo>
                  <a:lnTo>
                    <a:pt x="39" y="265"/>
                  </a:lnTo>
                  <a:lnTo>
                    <a:pt x="38" y="253"/>
                  </a:lnTo>
                  <a:lnTo>
                    <a:pt x="42" y="236"/>
                  </a:lnTo>
                  <a:lnTo>
                    <a:pt x="47" y="220"/>
                  </a:lnTo>
                  <a:lnTo>
                    <a:pt x="194" y="67"/>
                  </a:lnTo>
                  <a:lnTo>
                    <a:pt x="197" y="65"/>
                  </a:lnTo>
                  <a:lnTo>
                    <a:pt x="201" y="63"/>
                  </a:lnTo>
                  <a:lnTo>
                    <a:pt x="205" y="59"/>
                  </a:lnTo>
                  <a:lnTo>
                    <a:pt x="211" y="54"/>
                  </a:lnTo>
                  <a:lnTo>
                    <a:pt x="226" y="39"/>
                  </a:lnTo>
                  <a:lnTo>
                    <a:pt x="229" y="32"/>
                  </a:lnTo>
                  <a:lnTo>
                    <a:pt x="230" y="25"/>
                  </a:lnTo>
                  <a:lnTo>
                    <a:pt x="225" y="17"/>
                  </a:lnTo>
                  <a:lnTo>
                    <a:pt x="217" y="0"/>
                  </a:lnTo>
                  <a:lnTo>
                    <a:pt x="240" y="1"/>
                  </a:lnTo>
                  <a:lnTo>
                    <a:pt x="250" y="7"/>
                  </a:lnTo>
                  <a:lnTo>
                    <a:pt x="257" y="16"/>
                  </a:lnTo>
                  <a:lnTo>
                    <a:pt x="269" y="42"/>
                  </a:lnTo>
                  <a:lnTo>
                    <a:pt x="276" y="49"/>
                  </a:lnTo>
                  <a:lnTo>
                    <a:pt x="284" y="52"/>
                  </a:lnTo>
                  <a:lnTo>
                    <a:pt x="302" y="54"/>
                  </a:lnTo>
                  <a:lnTo>
                    <a:pt x="312" y="61"/>
                  </a:lnTo>
                  <a:lnTo>
                    <a:pt x="319" y="68"/>
                  </a:lnTo>
                  <a:lnTo>
                    <a:pt x="321" y="75"/>
                  </a:lnTo>
                  <a:lnTo>
                    <a:pt x="325" y="81"/>
                  </a:lnTo>
                  <a:lnTo>
                    <a:pt x="331" y="90"/>
                  </a:lnTo>
                  <a:lnTo>
                    <a:pt x="390" y="152"/>
                  </a:lnTo>
                  <a:lnTo>
                    <a:pt x="400" y="157"/>
                  </a:lnTo>
                  <a:lnTo>
                    <a:pt x="408" y="15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55" name="CuadroTexto 54">
            <a:extLst>
              <a:ext uri="{FF2B5EF4-FFF2-40B4-BE49-F238E27FC236}">
                <a16:creationId xmlns:a16="http://schemas.microsoft.com/office/drawing/2014/main" id="{D21C51B2-F604-652E-BABC-2C93FA516342}"/>
              </a:ext>
            </a:extLst>
          </p:cNvPr>
          <p:cNvSpPr txBox="1"/>
          <p:nvPr/>
        </p:nvSpPr>
        <p:spPr>
          <a:xfrm>
            <a:off x="362186" y="2454289"/>
            <a:ext cx="3816000" cy="2308324"/>
          </a:xfrm>
          <a:prstGeom prst="rect">
            <a:avLst/>
          </a:prstGeom>
          <a:solidFill>
            <a:srgbClr val="004B8E">
              <a:alpha val="12000"/>
            </a:srgbClr>
          </a:solidFill>
        </p:spPr>
        <p:txBody>
          <a:bodyPr wrap="square">
            <a:spAutoFit/>
          </a:bodyPr>
          <a:lstStyle>
            <a:defPPr>
              <a:defRPr lang="es-EC"/>
            </a:defPPr>
            <a:lvl1pPr>
              <a:defRPr sz="1600">
                <a:solidFill>
                  <a:srgbClr val="004B8E"/>
                </a:solidFill>
                <a:latin typeface="Montserrat" pitchFamily="2" charset="0"/>
              </a:defRPr>
            </a:lvl1pPr>
          </a:lstStyle>
          <a:p>
            <a:r>
              <a:rPr lang="es-EC" dirty="0"/>
              <a:t>Mediación entre el Municipio Loja y el Sindicato de Obreros Municipales se logró </a:t>
            </a:r>
            <a:r>
              <a:rPr lang="es-EC" b="1" dirty="0"/>
              <a:t>evitar paralización de servicios municipales.</a:t>
            </a:r>
          </a:p>
          <a:p>
            <a:endParaRPr lang="es-EC" dirty="0"/>
          </a:p>
          <a:p>
            <a:r>
              <a:rPr lang="es-MX" b="1" dirty="0"/>
              <a:t>Depuración de carga procesal </a:t>
            </a:r>
            <a:r>
              <a:rPr lang="es-MX" dirty="0"/>
              <a:t>e implementación de manejo digital de expedientes.</a:t>
            </a:r>
          </a:p>
        </p:txBody>
      </p:sp>
    </p:spTree>
    <p:extLst>
      <p:ext uri="{BB962C8B-B14F-4D97-AF65-F5344CB8AC3E}">
        <p14:creationId xmlns:p14="http://schemas.microsoft.com/office/powerpoint/2010/main" val="23407281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FF653D-1814-DB6E-00F3-B1CCA82E9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uadroTexto 27">
            <a:extLst>
              <a:ext uri="{FF2B5EF4-FFF2-40B4-BE49-F238E27FC236}">
                <a16:creationId xmlns:a16="http://schemas.microsoft.com/office/drawing/2014/main" id="{43F7D5A7-B1ED-C0EA-9E89-A73231CC5E3F}"/>
              </a:ext>
            </a:extLst>
          </p:cNvPr>
          <p:cNvSpPr txBox="1"/>
          <p:nvPr/>
        </p:nvSpPr>
        <p:spPr>
          <a:xfrm>
            <a:off x="362186" y="432604"/>
            <a:ext cx="49182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100" dirty="0">
                <a:solidFill>
                  <a:srgbClr val="004B8E"/>
                </a:solidFill>
                <a:latin typeface="Montserrat" pitchFamily="2" charset="0"/>
              </a:rPr>
              <a:t>Dirección Regional</a:t>
            </a:r>
          </a:p>
          <a:p>
            <a:r>
              <a:rPr lang="es-MX" sz="3400" b="1" dirty="0">
                <a:solidFill>
                  <a:srgbClr val="004B8E"/>
                </a:solidFill>
                <a:latin typeface="Montserrat" pitchFamily="2" charset="0"/>
              </a:rPr>
              <a:t>Manabí</a:t>
            </a:r>
            <a:endParaRPr lang="es-EC" sz="3400" b="1" dirty="0">
              <a:solidFill>
                <a:srgbClr val="004B8E"/>
              </a:solidFill>
              <a:latin typeface="Montserrat" pitchFamily="2" charset="0"/>
            </a:endParaRP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D1BF045C-8D3C-0994-9158-56C2B8A09A19}"/>
              </a:ext>
            </a:extLst>
          </p:cNvPr>
          <p:cNvGrpSpPr/>
          <p:nvPr/>
        </p:nvGrpSpPr>
        <p:grpSpPr>
          <a:xfrm>
            <a:off x="1803229" y="139351"/>
            <a:ext cx="9570172" cy="6579297"/>
            <a:chOff x="1284243" y="250388"/>
            <a:chExt cx="9231357" cy="6354281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C098E0ED-1F84-B57B-9B64-350CB6776D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84243" y="250388"/>
              <a:ext cx="9231357" cy="6354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9E8C58A3-02D4-B236-98D3-BA24478CE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075" y="4936670"/>
              <a:ext cx="1069343" cy="1666528"/>
            </a:xfrm>
            <a:custGeom>
              <a:avLst/>
              <a:gdLst>
                <a:gd name="T0" fmla="*/ 534 w 727"/>
                <a:gd name="T1" fmla="*/ 152 h 1133"/>
                <a:gd name="T2" fmla="*/ 555 w 727"/>
                <a:gd name="T3" fmla="*/ 144 h 1133"/>
                <a:gd name="T4" fmla="*/ 726 w 727"/>
                <a:gd name="T5" fmla="*/ 138 h 1133"/>
                <a:gd name="T6" fmla="*/ 708 w 727"/>
                <a:gd name="T7" fmla="*/ 182 h 1133"/>
                <a:gd name="T8" fmla="*/ 709 w 727"/>
                <a:gd name="T9" fmla="*/ 239 h 1133"/>
                <a:gd name="T10" fmla="*/ 693 w 727"/>
                <a:gd name="T11" fmla="*/ 249 h 1133"/>
                <a:gd name="T12" fmla="*/ 681 w 727"/>
                <a:gd name="T13" fmla="*/ 330 h 1133"/>
                <a:gd name="T14" fmla="*/ 656 w 727"/>
                <a:gd name="T15" fmla="*/ 353 h 1133"/>
                <a:gd name="T16" fmla="*/ 642 w 727"/>
                <a:gd name="T17" fmla="*/ 423 h 1133"/>
                <a:gd name="T18" fmla="*/ 609 w 727"/>
                <a:gd name="T19" fmla="*/ 433 h 1133"/>
                <a:gd name="T20" fmla="*/ 592 w 727"/>
                <a:gd name="T21" fmla="*/ 521 h 1133"/>
                <a:gd name="T22" fmla="*/ 526 w 727"/>
                <a:gd name="T23" fmla="*/ 659 h 1133"/>
                <a:gd name="T24" fmla="*/ 536 w 727"/>
                <a:gd name="T25" fmla="*/ 736 h 1133"/>
                <a:gd name="T26" fmla="*/ 530 w 727"/>
                <a:gd name="T27" fmla="*/ 785 h 1133"/>
                <a:gd name="T28" fmla="*/ 522 w 727"/>
                <a:gd name="T29" fmla="*/ 835 h 1133"/>
                <a:gd name="T30" fmla="*/ 407 w 727"/>
                <a:gd name="T31" fmla="*/ 891 h 1133"/>
                <a:gd name="T32" fmla="*/ 357 w 727"/>
                <a:gd name="T33" fmla="*/ 974 h 1133"/>
                <a:gd name="T34" fmla="*/ 353 w 727"/>
                <a:gd name="T35" fmla="*/ 1038 h 1133"/>
                <a:gd name="T36" fmla="*/ 308 w 727"/>
                <a:gd name="T37" fmla="*/ 1084 h 1133"/>
                <a:gd name="T38" fmla="*/ 253 w 727"/>
                <a:gd name="T39" fmla="*/ 1121 h 1133"/>
                <a:gd name="T40" fmla="*/ 221 w 727"/>
                <a:gd name="T41" fmla="*/ 1113 h 1133"/>
                <a:gd name="T42" fmla="*/ 169 w 727"/>
                <a:gd name="T43" fmla="*/ 1101 h 1133"/>
                <a:gd name="T44" fmla="*/ 96 w 727"/>
                <a:gd name="T45" fmla="*/ 1088 h 1133"/>
                <a:gd name="T46" fmla="*/ 62 w 727"/>
                <a:gd name="T47" fmla="*/ 1053 h 1133"/>
                <a:gd name="T48" fmla="*/ 44 w 727"/>
                <a:gd name="T49" fmla="*/ 1023 h 1133"/>
                <a:gd name="T50" fmla="*/ 2 w 727"/>
                <a:gd name="T51" fmla="*/ 983 h 1133"/>
                <a:gd name="T52" fmla="*/ 57 w 727"/>
                <a:gd name="T53" fmla="*/ 901 h 1133"/>
                <a:gd name="T54" fmla="*/ 94 w 727"/>
                <a:gd name="T55" fmla="*/ 845 h 1133"/>
                <a:gd name="T56" fmla="*/ 95 w 727"/>
                <a:gd name="T57" fmla="*/ 798 h 1133"/>
                <a:gd name="T58" fmla="*/ 118 w 727"/>
                <a:gd name="T59" fmla="*/ 773 h 1133"/>
                <a:gd name="T60" fmla="*/ 147 w 727"/>
                <a:gd name="T61" fmla="*/ 779 h 1133"/>
                <a:gd name="T62" fmla="*/ 171 w 727"/>
                <a:gd name="T63" fmla="*/ 792 h 1133"/>
                <a:gd name="T64" fmla="*/ 188 w 727"/>
                <a:gd name="T65" fmla="*/ 776 h 1133"/>
                <a:gd name="T66" fmla="*/ 210 w 727"/>
                <a:gd name="T67" fmla="*/ 759 h 1133"/>
                <a:gd name="T68" fmla="*/ 233 w 727"/>
                <a:gd name="T69" fmla="*/ 728 h 1133"/>
                <a:gd name="T70" fmla="*/ 236 w 727"/>
                <a:gd name="T71" fmla="*/ 668 h 1133"/>
                <a:gd name="T72" fmla="*/ 240 w 727"/>
                <a:gd name="T73" fmla="*/ 592 h 1133"/>
                <a:gd name="T74" fmla="*/ 228 w 727"/>
                <a:gd name="T75" fmla="*/ 569 h 1133"/>
                <a:gd name="T76" fmla="*/ 212 w 727"/>
                <a:gd name="T77" fmla="*/ 560 h 1133"/>
                <a:gd name="T78" fmla="*/ 205 w 727"/>
                <a:gd name="T79" fmla="*/ 547 h 1133"/>
                <a:gd name="T80" fmla="*/ 218 w 727"/>
                <a:gd name="T81" fmla="*/ 475 h 1133"/>
                <a:gd name="T82" fmla="*/ 220 w 727"/>
                <a:gd name="T83" fmla="*/ 404 h 1133"/>
                <a:gd name="T84" fmla="*/ 227 w 727"/>
                <a:gd name="T85" fmla="*/ 365 h 1133"/>
                <a:gd name="T86" fmla="*/ 198 w 727"/>
                <a:gd name="T87" fmla="*/ 319 h 1133"/>
                <a:gd name="T88" fmla="*/ 179 w 727"/>
                <a:gd name="T89" fmla="*/ 274 h 1133"/>
                <a:gd name="T90" fmla="*/ 189 w 727"/>
                <a:gd name="T91" fmla="*/ 263 h 1133"/>
                <a:gd name="T92" fmla="*/ 207 w 727"/>
                <a:gd name="T93" fmla="*/ 260 h 1133"/>
                <a:gd name="T94" fmla="*/ 212 w 727"/>
                <a:gd name="T95" fmla="*/ 237 h 1133"/>
                <a:gd name="T96" fmla="*/ 252 w 727"/>
                <a:gd name="T97" fmla="*/ 208 h 1133"/>
                <a:gd name="T98" fmla="*/ 267 w 727"/>
                <a:gd name="T99" fmla="*/ 192 h 1133"/>
                <a:gd name="T100" fmla="*/ 273 w 727"/>
                <a:gd name="T101" fmla="*/ 114 h 1133"/>
                <a:gd name="T102" fmla="*/ 272 w 727"/>
                <a:gd name="T103" fmla="*/ 87 h 1133"/>
                <a:gd name="T104" fmla="*/ 272 w 727"/>
                <a:gd name="T105" fmla="*/ 59 h 1133"/>
                <a:gd name="T106" fmla="*/ 336 w 727"/>
                <a:gd name="T107" fmla="*/ 13 h 1133"/>
                <a:gd name="T108" fmla="*/ 412 w 727"/>
                <a:gd name="T109" fmla="*/ 49 h 1133"/>
                <a:gd name="T110" fmla="*/ 400 w 727"/>
                <a:gd name="T111" fmla="*/ 68 h 1133"/>
                <a:gd name="T112" fmla="*/ 393 w 727"/>
                <a:gd name="T113" fmla="*/ 84 h 1133"/>
                <a:gd name="T114" fmla="*/ 400 w 727"/>
                <a:gd name="T115" fmla="*/ 117 h 1133"/>
                <a:gd name="T116" fmla="*/ 414 w 727"/>
                <a:gd name="T117" fmla="*/ 134 h 1133"/>
                <a:gd name="T118" fmla="*/ 428 w 727"/>
                <a:gd name="T119" fmla="*/ 150 h 1133"/>
                <a:gd name="T120" fmla="*/ 504 w 727"/>
                <a:gd name="T121" fmla="*/ 165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7" h="1133">
                  <a:moveTo>
                    <a:pt x="520" y="172"/>
                  </a:moveTo>
                  <a:lnTo>
                    <a:pt x="524" y="169"/>
                  </a:lnTo>
                  <a:lnTo>
                    <a:pt x="527" y="164"/>
                  </a:lnTo>
                  <a:lnTo>
                    <a:pt x="534" y="152"/>
                  </a:lnTo>
                  <a:lnTo>
                    <a:pt x="536" y="149"/>
                  </a:lnTo>
                  <a:lnTo>
                    <a:pt x="540" y="147"/>
                  </a:lnTo>
                  <a:lnTo>
                    <a:pt x="546" y="145"/>
                  </a:lnTo>
                  <a:lnTo>
                    <a:pt x="555" y="144"/>
                  </a:lnTo>
                  <a:lnTo>
                    <a:pt x="581" y="147"/>
                  </a:lnTo>
                  <a:lnTo>
                    <a:pt x="594" y="147"/>
                  </a:lnTo>
                  <a:lnTo>
                    <a:pt x="642" y="137"/>
                  </a:lnTo>
                  <a:lnTo>
                    <a:pt x="726" y="138"/>
                  </a:lnTo>
                  <a:lnTo>
                    <a:pt x="727" y="138"/>
                  </a:lnTo>
                  <a:lnTo>
                    <a:pt x="726" y="140"/>
                  </a:lnTo>
                  <a:lnTo>
                    <a:pt x="713" y="167"/>
                  </a:lnTo>
                  <a:lnTo>
                    <a:pt x="708" y="182"/>
                  </a:lnTo>
                  <a:lnTo>
                    <a:pt x="707" y="195"/>
                  </a:lnTo>
                  <a:lnTo>
                    <a:pt x="707" y="218"/>
                  </a:lnTo>
                  <a:lnTo>
                    <a:pt x="711" y="233"/>
                  </a:lnTo>
                  <a:lnTo>
                    <a:pt x="709" y="239"/>
                  </a:lnTo>
                  <a:lnTo>
                    <a:pt x="705" y="243"/>
                  </a:lnTo>
                  <a:lnTo>
                    <a:pt x="696" y="244"/>
                  </a:lnTo>
                  <a:lnTo>
                    <a:pt x="693" y="246"/>
                  </a:lnTo>
                  <a:lnTo>
                    <a:pt x="693" y="249"/>
                  </a:lnTo>
                  <a:lnTo>
                    <a:pt x="693" y="257"/>
                  </a:lnTo>
                  <a:lnTo>
                    <a:pt x="701" y="301"/>
                  </a:lnTo>
                  <a:lnTo>
                    <a:pt x="698" y="314"/>
                  </a:lnTo>
                  <a:lnTo>
                    <a:pt x="681" y="330"/>
                  </a:lnTo>
                  <a:lnTo>
                    <a:pt x="676" y="333"/>
                  </a:lnTo>
                  <a:lnTo>
                    <a:pt x="667" y="337"/>
                  </a:lnTo>
                  <a:lnTo>
                    <a:pt x="663" y="340"/>
                  </a:lnTo>
                  <a:lnTo>
                    <a:pt x="656" y="353"/>
                  </a:lnTo>
                  <a:lnTo>
                    <a:pt x="652" y="366"/>
                  </a:lnTo>
                  <a:lnTo>
                    <a:pt x="644" y="416"/>
                  </a:lnTo>
                  <a:lnTo>
                    <a:pt x="646" y="420"/>
                  </a:lnTo>
                  <a:lnTo>
                    <a:pt x="642" y="423"/>
                  </a:lnTo>
                  <a:lnTo>
                    <a:pt x="633" y="428"/>
                  </a:lnTo>
                  <a:lnTo>
                    <a:pt x="624" y="431"/>
                  </a:lnTo>
                  <a:lnTo>
                    <a:pt x="616" y="431"/>
                  </a:lnTo>
                  <a:lnTo>
                    <a:pt x="609" y="433"/>
                  </a:lnTo>
                  <a:lnTo>
                    <a:pt x="602" y="441"/>
                  </a:lnTo>
                  <a:lnTo>
                    <a:pt x="599" y="451"/>
                  </a:lnTo>
                  <a:lnTo>
                    <a:pt x="599" y="491"/>
                  </a:lnTo>
                  <a:lnTo>
                    <a:pt x="592" y="521"/>
                  </a:lnTo>
                  <a:lnTo>
                    <a:pt x="551" y="606"/>
                  </a:lnTo>
                  <a:lnTo>
                    <a:pt x="545" y="636"/>
                  </a:lnTo>
                  <a:lnTo>
                    <a:pt x="539" y="649"/>
                  </a:lnTo>
                  <a:lnTo>
                    <a:pt x="526" y="659"/>
                  </a:lnTo>
                  <a:lnTo>
                    <a:pt x="521" y="673"/>
                  </a:lnTo>
                  <a:lnTo>
                    <a:pt x="522" y="698"/>
                  </a:lnTo>
                  <a:lnTo>
                    <a:pt x="527" y="723"/>
                  </a:lnTo>
                  <a:lnTo>
                    <a:pt x="536" y="736"/>
                  </a:lnTo>
                  <a:lnTo>
                    <a:pt x="551" y="746"/>
                  </a:lnTo>
                  <a:lnTo>
                    <a:pt x="550" y="757"/>
                  </a:lnTo>
                  <a:lnTo>
                    <a:pt x="539" y="770"/>
                  </a:lnTo>
                  <a:lnTo>
                    <a:pt x="530" y="785"/>
                  </a:lnTo>
                  <a:lnTo>
                    <a:pt x="529" y="797"/>
                  </a:lnTo>
                  <a:lnTo>
                    <a:pt x="529" y="811"/>
                  </a:lnTo>
                  <a:lnTo>
                    <a:pt x="527" y="824"/>
                  </a:lnTo>
                  <a:lnTo>
                    <a:pt x="522" y="835"/>
                  </a:lnTo>
                  <a:lnTo>
                    <a:pt x="504" y="847"/>
                  </a:lnTo>
                  <a:lnTo>
                    <a:pt x="496" y="851"/>
                  </a:lnTo>
                  <a:lnTo>
                    <a:pt x="435" y="876"/>
                  </a:lnTo>
                  <a:lnTo>
                    <a:pt x="407" y="891"/>
                  </a:lnTo>
                  <a:lnTo>
                    <a:pt x="377" y="921"/>
                  </a:lnTo>
                  <a:lnTo>
                    <a:pt x="364" y="937"/>
                  </a:lnTo>
                  <a:lnTo>
                    <a:pt x="356" y="956"/>
                  </a:lnTo>
                  <a:lnTo>
                    <a:pt x="357" y="974"/>
                  </a:lnTo>
                  <a:lnTo>
                    <a:pt x="373" y="1004"/>
                  </a:lnTo>
                  <a:lnTo>
                    <a:pt x="376" y="1020"/>
                  </a:lnTo>
                  <a:lnTo>
                    <a:pt x="368" y="1033"/>
                  </a:lnTo>
                  <a:lnTo>
                    <a:pt x="353" y="1038"/>
                  </a:lnTo>
                  <a:lnTo>
                    <a:pt x="336" y="1038"/>
                  </a:lnTo>
                  <a:lnTo>
                    <a:pt x="322" y="1041"/>
                  </a:lnTo>
                  <a:lnTo>
                    <a:pt x="315" y="1052"/>
                  </a:lnTo>
                  <a:lnTo>
                    <a:pt x="308" y="1084"/>
                  </a:lnTo>
                  <a:lnTo>
                    <a:pt x="302" y="1098"/>
                  </a:lnTo>
                  <a:lnTo>
                    <a:pt x="285" y="1117"/>
                  </a:lnTo>
                  <a:lnTo>
                    <a:pt x="266" y="1133"/>
                  </a:lnTo>
                  <a:lnTo>
                    <a:pt x="253" y="1121"/>
                  </a:lnTo>
                  <a:lnTo>
                    <a:pt x="246" y="1116"/>
                  </a:lnTo>
                  <a:lnTo>
                    <a:pt x="239" y="1112"/>
                  </a:lnTo>
                  <a:lnTo>
                    <a:pt x="232" y="1111"/>
                  </a:lnTo>
                  <a:lnTo>
                    <a:pt x="221" y="1113"/>
                  </a:lnTo>
                  <a:lnTo>
                    <a:pt x="214" y="1114"/>
                  </a:lnTo>
                  <a:lnTo>
                    <a:pt x="202" y="1111"/>
                  </a:lnTo>
                  <a:lnTo>
                    <a:pt x="181" y="1104"/>
                  </a:lnTo>
                  <a:lnTo>
                    <a:pt x="169" y="1101"/>
                  </a:lnTo>
                  <a:lnTo>
                    <a:pt x="153" y="1103"/>
                  </a:lnTo>
                  <a:lnTo>
                    <a:pt x="121" y="1104"/>
                  </a:lnTo>
                  <a:lnTo>
                    <a:pt x="106" y="1099"/>
                  </a:lnTo>
                  <a:lnTo>
                    <a:pt x="96" y="1088"/>
                  </a:lnTo>
                  <a:lnTo>
                    <a:pt x="89" y="1074"/>
                  </a:lnTo>
                  <a:lnTo>
                    <a:pt x="80" y="1061"/>
                  </a:lnTo>
                  <a:lnTo>
                    <a:pt x="75" y="1057"/>
                  </a:lnTo>
                  <a:lnTo>
                    <a:pt x="62" y="1053"/>
                  </a:lnTo>
                  <a:lnTo>
                    <a:pt x="55" y="1048"/>
                  </a:lnTo>
                  <a:lnTo>
                    <a:pt x="52" y="1042"/>
                  </a:lnTo>
                  <a:lnTo>
                    <a:pt x="48" y="1029"/>
                  </a:lnTo>
                  <a:lnTo>
                    <a:pt x="44" y="1023"/>
                  </a:lnTo>
                  <a:lnTo>
                    <a:pt x="32" y="1015"/>
                  </a:lnTo>
                  <a:lnTo>
                    <a:pt x="18" y="1007"/>
                  </a:lnTo>
                  <a:lnTo>
                    <a:pt x="7" y="997"/>
                  </a:lnTo>
                  <a:lnTo>
                    <a:pt x="2" y="983"/>
                  </a:lnTo>
                  <a:lnTo>
                    <a:pt x="0" y="971"/>
                  </a:lnTo>
                  <a:lnTo>
                    <a:pt x="6" y="968"/>
                  </a:lnTo>
                  <a:lnTo>
                    <a:pt x="35" y="937"/>
                  </a:lnTo>
                  <a:lnTo>
                    <a:pt x="57" y="901"/>
                  </a:lnTo>
                  <a:lnTo>
                    <a:pt x="66" y="892"/>
                  </a:lnTo>
                  <a:lnTo>
                    <a:pt x="87" y="862"/>
                  </a:lnTo>
                  <a:lnTo>
                    <a:pt x="91" y="854"/>
                  </a:lnTo>
                  <a:lnTo>
                    <a:pt x="94" y="845"/>
                  </a:lnTo>
                  <a:lnTo>
                    <a:pt x="95" y="838"/>
                  </a:lnTo>
                  <a:lnTo>
                    <a:pt x="92" y="825"/>
                  </a:lnTo>
                  <a:lnTo>
                    <a:pt x="92" y="819"/>
                  </a:lnTo>
                  <a:lnTo>
                    <a:pt x="95" y="798"/>
                  </a:lnTo>
                  <a:lnTo>
                    <a:pt x="106" y="791"/>
                  </a:lnTo>
                  <a:lnTo>
                    <a:pt x="109" y="785"/>
                  </a:lnTo>
                  <a:lnTo>
                    <a:pt x="114" y="778"/>
                  </a:lnTo>
                  <a:lnTo>
                    <a:pt x="118" y="773"/>
                  </a:lnTo>
                  <a:lnTo>
                    <a:pt x="123" y="773"/>
                  </a:lnTo>
                  <a:lnTo>
                    <a:pt x="130" y="774"/>
                  </a:lnTo>
                  <a:lnTo>
                    <a:pt x="139" y="778"/>
                  </a:lnTo>
                  <a:lnTo>
                    <a:pt x="147" y="779"/>
                  </a:lnTo>
                  <a:lnTo>
                    <a:pt x="153" y="782"/>
                  </a:lnTo>
                  <a:lnTo>
                    <a:pt x="159" y="786"/>
                  </a:lnTo>
                  <a:lnTo>
                    <a:pt x="166" y="792"/>
                  </a:lnTo>
                  <a:lnTo>
                    <a:pt x="171" y="792"/>
                  </a:lnTo>
                  <a:lnTo>
                    <a:pt x="175" y="787"/>
                  </a:lnTo>
                  <a:lnTo>
                    <a:pt x="179" y="782"/>
                  </a:lnTo>
                  <a:lnTo>
                    <a:pt x="183" y="779"/>
                  </a:lnTo>
                  <a:lnTo>
                    <a:pt x="188" y="776"/>
                  </a:lnTo>
                  <a:lnTo>
                    <a:pt x="194" y="775"/>
                  </a:lnTo>
                  <a:lnTo>
                    <a:pt x="200" y="773"/>
                  </a:lnTo>
                  <a:lnTo>
                    <a:pt x="205" y="769"/>
                  </a:lnTo>
                  <a:lnTo>
                    <a:pt x="210" y="759"/>
                  </a:lnTo>
                  <a:lnTo>
                    <a:pt x="220" y="745"/>
                  </a:lnTo>
                  <a:lnTo>
                    <a:pt x="227" y="737"/>
                  </a:lnTo>
                  <a:lnTo>
                    <a:pt x="231" y="733"/>
                  </a:lnTo>
                  <a:lnTo>
                    <a:pt x="233" y="728"/>
                  </a:lnTo>
                  <a:lnTo>
                    <a:pt x="237" y="706"/>
                  </a:lnTo>
                  <a:lnTo>
                    <a:pt x="238" y="692"/>
                  </a:lnTo>
                  <a:lnTo>
                    <a:pt x="237" y="676"/>
                  </a:lnTo>
                  <a:lnTo>
                    <a:pt x="236" y="668"/>
                  </a:lnTo>
                  <a:lnTo>
                    <a:pt x="241" y="630"/>
                  </a:lnTo>
                  <a:lnTo>
                    <a:pt x="239" y="613"/>
                  </a:lnTo>
                  <a:lnTo>
                    <a:pt x="240" y="604"/>
                  </a:lnTo>
                  <a:lnTo>
                    <a:pt x="240" y="592"/>
                  </a:lnTo>
                  <a:lnTo>
                    <a:pt x="239" y="587"/>
                  </a:lnTo>
                  <a:lnTo>
                    <a:pt x="237" y="581"/>
                  </a:lnTo>
                  <a:lnTo>
                    <a:pt x="231" y="573"/>
                  </a:lnTo>
                  <a:lnTo>
                    <a:pt x="228" y="569"/>
                  </a:lnTo>
                  <a:lnTo>
                    <a:pt x="225" y="566"/>
                  </a:lnTo>
                  <a:lnTo>
                    <a:pt x="222" y="564"/>
                  </a:lnTo>
                  <a:lnTo>
                    <a:pt x="215" y="561"/>
                  </a:lnTo>
                  <a:lnTo>
                    <a:pt x="212" y="560"/>
                  </a:lnTo>
                  <a:lnTo>
                    <a:pt x="210" y="558"/>
                  </a:lnTo>
                  <a:lnTo>
                    <a:pt x="209" y="555"/>
                  </a:lnTo>
                  <a:lnTo>
                    <a:pt x="207" y="552"/>
                  </a:lnTo>
                  <a:lnTo>
                    <a:pt x="205" y="547"/>
                  </a:lnTo>
                  <a:lnTo>
                    <a:pt x="206" y="537"/>
                  </a:lnTo>
                  <a:lnTo>
                    <a:pt x="207" y="523"/>
                  </a:lnTo>
                  <a:lnTo>
                    <a:pt x="217" y="485"/>
                  </a:lnTo>
                  <a:lnTo>
                    <a:pt x="218" y="475"/>
                  </a:lnTo>
                  <a:lnTo>
                    <a:pt x="214" y="455"/>
                  </a:lnTo>
                  <a:lnTo>
                    <a:pt x="213" y="439"/>
                  </a:lnTo>
                  <a:lnTo>
                    <a:pt x="215" y="419"/>
                  </a:lnTo>
                  <a:lnTo>
                    <a:pt x="220" y="404"/>
                  </a:lnTo>
                  <a:lnTo>
                    <a:pt x="225" y="390"/>
                  </a:lnTo>
                  <a:lnTo>
                    <a:pt x="228" y="382"/>
                  </a:lnTo>
                  <a:lnTo>
                    <a:pt x="228" y="376"/>
                  </a:lnTo>
                  <a:lnTo>
                    <a:pt x="227" y="365"/>
                  </a:lnTo>
                  <a:lnTo>
                    <a:pt x="225" y="358"/>
                  </a:lnTo>
                  <a:lnTo>
                    <a:pt x="218" y="344"/>
                  </a:lnTo>
                  <a:lnTo>
                    <a:pt x="205" y="329"/>
                  </a:lnTo>
                  <a:lnTo>
                    <a:pt x="198" y="319"/>
                  </a:lnTo>
                  <a:lnTo>
                    <a:pt x="188" y="296"/>
                  </a:lnTo>
                  <a:lnTo>
                    <a:pt x="182" y="285"/>
                  </a:lnTo>
                  <a:lnTo>
                    <a:pt x="181" y="279"/>
                  </a:lnTo>
                  <a:lnTo>
                    <a:pt x="179" y="274"/>
                  </a:lnTo>
                  <a:lnTo>
                    <a:pt x="180" y="268"/>
                  </a:lnTo>
                  <a:lnTo>
                    <a:pt x="182" y="265"/>
                  </a:lnTo>
                  <a:lnTo>
                    <a:pt x="185" y="264"/>
                  </a:lnTo>
                  <a:lnTo>
                    <a:pt x="189" y="263"/>
                  </a:lnTo>
                  <a:lnTo>
                    <a:pt x="193" y="264"/>
                  </a:lnTo>
                  <a:lnTo>
                    <a:pt x="200" y="263"/>
                  </a:lnTo>
                  <a:lnTo>
                    <a:pt x="204" y="262"/>
                  </a:lnTo>
                  <a:lnTo>
                    <a:pt x="207" y="260"/>
                  </a:lnTo>
                  <a:lnTo>
                    <a:pt x="210" y="255"/>
                  </a:lnTo>
                  <a:lnTo>
                    <a:pt x="210" y="251"/>
                  </a:lnTo>
                  <a:lnTo>
                    <a:pt x="210" y="241"/>
                  </a:lnTo>
                  <a:lnTo>
                    <a:pt x="212" y="237"/>
                  </a:lnTo>
                  <a:lnTo>
                    <a:pt x="222" y="228"/>
                  </a:lnTo>
                  <a:lnTo>
                    <a:pt x="227" y="226"/>
                  </a:lnTo>
                  <a:lnTo>
                    <a:pt x="240" y="210"/>
                  </a:lnTo>
                  <a:lnTo>
                    <a:pt x="252" y="208"/>
                  </a:lnTo>
                  <a:lnTo>
                    <a:pt x="257" y="206"/>
                  </a:lnTo>
                  <a:lnTo>
                    <a:pt x="261" y="204"/>
                  </a:lnTo>
                  <a:lnTo>
                    <a:pt x="265" y="199"/>
                  </a:lnTo>
                  <a:lnTo>
                    <a:pt x="267" y="192"/>
                  </a:lnTo>
                  <a:lnTo>
                    <a:pt x="275" y="153"/>
                  </a:lnTo>
                  <a:lnTo>
                    <a:pt x="271" y="130"/>
                  </a:lnTo>
                  <a:lnTo>
                    <a:pt x="272" y="122"/>
                  </a:lnTo>
                  <a:lnTo>
                    <a:pt x="273" y="114"/>
                  </a:lnTo>
                  <a:lnTo>
                    <a:pt x="277" y="101"/>
                  </a:lnTo>
                  <a:lnTo>
                    <a:pt x="277" y="96"/>
                  </a:lnTo>
                  <a:lnTo>
                    <a:pt x="275" y="92"/>
                  </a:lnTo>
                  <a:lnTo>
                    <a:pt x="272" y="87"/>
                  </a:lnTo>
                  <a:lnTo>
                    <a:pt x="269" y="78"/>
                  </a:lnTo>
                  <a:lnTo>
                    <a:pt x="267" y="72"/>
                  </a:lnTo>
                  <a:lnTo>
                    <a:pt x="269" y="67"/>
                  </a:lnTo>
                  <a:lnTo>
                    <a:pt x="272" y="59"/>
                  </a:lnTo>
                  <a:lnTo>
                    <a:pt x="278" y="50"/>
                  </a:lnTo>
                  <a:lnTo>
                    <a:pt x="287" y="42"/>
                  </a:lnTo>
                  <a:lnTo>
                    <a:pt x="299" y="33"/>
                  </a:lnTo>
                  <a:lnTo>
                    <a:pt x="336" y="13"/>
                  </a:lnTo>
                  <a:lnTo>
                    <a:pt x="350" y="0"/>
                  </a:lnTo>
                  <a:lnTo>
                    <a:pt x="405" y="39"/>
                  </a:lnTo>
                  <a:lnTo>
                    <a:pt x="409" y="44"/>
                  </a:lnTo>
                  <a:lnTo>
                    <a:pt x="412" y="49"/>
                  </a:lnTo>
                  <a:lnTo>
                    <a:pt x="412" y="53"/>
                  </a:lnTo>
                  <a:lnTo>
                    <a:pt x="410" y="57"/>
                  </a:lnTo>
                  <a:lnTo>
                    <a:pt x="407" y="60"/>
                  </a:lnTo>
                  <a:lnTo>
                    <a:pt x="400" y="68"/>
                  </a:lnTo>
                  <a:lnTo>
                    <a:pt x="396" y="71"/>
                  </a:lnTo>
                  <a:lnTo>
                    <a:pt x="393" y="75"/>
                  </a:lnTo>
                  <a:lnTo>
                    <a:pt x="393" y="80"/>
                  </a:lnTo>
                  <a:lnTo>
                    <a:pt x="393" y="84"/>
                  </a:lnTo>
                  <a:lnTo>
                    <a:pt x="396" y="94"/>
                  </a:lnTo>
                  <a:lnTo>
                    <a:pt x="397" y="106"/>
                  </a:lnTo>
                  <a:lnTo>
                    <a:pt x="399" y="112"/>
                  </a:lnTo>
                  <a:lnTo>
                    <a:pt x="400" y="117"/>
                  </a:lnTo>
                  <a:lnTo>
                    <a:pt x="403" y="121"/>
                  </a:lnTo>
                  <a:lnTo>
                    <a:pt x="406" y="125"/>
                  </a:lnTo>
                  <a:lnTo>
                    <a:pt x="412" y="130"/>
                  </a:lnTo>
                  <a:lnTo>
                    <a:pt x="414" y="134"/>
                  </a:lnTo>
                  <a:lnTo>
                    <a:pt x="416" y="137"/>
                  </a:lnTo>
                  <a:lnTo>
                    <a:pt x="417" y="143"/>
                  </a:lnTo>
                  <a:lnTo>
                    <a:pt x="420" y="146"/>
                  </a:lnTo>
                  <a:lnTo>
                    <a:pt x="428" y="150"/>
                  </a:lnTo>
                  <a:lnTo>
                    <a:pt x="446" y="152"/>
                  </a:lnTo>
                  <a:lnTo>
                    <a:pt x="474" y="160"/>
                  </a:lnTo>
                  <a:lnTo>
                    <a:pt x="497" y="163"/>
                  </a:lnTo>
                  <a:lnTo>
                    <a:pt x="504" y="165"/>
                  </a:lnTo>
                  <a:lnTo>
                    <a:pt x="516" y="171"/>
                  </a:lnTo>
                  <a:lnTo>
                    <a:pt x="520" y="17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C7C49929-3C81-0C46-0A55-7303C4073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185" y="2611180"/>
              <a:ext cx="800169" cy="554529"/>
            </a:xfrm>
            <a:custGeom>
              <a:avLst/>
              <a:gdLst>
                <a:gd name="T0" fmla="*/ 417 w 544"/>
                <a:gd name="T1" fmla="*/ 120 h 377"/>
                <a:gd name="T2" fmla="*/ 435 w 544"/>
                <a:gd name="T3" fmla="*/ 118 h 377"/>
                <a:gd name="T4" fmla="*/ 454 w 544"/>
                <a:gd name="T5" fmla="*/ 122 h 377"/>
                <a:gd name="T6" fmla="*/ 473 w 544"/>
                <a:gd name="T7" fmla="*/ 118 h 377"/>
                <a:gd name="T8" fmla="*/ 478 w 544"/>
                <a:gd name="T9" fmla="*/ 124 h 377"/>
                <a:gd name="T10" fmla="*/ 482 w 544"/>
                <a:gd name="T11" fmla="*/ 132 h 377"/>
                <a:gd name="T12" fmla="*/ 494 w 544"/>
                <a:gd name="T13" fmla="*/ 131 h 377"/>
                <a:gd name="T14" fmla="*/ 503 w 544"/>
                <a:gd name="T15" fmla="*/ 147 h 377"/>
                <a:gd name="T16" fmla="*/ 537 w 544"/>
                <a:gd name="T17" fmla="*/ 154 h 377"/>
                <a:gd name="T18" fmla="*/ 543 w 544"/>
                <a:gd name="T19" fmla="*/ 164 h 377"/>
                <a:gd name="T20" fmla="*/ 544 w 544"/>
                <a:gd name="T21" fmla="*/ 253 h 377"/>
                <a:gd name="T22" fmla="*/ 540 w 544"/>
                <a:gd name="T23" fmla="*/ 274 h 377"/>
                <a:gd name="T24" fmla="*/ 505 w 544"/>
                <a:gd name="T25" fmla="*/ 324 h 377"/>
                <a:gd name="T26" fmla="*/ 486 w 544"/>
                <a:gd name="T27" fmla="*/ 342 h 377"/>
                <a:gd name="T28" fmla="*/ 465 w 544"/>
                <a:gd name="T29" fmla="*/ 350 h 377"/>
                <a:gd name="T30" fmla="*/ 425 w 544"/>
                <a:gd name="T31" fmla="*/ 346 h 377"/>
                <a:gd name="T32" fmla="*/ 403 w 544"/>
                <a:gd name="T33" fmla="*/ 356 h 377"/>
                <a:gd name="T34" fmla="*/ 385 w 544"/>
                <a:gd name="T35" fmla="*/ 377 h 377"/>
                <a:gd name="T36" fmla="*/ 377 w 544"/>
                <a:gd name="T37" fmla="*/ 357 h 377"/>
                <a:gd name="T38" fmla="*/ 370 w 544"/>
                <a:gd name="T39" fmla="*/ 352 h 377"/>
                <a:gd name="T40" fmla="*/ 354 w 544"/>
                <a:gd name="T41" fmla="*/ 344 h 377"/>
                <a:gd name="T42" fmla="*/ 333 w 544"/>
                <a:gd name="T43" fmla="*/ 338 h 377"/>
                <a:gd name="T44" fmla="*/ 308 w 544"/>
                <a:gd name="T45" fmla="*/ 324 h 377"/>
                <a:gd name="T46" fmla="*/ 293 w 544"/>
                <a:gd name="T47" fmla="*/ 320 h 377"/>
                <a:gd name="T48" fmla="*/ 282 w 544"/>
                <a:gd name="T49" fmla="*/ 338 h 377"/>
                <a:gd name="T50" fmla="*/ 268 w 544"/>
                <a:gd name="T51" fmla="*/ 347 h 377"/>
                <a:gd name="T52" fmla="*/ 246 w 544"/>
                <a:gd name="T53" fmla="*/ 344 h 377"/>
                <a:gd name="T54" fmla="*/ 222 w 544"/>
                <a:gd name="T55" fmla="*/ 350 h 377"/>
                <a:gd name="T56" fmla="*/ 189 w 544"/>
                <a:gd name="T57" fmla="*/ 352 h 377"/>
                <a:gd name="T58" fmla="*/ 137 w 544"/>
                <a:gd name="T59" fmla="*/ 338 h 377"/>
                <a:gd name="T60" fmla="*/ 103 w 544"/>
                <a:gd name="T61" fmla="*/ 315 h 377"/>
                <a:gd name="T62" fmla="*/ 86 w 544"/>
                <a:gd name="T63" fmla="*/ 308 h 377"/>
                <a:gd name="T64" fmla="*/ 68 w 544"/>
                <a:gd name="T65" fmla="*/ 313 h 377"/>
                <a:gd name="T66" fmla="*/ 32 w 544"/>
                <a:gd name="T67" fmla="*/ 331 h 377"/>
                <a:gd name="T68" fmla="*/ 19 w 544"/>
                <a:gd name="T69" fmla="*/ 314 h 377"/>
                <a:gd name="T70" fmla="*/ 0 w 544"/>
                <a:gd name="T71" fmla="*/ 280 h 377"/>
                <a:gd name="T72" fmla="*/ 12 w 544"/>
                <a:gd name="T73" fmla="*/ 235 h 377"/>
                <a:gd name="T74" fmla="*/ 24 w 544"/>
                <a:gd name="T75" fmla="*/ 204 h 377"/>
                <a:gd name="T76" fmla="*/ 26 w 544"/>
                <a:gd name="T77" fmla="*/ 170 h 377"/>
                <a:gd name="T78" fmla="*/ 60 w 544"/>
                <a:gd name="T79" fmla="*/ 136 h 377"/>
                <a:gd name="T80" fmla="*/ 95 w 544"/>
                <a:gd name="T81" fmla="*/ 115 h 377"/>
                <a:gd name="T82" fmla="*/ 120 w 544"/>
                <a:gd name="T83" fmla="*/ 112 h 377"/>
                <a:gd name="T84" fmla="*/ 167 w 544"/>
                <a:gd name="T85" fmla="*/ 120 h 377"/>
                <a:gd name="T86" fmla="*/ 190 w 544"/>
                <a:gd name="T87" fmla="*/ 111 h 377"/>
                <a:gd name="T88" fmla="*/ 213 w 544"/>
                <a:gd name="T89" fmla="*/ 96 h 377"/>
                <a:gd name="T90" fmla="*/ 237 w 544"/>
                <a:gd name="T91" fmla="*/ 93 h 377"/>
                <a:gd name="T92" fmla="*/ 243 w 544"/>
                <a:gd name="T93" fmla="*/ 84 h 377"/>
                <a:gd name="T94" fmla="*/ 244 w 544"/>
                <a:gd name="T95" fmla="*/ 71 h 377"/>
                <a:gd name="T96" fmla="*/ 257 w 544"/>
                <a:gd name="T97" fmla="*/ 64 h 377"/>
                <a:gd name="T98" fmla="*/ 269 w 544"/>
                <a:gd name="T99" fmla="*/ 66 h 377"/>
                <a:gd name="T100" fmla="*/ 278 w 544"/>
                <a:gd name="T101" fmla="*/ 72 h 377"/>
                <a:gd name="T102" fmla="*/ 292 w 544"/>
                <a:gd name="T103" fmla="*/ 79 h 377"/>
                <a:gd name="T104" fmla="*/ 317 w 544"/>
                <a:gd name="T105" fmla="*/ 74 h 377"/>
                <a:gd name="T106" fmla="*/ 331 w 544"/>
                <a:gd name="T107" fmla="*/ 54 h 377"/>
                <a:gd name="T108" fmla="*/ 331 w 544"/>
                <a:gd name="T109" fmla="*/ 35 h 377"/>
                <a:gd name="T110" fmla="*/ 337 w 544"/>
                <a:gd name="T111" fmla="*/ 21 h 377"/>
                <a:gd name="T112" fmla="*/ 359 w 544"/>
                <a:gd name="T113" fmla="*/ 0 h 377"/>
                <a:gd name="T114" fmla="*/ 390 w 544"/>
                <a:gd name="T115" fmla="*/ 43 h 377"/>
                <a:gd name="T116" fmla="*/ 399 w 544"/>
                <a:gd name="T117" fmla="*/ 64 h 377"/>
                <a:gd name="T118" fmla="*/ 398 w 544"/>
                <a:gd name="T119" fmla="*/ 105 h 377"/>
                <a:gd name="T120" fmla="*/ 390 w 544"/>
                <a:gd name="T121" fmla="*/ 123 h 377"/>
                <a:gd name="T122" fmla="*/ 390 w 544"/>
                <a:gd name="T123" fmla="*/ 13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" h="377">
                  <a:moveTo>
                    <a:pt x="395" y="134"/>
                  </a:moveTo>
                  <a:lnTo>
                    <a:pt x="417" y="120"/>
                  </a:lnTo>
                  <a:lnTo>
                    <a:pt x="426" y="118"/>
                  </a:lnTo>
                  <a:lnTo>
                    <a:pt x="435" y="118"/>
                  </a:lnTo>
                  <a:lnTo>
                    <a:pt x="449" y="121"/>
                  </a:lnTo>
                  <a:lnTo>
                    <a:pt x="454" y="122"/>
                  </a:lnTo>
                  <a:lnTo>
                    <a:pt x="466" y="119"/>
                  </a:lnTo>
                  <a:lnTo>
                    <a:pt x="473" y="118"/>
                  </a:lnTo>
                  <a:lnTo>
                    <a:pt x="476" y="120"/>
                  </a:lnTo>
                  <a:lnTo>
                    <a:pt x="478" y="124"/>
                  </a:lnTo>
                  <a:lnTo>
                    <a:pt x="479" y="131"/>
                  </a:lnTo>
                  <a:lnTo>
                    <a:pt x="482" y="132"/>
                  </a:lnTo>
                  <a:lnTo>
                    <a:pt x="490" y="131"/>
                  </a:lnTo>
                  <a:lnTo>
                    <a:pt x="494" y="131"/>
                  </a:lnTo>
                  <a:lnTo>
                    <a:pt x="497" y="134"/>
                  </a:lnTo>
                  <a:lnTo>
                    <a:pt x="503" y="147"/>
                  </a:lnTo>
                  <a:lnTo>
                    <a:pt x="514" y="150"/>
                  </a:lnTo>
                  <a:lnTo>
                    <a:pt x="537" y="154"/>
                  </a:lnTo>
                  <a:lnTo>
                    <a:pt x="541" y="158"/>
                  </a:lnTo>
                  <a:lnTo>
                    <a:pt x="543" y="164"/>
                  </a:lnTo>
                  <a:lnTo>
                    <a:pt x="543" y="181"/>
                  </a:lnTo>
                  <a:lnTo>
                    <a:pt x="544" y="253"/>
                  </a:lnTo>
                  <a:lnTo>
                    <a:pt x="543" y="264"/>
                  </a:lnTo>
                  <a:lnTo>
                    <a:pt x="540" y="274"/>
                  </a:lnTo>
                  <a:lnTo>
                    <a:pt x="521" y="308"/>
                  </a:lnTo>
                  <a:lnTo>
                    <a:pt x="505" y="324"/>
                  </a:lnTo>
                  <a:lnTo>
                    <a:pt x="492" y="337"/>
                  </a:lnTo>
                  <a:lnTo>
                    <a:pt x="486" y="342"/>
                  </a:lnTo>
                  <a:lnTo>
                    <a:pt x="475" y="346"/>
                  </a:lnTo>
                  <a:lnTo>
                    <a:pt x="465" y="350"/>
                  </a:lnTo>
                  <a:lnTo>
                    <a:pt x="448" y="351"/>
                  </a:lnTo>
                  <a:lnTo>
                    <a:pt x="425" y="346"/>
                  </a:lnTo>
                  <a:lnTo>
                    <a:pt x="416" y="349"/>
                  </a:lnTo>
                  <a:lnTo>
                    <a:pt x="403" y="356"/>
                  </a:lnTo>
                  <a:lnTo>
                    <a:pt x="396" y="362"/>
                  </a:lnTo>
                  <a:lnTo>
                    <a:pt x="385" y="377"/>
                  </a:lnTo>
                  <a:lnTo>
                    <a:pt x="380" y="369"/>
                  </a:lnTo>
                  <a:lnTo>
                    <a:pt x="377" y="357"/>
                  </a:lnTo>
                  <a:lnTo>
                    <a:pt x="374" y="354"/>
                  </a:lnTo>
                  <a:lnTo>
                    <a:pt x="370" y="352"/>
                  </a:lnTo>
                  <a:lnTo>
                    <a:pt x="361" y="349"/>
                  </a:lnTo>
                  <a:lnTo>
                    <a:pt x="354" y="344"/>
                  </a:lnTo>
                  <a:lnTo>
                    <a:pt x="346" y="341"/>
                  </a:lnTo>
                  <a:lnTo>
                    <a:pt x="333" y="338"/>
                  </a:lnTo>
                  <a:lnTo>
                    <a:pt x="324" y="333"/>
                  </a:lnTo>
                  <a:lnTo>
                    <a:pt x="308" y="324"/>
                  </a:lnTo>
                  <a:lnTo>
                    <a:pt x="299" y="319"/>
                  </a:lnTo>
                  <a:lnTo>
                    <a:pt x="293" y="320"/>
                  </a:lnTo>
                  <a:lnTo>
                    <a:pt x="286" y="327"/>
                  </a:lnTo>
                  <a:lnTo>
                    <a:pt x="282" y="338"/>
                  </a:lnTo>
                  <a:lnTo>
                    <a:pt x="277" y="345"/>
                  </a:lnTo>
                  <a:lnTo>
                    <a:pt x="268" y="347"/>
                  </a:lnTo>
                  <a:lnTo>
                    <a:pt x="257" y="345"/>
                  </a:lnTo>
                  <a:lnTo>
                    <a:pt x="246" y="344"/>
                  </a:lnTo>
                  <a:lnTo>
                    <a:pt x="234" y="345"/>
                  </a:lnTo>
                  <a:lnTo>
                    <a:pt x="222" y="350"/>
                  </a:lnTo>
                  <a:lnTo>
                    <a:pt x="206" y="352"/>
                  </a:lnTo>
                  <a:lnTo>
                    <a:pt x="189" y="352"/>
                  </a:lnTo>
                  <a:lnTo>
                    <a:pt x="153" y="344"/>
                  </a:lnTo>
                  <a:lnTo>
                    <a:pt x="137" y="338"/>
                  </a:lnTo>
                  <a:lnTo>
                    <a:pt x="124" y="330"/>
                  </a:lnTo>
                  <a:lnTo>
                    <a:pt x="103" y="315"/>
                  </a:lnTo>
                  <a:lnTo>
                    <a:pt x="95" y="311"/>
                  </a:lnTo>
                  <a:lnTo>
                    <a:pt x="86" y="308"/>
                  </a:lnTo>
                  <a:lnTo>
                    <a:pt x="76" y="308"/>
                  </a:lnTo>
                  <a:lnTo>
                    <a:pt x="68" y="313"/>
                  </a:lnTo>
                  <a:lnTo>
                    <a:pt x="46" y="327"/>
                  </a:lnTo>
                  <a:lnTo>
                    <a:pt x="32" y="331"/>
                  </a:lnTo>
                  <a:lnTo>
                    <a:pt x="26" y="323"/>
                  </a:lnTo>
                  <a:lnTo>
                    <a:pt x="19" y="314"/>
                  </a:lnTo>
                  <a:lnTo>
                    <a:pt x="3" y="290"/>
                  </a:lnTo>
                  <a:lnTo>
                    <a:pt x="0" y="280"/>
                  </a:lnTo>
                  <a:lnTo>
                    <a:pt x="8" y="247"/>
                  </a:lnTo>
                  <a:lnTo>
                    <a:pt x="12" y="235"/>
                  </a:lnTo>
                  <a:lnTo>
                    <a:pt x="21" y="215"/>
                  </a:lnTo>
                  <a:lnTo>
                    <a:pt x="24" y="204"/>
                  </a:lnTo>
                  <a:lnTo>
                    <a:pt x="25" y="178"/>
                  </a:lnTo>
                  <a:lnTo>
                    <a:pt x="26" y="170"/>
                  </a:lnTo>
                  <a:lnTo>
                    <a:pt x="42" y="144"/>
                  </a:lnTo>
                  <a:lnTo>
                    <a:pt x="60" y="136"/>
                  </a:lnTo>
                  <a:lnTo>
                    <a:pt x="78" y="120"/>
                  </a:lnTo>
                  <a:lnTo>
                    <a:pt x="95" y="115"/>
                  </a:lnTo>
                  <a:lnTo>
                    <a:pt x="108" y="112"/>
                  </a:lnTo>
                  <a:lnTo>
                    <a:pt x="120" y="112"/>
                  </a:lnTo>
                  <a:lnTo>
                    <a:pt x="151" y="119"/>
                  </a:lnTo>
                  <a:lnTo>
                    <a:pt x="167" y="120"/>
                  </a:lnTo>
                  <a:lnTo>
                    <a:pt x="178" y="117"/>
                  </a:lnTo>
                  <a:lnTo>
                    <a:pt x="190" y="111"/>
                  </a:lnTo>
                  <a:lnTo>
                    <a:pt x="205" y="98"/>
                  </a:lnTo>
                  <a:lnTo>
                    <a:pt x="213" y="96"/>
                  </a:lnTo>
                  <a:lnTo>
                    <a:pt x="230" y="95"/>
                  </a:lnTo>
                  <a:lnTo>
                    <a:pt x="237" y="93"/>
                  </a:lnTo>
                  <a:lnTo>
                    <a:pt x="241" y="89"/>
                  </a:lnTo>
                  <a:lnTo>
                    <a:pt x="243" y="84"/>
                  </a:lnTo>
                  <a:lnTo>
                    <a:pt x="243" y="74"/>
                  </a:lnTo>
                  <a:lnTo>
                    <a:pt x="244" y="71"/>
                  </a:lnTo>
                  <a:lnTo>
                    <a:pt x="251" y="65"/>
                  </a:lnTo>
                  <a:lnTo>
                    <a:pt x="257" y="64"/>
                  </a:lnTo>
                  <a:lnTo>
                    <a:pt x="265" y="64"/>
                  </a:lnTo>
                  <a:lnTo>
                    <a:pt x="269" y="66"/>
                  </a:lnTo>
                  <a:lnTo>
                    <a:pt x="274" y="68"/>
                  </a:lnTo>
                  <a:lnTo>
                    <a:pt x="278" y="72"/>
                  </a:lnTo>
                  <a:lnTo>
                    <a:pt x="283" y="77"/>
                  </a:lnTo>
                  <a:lnTo>
                    <a:pt x="292" y="79"/>
                  </a:lnTo>
                  <a:lnTo>
                    <a:pt x="308" y="78"/>
                  </a:lnTo>
                  <a:lnTo>
                    <a:pt x="317" y="74"/>
                  </a:lnTo>
                  <a:lnTo>
                    <a:pt x="322" y="67"/>
                  </a:lnTo>
                  <a:lnTo>
                    <a:pt x="331" y="54"/>
                  </a:lnTo>
                  <a:lnTo>
                    <a:pt x="331" y="42"/>
                  </a:lnTo>
                  <a:lnTo>
                    <a:pt x="331" y="35"/>
                  </a:lnTo>
                  <a:lnTo>
                    <a:pt x="333" y="28"/>
                  </a:lnTo>
                  <a:lnTo>
                    <a:pt x="337" y="21"/>
                  </a:lnTo>
                  <a:lnTo>
                    <a:pt x="339" y="16"/>
                  </a:lnTo>
                  <a:lnTo>
                    <a:pt x="359" y="0"/>
                  </a:lnTo>
                  <a:lnTo>
                    <a:pt x="373" y="22"/>
                  </a:lnTo>
                  <a:lnTo>
                    <a:pt x="390" y="43"/>
                  </a:lnTo>
                  <a:lnTo>
                    <a:pt x="397" y="54"/>
                  </a:lnTo>
                  <a:lnTo>
                    <a:pt x="399" y="64"/>
                  </a:lnTo>
                  <a:lnTo>
                    <a:pt x="399" y="96"/>
                  </a:lnTo>
                  <a:lnTo>
                    <a:pt x="398" y="105"/>
                  </a:lnTo>
                  <a:lnTo>
                    <a:pt x="396" y="112"/>
                  </a:lnTo>
                  <a:lnTo>
                    <a:pt x="390" y="123"/>
                  </a:lnTo>
                  <a:lnTo>
                    <a:pt x="388" y="131"/>
                  </a:lnTo>
                  <a:lnTo>
                    <a:pt x="390" y="134"/>
                  </a:lnTo>
                  <a:lnTo>
                    <a:pt x="395" y="13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D3E0887B-79AF-D139-DFAD-3F4B12187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031" y="1010842"/>
              <a:ext cx="2674093" cy="1284094"/>
            </a:xfrm>
            <a:custGeom>
              <a:avLst/>
              <a:gdLst>
                <a:gd name="T0" fmla="*/ 619 w 1818"/>
                <a:gd name="T1" fmla="*/ 238 h 873"/>
                <a:gd name="T2" fmla="*/ 719 w 1818"/>
                <a:gd name="T3" fmla="*/ 278 h 873"/>
                <a:gd name="T4" fmla="*/ 826 w 1818"/>
                <a:gd name="T5" fmla="*/ 260 h 873"/>
                <a:gd name="T6" fmla="*/ 940 w 1818"/>
                <a:gd name="T7" fmla="*/ 298 h 873"/>
                <a:gd name="T8" fmla="*/ 1041 w 1818"/>
                <a:gd name="T9" fmla="*/ 173 h 873"/>
                <a:gd name="T10" fmla="*/ 1098 w 1818"/>
                <a:gd name="T11" fmla="*/ 145 h 873"/>
                <a:gd name="T12" fmla="*/ 1184 w 1818"/>
                <a:gd name="T13" fmla="*/ 173 h 873"/>
                <a:gd name="T14" fmla="*/ 1239 w 1818"/>
                <a:gd name="T15" fmla="*/ 207 h 873"/>
                <a:gd name="T16" fmla="*/ 1341 w 1818"/>
                <a:gd name="T17" fmla="*/ 283 h 873"/>
                <a:gd name="T18" fmla="*/ 1460 w 1818"/>
                <a:gd name="T19" fmla="*/ 386 h 873"/>
                <a:gd name="T20" fmla="*/ 1569 w 1818"/>
                <a:gd name="T21" fmla="*/ 390 h 873"/>
                <a:gd name="T22" fmla="*/ 1693 w 1818"/>
                <a:gd name="T23" fmla="*/ 474 h 873"/>
                <a:gd name="T24" fmla="*/ 1767 w 1818"/>
                <a:gd name="T25" fmla="*/ 539 h 873"/>
                <a:gd name="T26" fmla="*/ 1637 w 1818"/>
                <a:gd name="T27" fmla="*/ 525 h 873"/>
                <a:gd name="T28" fmla="*/ 1562 w 1818"/>
                <a:gd name="T29" fmla="*/ 517 h 873"/>
                <a:gd name="T30" fmla="*/ 1601 w 1818"/>
                <a:gd name="T31" fmla="*/ 564 h 873"/>
                <a:gd name="T32" fmla="*/ 1685 w 1818"/>
                <a:gd name="T33" fmla="*/ 684 h 873"/>
                <a:gd name="T34" fmla="*/ 1756 w 1818"/>
                <a:gd name="T35" fmla="*/ 758 h 873"/>
                <a:gd name="T36" fmla="*/ 1804 w 1818"/>
                <a:gd name="T37" fmla="*/ 793 h 873"/>
                <a:gd name="T38" fmla="*/ 1818 w 1818"/>
                <a:gd name="T39" fmla="*/ 860 h 873"/>
                <a:gd name="T40" fmla="*/ 1798 w 1818"/>
                <a:gd name="T41" fmla="*/ 860 h 873"/>
                <a:gd name="T42" fmla="*/ 1744 w 1818"/>
                <a:gd name="T43" fmla="*/ 848 h 873"/>
                <a:gd name="T44" fmla="*/ 1719 w 1818"/>
                <a:gd name="T45" fmla="*/ 821 h 873"/>
                <a:gd name="T46" fmla="*/ 1646 w 1818"/>
                <a:gd name="T47" fmla="*/ 812 h 873"/>
                <a:gd name="T48" fmla="*/ 1606 w 1818"/>
                <a:gd name="T49" fmla="*/ 776 h 873"/>
                <a:gd name="T50" fmla="*/ 1579 w 1818"/>
                <a:gd name="T51" fmla="*/ 762 h 873"/>
                <a:gd name="T52" fmla="*/ 1521 w 1818"/>
                <a:gd name="T53" fmla="*/ 753 h 873"/>
                <a:gd name="T54" fmla="*/ 1481 w 1818"/>
                <a:gd name="T55" fmla="*/ 727 h 873"/>
                <a:gd name="T56" fmla="*/ 1424 w 1818"/>
                <a:gd name="T57" fmla="*/ 733 h 873"/>
                <a:gd name="T58" fmla="*/ 1352 w 1818"/>
                <a:gd name="T59" fmla="*/ 732 h 873"/>
                <a:gd name="T60" fmla="*/ 1361 w 1818"/>
                <a:gd name="T61" fmla="*/ 819 h 873"/>
                <a:gd name="T62" fmla="*/ 1263 w 1818"/>
                <a:gd name="T63" fmla="*/ 773 h 873"/>
                <a:gd name="T64" fmla="*/ 1129 w 1818"/>
                <a:gd name="T65" fmla="*/ 741 h 873"/>
                <a:gd name="T66" fmla="*/ 1033 w 1818"/>
                <a:gd name="T67" fmla="*/ 768 h 873"/>
                <a:gd name="T68" fmla="*/ 903 w 1818"/>
                <a:gd name="T69" fmla="*/ 727 h 873"/>
                <a:gd name="T70" fmla="*/ 835 w 1818"/>
                <a:gd name="T71" fmla="*/ 663 h 873"/>
                <a:gd name="T72" fmla="*/ 806 w 1818"/>
                <a:gd name="T73" fmla="*/ 612 h 873"/>
                <a:gd name="T74" fmla="*/ 668 w 1818"/>
                <a:gd name="T75" fmla="*/ 490 h 873"/>
                <a:gd name="T76" fmla="*/ 563 w 1818"/>
                <a:gd name="T77" fmla="*/ 500 h 873"/>
                <a:gd name="T78" fmla="*/ 480 w 1818"/>
                <a:gd name="T79" fmla="*/ 481 h 873"/>
                <a:gd name="T80" fmla="*/ 416 w 1818"/>
                <a:gd name="T81" fmla="*/ 531 h 873"/>
                <a:gd name="T82" fmla="*/ 350 w 1818"/>
                <a:gd name="T83" fmla="*/ 522 h 873"/>
                <a:gd name="T84" fmla="*/ 349 w 1818"/>
                <a:gd name="T85" fmla="*/ 493 h 873"/>
                <a:gd name="T86" fmla="*/ 345 w 1818"/>
                <a:gd name="T87" fmla="*/ 465 h 873"/>
                <a:gd name="T88" fmla="*/ 313 w 1818"/>
                <a:gd name="T89" fmla="*/ 473 h 873"/>
                <a:gd name="T90" fmla="*/ 260 w 1818"/>
                <a:gd name="T91" fmla="*/ 508 h 873"/>
                <a:gd name="T92" fmla="*/ 133 w 1818"/>
                <a:gd name="T93" fmla="*/ 486 h 873"/>
                <a:gd name="T94" fmla="*/ 126 w 1818"/>
                <a:gd name="T95" fmla="*/ 439 h 873"/>
                <a:gd name="T96" fmla="*/ 92 w 1818"/>
                <a:gd name="T97" fmla="*/ 421 h 873"/>
                <a:gd name="T98" fmla="*/ 74 w 1818"/>
                <a:gd name="T99" fmla="*/ 396 h 873"/>
                <a:gd name="T100" fmla="*/ 26 w 1818"/>
                <a:gd name="T101" fmla="*/ 373 h 873"/>
                <a:gd name="T102" fmla="*/ 2 w 1818"/>
                <a:gd name="T103" fmla="*/ 366 h 873"/>
                <a:gd name="T104" fmla="*/ 49 w 1818"/>
                <a:gd name="T105" fmla="*/ 303 h 873"/>
                <a:gd name="T106" fmla="*/ 85 w 1818"/>
                <a:gd name="T107" fmla="*/ 266 h 873"/>
                <a:gd name="T108" fmla="*/ 84 w 1818"/>
                <a:gd name="T109" fmla="*/ 256 h 873"/>
                <a:gd name="T110" fmla="*/ 83 w 1818"/>
                <a:gd name="T111" fmla="*/ 238 h 873"/>
                <a:gd name="T112" fmla="*/ 125 w 1818"/>
                <a:gd name="T113" fmla="*/ 152 h 873"/>
                <a:gd name="T114" fmla="*/ 214 w 1818"/>
                <a:gd name="T115" fmla="*/ 49 h 873"/>
                <a:gd name="T116" fmla="*/ 199 w 1818"/>
                <a:gd name="T117" fmla="*/ 18 h 873"/>
                <a:gd name="T118" fmla="*/ 233 w 1818"/>
                <a:gd name="T119" fmla="*/ 18 h 873"/>
                <a:gd name="T120" fmla="*/ 308 w 1818"/>
                <a:gd name="T121" fmla="*/ 0 h 873"/>
                <a:gd name="T122" fmla="*/ 383 w 1818"/>
                <a:gd name="T123" fmla="*/ 18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18" h="873">
                  <a:moveTo>
                    <a:pt x="511" y="219"/>
                  </a:moveTo>
                  <a:lnTo>
                    <a:pt x="526" y="218"/>
                  </a:lnTo>
                  <a:lnTo>
                    <a:pt x="560" y="206"/>
                  </a:lnTo>
                  <a:lnTo>
                    <a:pt x="571" y="204"/>
                  </a:lnTo>
                  <a:lnTo>
                    <a:pt x="580" y="206"/>
                  </a:lnTo>
                  <a:lnTo>
                    <a:pt x="594" y="209"/>
                  </a:lnTo>
                  <a:lnTo>
                    <a:pt x="619" y="238"/>
                  </a:lnTo>
                  <a:lnTo>
                    <a:pt x="640" y="245"/>
                  </a:lnTo>
                  <a:lnTo>
                    <a:pt x="666" y="245"/>
                  </a:lnTo>
                  <a:lnTo>
                    <a:pt x="675" y="247"/>
                  </a:lnTo>
                  <a:lnTo>
                    <a:pt x="685" y="250"/>
                  </a:lnTo>
                  <a:lnTo>
                    <a:pt x="693" y="256"/>
                  </a:lnTo>
                  <a:lnTo>
                    <a:pt x="707" y="270"/>
                  </a:lnTo>
                  <a:lnTo>
                    <a:pt x="719" y="278"/>
                  </a:lnTo>
                  <a:lnTo>
                    <a:pt x="729" y="282"/>
                  </a:lnTo>
                  <a:lnTo>
                    <a:pt x="739" y="283"/>
                  </a:lnTo>
                  <a:lnTo>
                    <a:pt x="785" y="275"/>
                  </a:lnTo>
                  <a:lnTo>
                    <a:pt x="794" y="276"/>
                  </a:lnTo>
                  <a:lnTo>
                    <a:pt x="818" y="287"/>
                  </a:lnTo>
                  <a:lnTo>
                    <a:pt x="827" y="286"/>
                  </a:lnTo>
                  <a:lnTo>
                    <a:pt x="826" y="260"/>
                  </a:lnTo>
                  <a:lnTo>
                    <a:pt x="834" y="257"/>
                  </a:lnTo>
                  <a:lnTo>
                    <a:pt x="858" y="263"/>
                  </a:lnTo>
                  <a:lnTo>
                    <a:pt x="890" y="266"/>
                  </a:lnTo>
                  <a:lnTo>
                    <a:pt x="900" y="270"/>
                  </a:lnTo>
                  <a:lnTo>
                    <a:pt x="910" y="277"/>
                  </a:lnTo>
                  <a:lnTo>
                    <a:pt x="928" y="293"/>
                  </a:lnTo>
                  <a:lnTo>
                    <a:pt x="940" y="298"/>
                  </a:lnTo>
                  <a:lnTo>
                    <a:pt x="951" y="297"/>
                  </a:lnTo>
                  <a:lnTo>
                    <a:pt x="968" y="288"/>
                  </a:lnTo>
                  <a:lnTo>
                    <a:pt x="1034" y="280"/>
                  </a:lnTo>
                  <a:lnTo>
                    <a:pt x="1046" y="272"/>
                  </a:lnTo>
                  <a:lnTo>
                    <a:pt x="1039" y="227"/>
                  </a:lnTo>
                  <a:lnTo>
                    <a:pt x="1041" y="178"/>
                  </a:lnTo>
                  <a:lnTo>
                    <a:pt x="1041" y="173"/>
                  </a:lnTo>
                  <a:lnTo>
                    <a:pt x="1046" y="174"/>
                  </a:lnTo>
                  <a:lnTo>
                    <a:pt x="1061" y="173"/>
                  </a:lnTo>
                  <a:lnTo>
                    <a:pt x="1068" y="172"/>
                  </a:lnTo>
                  <a:lnTo>
                    <a:pt x="1074" y="170"/>
                  </a:lnTo>
                  <a:lnTo>
                    <a:pt x="1091" y="150"/>
                  </a:lnTo>
                  <a:lnTo>
                    <a:pt x="1095" y="147"/>
                  </a:lnTo>
                  <a:lnTo>
                    <a:pt x="1098" y="145"/>
                  </a:lnTo>
                  <a:lnTo>
                    <a:pt x="1110" y="135"/>
                  </a:lnTo>
                  <a:lnTo>
                    <a:pt x="1118" y="133"/>
                  </a:lnTo>
                  <a:lnTo>
                    <a:pt x="1124" y="136"/>
                  </a:lnTo>
                  <a:lnTo>
                    <a:pt x="1143" y="156"/>
                  </a:lnTo>
                  <a:lnTo>
                    <a:pt x="1156" y="165"/>
                  </a:lnTo>
                  <a:lnTo>
                    <a:pt x="1170" y="170"/>
                  </a:lnTo>
                  <a:lnTo>
                    <a:pt x="1184" y="173"/>
                  </a:lnTo>
                  <a:lnTo>
                    <a:pt x="1200" y="174"/>
                  </a:lnTo>
                  <a:lnTo>
                    <a:pt x="1215" y="174"/>
                  </a:lnTo>
                  <a:lnTo>
                    <a:pt x="1222" y="174"/>
                  </a:lnTo>
                  <a:lnTo>
                    <a:pt x="1228" y="176"/>
                  </a:lnTo>
                  <a:lnTo>
                    <a:pt x="1231" y="184"/>
                  </a:lnTo>
                  <a:lnTo>
                    <a:pt x="1236" y="201"/>
                  </a:lnTo>
                  <a:lnTo>
                    <a:pt x="1239" y="207"/>
                  </a:lnTo>
                  <a:lnTo>
                    <a:pt x="1251" y="207"/>
                  </a:lnTo>
                  <a:lnTo>
                    <a:pt x="1268" y="201"/>
                  </a:lnTo>
                  <a:lnTo>
                    <a:pt x="1283" y="199"/>
                  </a:lnTo>
                  <a:lnTo>
                    <a:pt x="1290" y="209"/>
                  </a:lnTo>
                  <a:lnTo>
                    <a:pt x="1292" y="217"/>
                  </a:lnTo>
                  <a:lnTo>
                    <a:pt x="1338" y="274"/>
                  </a:lnTo>
                  <a:lnTo>
                    <a:pt x="1341" y="283"/>
                  </a:lnTo>
                  <a:lnTo>
                    <a:pt x="1344" y="295"/>
                  </a:lnTo>
                  <a:lnTo>
                    <a:pt x="1352" y="305"/>
                  </a:lnTo>
                  <a:lnTo>
                    <a:pt x="1368" y="322"/>
                  </a:lnTo>
                  <a:lnTo>
                    <a:pt x="1408" y="347"/>
                  </a:lnTo>
                  <a:lnTo>
                    <a:pt x="1415" y="355"/>
                  </a:lnTo>
                  <a:lnTo>
                    <a:pt x="1441" y="376"/>
                  </a:lnTo>
                  <a:lnTo>
                    <a:pt x="1460" y="386"/>
                  </a:lnTo>
                  <a:lnTo>
                    <a:pt x="1471" y="390"/>
                  </a:lnTo>
                  <a:lnTo>
                    <a:pt x="1484" y="393"/>
                  </a:lnTo>
                  <a:lnTo>
                    <a:pt x="1499" y="395"/>
                  </a:lnTo>
                  <a:lnTo>
                    <a:pt x="1514" y="393"/>
                  </a:lnTo>
                  <a:lnTo>
                    <a:pt x="1543" y="387"/>
                  </a:lnTo>
                  <a:lnTo>
                    <a:pt x="1555" y="386"/>
                  </a:lnTo>
                  <a:lnTo>
                    <a:pt x="1569" y="390"/>
                  </a:lnTo>
                  <a:lnTo>
                    <a:pt x="1579" y="400"/>
                  </a:lnTo>
                  <a:lnTo>
                    <a:pt x="1588" y="408"/>
                  </a:lnTo>
                  <a:lnTo>
                    <a:pt x="1595" y="413"/>
                  </a:lnTo>
                  <a:lnTo>
                    <a:pt x="1607" y="417"/>
                  </a:lnTo>
                  <a:lnTo>
                    <a:pt x="1639" y="445"/>
                  </a:lnTo>
                  <a:lnTo>
                    <a:pt x="1678" y="469"/>
                  </a:lnTo>
                  <a:lnTo>
                    <a:pt x="1693" y="474"/>
                  </a:lnTo>
                  <a:lnTo>
                    <a:pt x="1706" y="484"/>
                  </a:lnTo>
                  <a:lnTo>
                    <a:pt x="1744" y="491"/>
                  </a:lnTo>
                  <a:lnTo>
                    <a:pt x="1786" y="507"/>
                  </a:lnTo>
                  <a:lnTo>
                    <a:pt x="1799" y="514"/>
                  </a:lnTo>
                  <a:lnTo>
                    <a:pt x="1791" y="524"/>
                  </a:lnTo>
                  <a:lnTo>
                    <a:pt x="1775" y="535"/>
                  </a:lnTo>
                  <a:lnTo>
                    <a:pt x="1767" y="539"/>
                  </a:lnTo>
                  <a:lnTo>
                    <a:pt x="1758" y="543"/>
                  </a:lnTo>
                  <a:lnTo>
                    <a:pt x="1747" y="543"/>
                  </a:lnTo>
                  <a:lnTo>
                    <a:pt x="1724" y="539"/>
                  </a:lnTo>
                  <a:lnTo>
                    <a:pt x="1719" y="540"/>
                  </a:lnTo>
                  <a:lnTo>
                    <a:pt x="1701" y="552"/>
                  </a:lnTo>
                  <a:lnTo>
                    <a:pt x="1683" y="550"/>
                  </a:lnTo>
                  <a:lnTo>
                    <a:pt x="1637" y="525"/>
                  </a:lnTo>
                  <a:lnTo>
                    <a:pt x="1628" y="523"/>
                  </a:lnTo>
                  <a:lnTo>
                    <a:pt x="1618" y="523"/>
                  </a:lnTo>
                  <a:lnTo>
                    <a:pt x="1606" y="524"/>
                  </a:lnTo>
                  <a:lnTo>
                    <a:pt x="1595" y="522"/>
                  </a:lnTo>
                  <a:lnTo>
                    <a:pt x="1584" y="517"/>
                  </a:lnTo>
                  <a:lnTo>
                    <a:pt x="1572" y="513"/>
                  </a:lnTo>
                  <a:lnTo>
                    <a:pt x="1562" y="517"/>
                  </a:lnTo>
                  <a:lnTo>
                    <a:pt x="1558" y="529"/>
                  </a:lnTo>
                  <a:lnTo>
                    <a:pt x="1561" y="544"/>
                  </a:lnTo>
                  <a:lnTo>
                    <a:pt x="1567" y="557"/>
                  </a:lnTo>
                  <a:lnTo>
                    <a:pt x="1574" y="563"/>
                  </a:lnTo>
                  <a:lnTo>
                    <a:pt x="1580" y="565"/>
                  </a:lnTo>
                  <a:lnTo>
                    <a:pt x="1594" y="564"/>
                  </a:lnTo>
                  <a:lnTo>
                    <a:pt x="1601" y="564"/>
                  </a:lnTo>
                  <a:lnTo>
                    <a:pt x="1610" y="570"/>
                  </a:lnTo>
                  <a:lnTo>
                    <a:pt x="1623" y="583"/>
                  </a:lnTo>
                  <a:lnTo>
                    <a:pt x="1631" y="587"/>
                  </a:lnTo>
                  <a:lnTo>
                    <a:pt x="1645" y="591"/>
                  </a:lnTo>
                  <a:lnTo>
                    <a:pt x="1656" y="599"/>
                  </a:lnTo>
                  <a:lnTo>
                    <a:pt x="1664" y="609"/>
                  </a:lnTo>
                  <a:lnTo>
                    <a:pt x="1685" y="684"/>
                  </a:lnTo>
                  <a:lnTo>
                    <a:pt x="1697" y="713"/>
                  </a:lnTo>
                  <a:lnTo>
                    <a:pt x="1717" y="739"/>
                  </a:lnTo>
                  <a:lnTo>
                    <a:pt x="1730" y="751"/>
                  </a:lnTo>
                  <a:lnTo>
                    <a:pt x="1737" y="755"/>
                  </a:lnTo>
                  <a:lnTo>
                    <a:pt x="1744" y="756"/>
                  </a:lnTo>
                  <a:lnTo>
                    <a:pt x="1753" y="756"/>
                  </a:lnTo>
                  <a:lnTo>
                    <a:pt x="1756" y="758"/>
                  </a:lnTo>
                  <a:lnTo>
                    <a:pt x="1759" y="762"/>
                  </a:lnTo>
                  <a:lnTo>
                    <a:pt x="1785" y="782"/>
                  </a:lnTo>
                  <a:lnTo>
                    <a:pt x="1787" y="785"/>
                  </a:lnTo>
                  <a:lnTo>
                    <a:pt x="1792" y="793"/>
                  </a:lnTo>
                  <a:lnTo>
                    <a:pt x="1794" y="796"/>
                  </a:lnTo>
                  <a:lnTo>
                    <a:pt x="1797" y="796"/>
                  </a:lnTo>
                  <a:lnTo>
                    <a:pt x="1804" y="793"/>
                  </a:lnTo>
                  <a:lnTo>
                    <a:pt x="1807" y="794"/>
                  </a:lnTo>
                  <a:lnTo>
                    <a:pt x="1814" y="806"/>
                  </a:lnTo>
                  <a:lnTo>
                    <a:pt x="1817" y="819"/>
                  </a:lnTo>
                  <a:lnTo>
                    <a:pt x="1814" y="845"/>
                  </a:lnTo>
                  <a:lnTo>
                    <a:pt x="1815" y="850"/>
                  </a:lnTo>
                  <a:lnTo>
                    <a:pt x="1817" y="856"/>
                  </a:lnTo>
                  <a:lnTo>
                    <a:pt x="1818" y="860"/>
                  </a:lnTo>
                  <a:lnTo>
                    <a:pt x="1817" y="867"/>
                  </a:lnTo>
                  <a:lnTo>
                    <a:pt x="1810" y="873"/>
                  </a:lnTo>
                  <a:lnTo>
                    <a:pt x="1809" y="873"/>
                  </a:lnTo>
                  <a:lnTo>
                    <a:pt x="1800" y="873"/>
                  </a:lnTo>
                  <a:lnTo>
                    <a:pt x="1798" y="872"/>
                  </a:lnTo>
                  <a:lnTo>
                    <a:pt x="1797" y="868"/>
                  </a:lnTo>
                  <a:lnTo>
                    <a:pt x="1798" y="860"/>
                  </a:lnTo>
                  <a:lnTo>
                    <a:pt x="1797" y="858"/>
                  </a:lnTo>
                  <a:lnTo>
                    <a:pt x="1795" y="857"/>
                  </a:lnTo>
                  <a:lnTo>
                    <a:pt x="1791" y="858"/>
                  </a:lnTo>
                  <a:lnTo>
                    <a:pt x="1785" y="859"/>
                  </a:lnTo>
                  <a:lnTo>
                    <a:pt x="1778" y="859"/>
                  </a:lnTo>
                  <a:lnTo>
                    <a:pt x="1755" y="853"/>
                  </a:lnTo>
                  <a:lnTo>
                    <a:pt x="1744" y="848"/>
                  </a:lnTo>
                  <a:lnTo>
                    <a:pt x="1737" y="847"/>
                  </a:lnTo>
                  <a:lnTo>
                    <a:pt x="1732" y="845"/>
                  </a:lnTo>
                  <a:lnTo>
                    <a:pt x="1729" y="842"/>
                  </a:lnTo>
                  <a:lnTo>
                    <a:pt x="1727" y="835"/>
                  </a:lnTo>
                  <a:lnTo>
                    <a:pt x="1724" y="829"/>
                  </a:lnTo>
                  <a:lnTo>
                    <a:pt x="1722" y="823"/>
                  </a:lnTo>
                  <a:lnTo>
                    <a:pt x="1719" y="821"/>
                  </a:lnTo>
                  <a:lnTo>
                    <a:pt x="1708" y="821"/>
                  </a:lnTo>
                  <a:lnTo>
                    <a:pt x="1703" y="819"/>
                  </a:lnTo>
                  <a:lnTo>
                    <a:pt x="1695" y="815"/>
                  </a:lnTo>
                  <a:lnTo>
                    <a:pt x="1688" y="812"/>
                  </a:lnTo>
                  <a:lnTo>
                    <a:pt x="1657" y="811"/>
                  </a:lnTo>
                  <a:lnTo>
                    <a:pt x="1653" y="812"/>
                  </a:lnTo>
                  <a:lnTo>
                    <a:pt x="1646" y="812"/>
                  </a:lnTo>
                  <a:lnTo>
                    <a:pt x="1626" y="806"/>
                  </a:lnTo>
                  <a:lnTo>
                    <a:pt x="1617" y="799"/>
                  </a:lnTo>
                  <a:lnTo>
                    <a:pt x="1614" y="795"/>
                  </a:lnTo>
                  <a:lnTo>
                    <a:pt x="1611" y="791"/>
                  </a:lnTo>
                  <a:lnTo>
                    <a:pt x="1608" y="786"/>
                  </a:lnTo>
                  <a:lnTo>
                    <a:pt x="1607" y="779"/>
                  </a:lnTo>
                  <a:lnTo>
                    <a:pt x="1606" y="776"/>
                  </a:lnTo>
                  <a:lnTo>
                    <a:pt x="1604" y="773"/>
                  </a:lnTo>
                  <a:lnTo>
                    <a:pt x="1598" y="778"/>
                  </a:lnTo>
                  <a:lnTo>
                    <a:pt x="1594" y="777"/>
                  </a:lnTo>
                  <a:lnTo>
                    <a:pt x="1592" y="773"/>
                  </a:lnTo>
                  <a:lnTo>
                    <a:pt x="1591" y="769"/>
                  </a:lnTo>
                  <a:lnTo>
                    <a:pt x="1587" y="766"/>
                  </a:lnTo>
                  <a:lnTo>
                    <a:pt x="1579" y="762"/>
                  </a:lnTo>
                  <a:lnTo>
                    <a:pt x="1564" y="755"/>
                  </a:lnTo>
                  <a:lnTo>
                    <a:pt x="1556" y="750"/>
                  </a:lnTo>
                  <a:lnTo>
                    <a:pt x="1550" y="747"/>
                  </a:lnTo>
                  <a:lnTo>
                    <a:pt x="1545" y="747"/>
                  </a:lnTo>
                  <a:lnTo>
                    <a:pt x="1538" y="751"/>
                  </a:lnTo>
                  <a:lnTo>
                    <a:pt x="1528" y="753"/>
                  </a:lnTo>
                  <a:lnTo>
                    <a:pt x="1521" y="753"/>
                  </a:lnTo>
                  <a:lnTo>
                    <a:pt x="1512" y="750"/>
                  </a:lnTo>
                  <a:lnTo>
                    <a:pt x="1508" y="744"/>
                  </a:lnTo>
                  <a:lnTo>
                    <a:pt x="1502" y="734"/>
                  </a:lnTo>
                  <a:lnTo>
                    <a:pt x="1499" y="730"/>
                  </a:lnTo>
                  <a:lnTo>
                    <a:pt x="1493" y="727"/>
                  </a:lnTo>
                  <a:lnTo>
                    <a:pt x="1487" y="726"/>
                  </a:lnTo>
                  <a:lnTo>
                    <a:pt x="1481" y="727"/>
                  </a:lnTo>
                  <a:lnTo>
                    <a:pt x="1474" y="729"/>
                  </a:lnTo>
                  <a:lnTo>
                    <a:pt x="1467" y="731"/>
                  </a:lnTo>
                  <a:lnTo>
                    <a:pt x="1450" y="731"/>
                  </a:lnTo>
                  <a:lnTo>
                    <a:pt x="1444" y="732"/>
                  </a:lnTo>
                  <a:lnTo>
                    <a:pt x="1437" y="734"/>
                  </a:lnTo>
                  <a:lnTo>
                    <a:pt x="1432" y="734"/>
                  </a:lnTo>
                  <a:lnTo>
                    <a:pt x="1424" y="733"/>
                  </a:lnTo>
                  <a:lnTo>
                    <a:pt x="1417" y="728"/>
                  </a:lnTo>
                  <a:lnTo>
                    <a:pt x="1407" y="723"/>
                  </a:lnTo>
                  <a:lnTo>
                    <a:pt x="1395" y="719"/>
                  </a:lnTo>
                  <a:lnTo>
                    <a:pt x="1373" y="719"/>
                  </a:lnTo>
                  <a:lnTo>
                    <a:pt x="1363" y="721"/>
                  </a:lnTo>
                  <a:lnTo>
                    <a:pt x="1354" y="726"/>
                  </a:lnTo>
                  <a:lnTo>
                    <a:pt x="1352" y="732"/>
                  </a:lnTo>
                  <a:lnTo>
                    <a:pt x="1352" y="743"/>
                  </a:lnTo>
                  <a:lnTo>
                    <a:pt x="1358" y="798"/>
                  </a:lnTo>
                  <a:lnTo>
                    <a:pt x="1361" y="806"/>
                  </a:lnTo>
                  <a:lnTo>
                    <a:pt x="1365" y="811"/>
                  </a:lnTo>
                  <a:lnTo>
                    <a:pt x="1366" y="814"/>
                  </a:lnTo>
                  <a:lnTo>
                    <a:pt x="1365" y="817"/>
                  </a:lnTo>
                  <a:lnTo>
                    <a:pt x="1361" y="819"/>
                  </a:lnTo>
                  <a:lnTo>
                    <a:pt x="1354" y="818"/>
                  </a:lnTo>
                  <a:lnTo>
                    <a:pt x="1338" y="817"/>
                  </a:lnTo>
                  <a:lnTo>
                    <a:pt x="1322" y="812"/>
                  </a:lnTo>
                  <a:lnTo>
                    <a:pt x="1307" y="804"/>
                  </a:lnTo>
                  <a:lnTo>
                    <a:pt x="1280" y="784"/>
                  </a:lnTo>
                  <a:lnTo>
                    <a:pt x="1267" y="778"/>
                  </a:lnTo>
                  <a:lnTo>
                    <a:pt x="1263" y="773"/>
                  </a:lnTo>
                  <a:lnTo>
                    <a:pt x="1261" y="757"/>
                  </a:lnTo>
                  <a:lnTo>
                    <a:pt x="1257" y="750"/>
                  </a:lnTo>
                  <a:lnTo>
                    <a:pt x="1253" y="742"/>
                  </a:lnTo>
                  <a:lnTo>
                    <a:pt x="1250" y="739"/>
                  </a:lnTo>
                  <a:lnTo>
                    <a:pt x="1187" y="734"/>
                  </a:lnTo>
                  <a:lnTo>
                    <a:pt x="1135" y="739"/>
                  </a:lnTo>
                  <a:lnTo>
                    <a:pt x="1129" y="741"/>
                  </a:lnTo>
                  <a:lnTo>
                    <a:pt x="1116" y="747"/>
                  </a:lnTo>
                  <a:lnTo>
                    <a:pt x="1094" y="755"/>
                  </a:lnTo>
                  <a:lnTo>
                    <a:pt x="1087" y="757"/>
                  </a:lnTo>
                  <a:lnTo>
                    <a:pt x="1060" y="777"/>
                  </a:lnTo>
                  <a:lnTo>
                    <a:pt x="1044" y="784"/>
                  </a:lnTo>
                  <a:lnTo>
                    <a:pt x="1038" y="778"/>
                  </a:lnTo>
                  <a:lnTo>
                    <a:pt x="1033" y="768"/>
                  </a:lnTo>
                  <a:lnTo>
                    <a:pt x="1022" y="765"/>
                  </a:lnTo>
                  <a:lnTo>
                    <a:pt x="995" y="766"/>
                  </a:lnTo>
                  <a:lnTo>
                    <a:pt x="983" y="759"/>
                  </a:lnTo>
                  <a:lnTo>
                    <a:pt x="948" y="733"/>
                  </a:lnTo>
                  <a:lnTo>
                    <a:pt x="934" y="714"/>
                  </a:lnTo>
                  <a:lnTo>
                    <a:pt x="917" y="718"/>
                  </a:lnTo>
                  <a:lnTo>
                    <a:pt x="903" y="727"/>
                  </a:lnTo>
                  <a:lnTo>
                    <a:pt x="896" y="717"/>
                  </a:lnTo>
                  <a:lnTo>
                    <a:pt x="892" y="712"/>
                  </a:lnTo>
                  <a:lnTo>
                    <a:pt x="886" y="704"/>
                  </a:lnTo>
                  <a:lnTo>
                    <a:pt x="849" y="678"/>
                  </a:lnTo>
                  <a:lnTo>
                    <a:pt x="841" y="672"/>
                  </a:lnTo>
                  <a:lnTo>
                    <a:pt x="837" y="666"/>
                  </a:lnTo>
                  <a:lnTo>
                    <a:pt x="835" y="663"/>
                  </a:lnTo>
                  <a:lnTo>
                    <a:pt x="828" y="652"/>
                  </a:lnTo>
                  <a:lnTo>
                    <a:pt x="823" y="646"/>
                  </a:lnTo>
                  <a:lnTo>
                    <a:pt x="810" y="627"/>
                  </a:lnTo>
                  <a:lnTo>
                    <a:pt x="809" y="623"/>
                  </a:lnTo>
                  <a:lnTo>
                    <a:pt x="809" y="617"/>
                  </a:lnTo>
                  <a:lnTo>
                    <a:pt x="808" y="615"/>
                  </a:lnTo>
                  <a:lnTo>
                    <a:pt x="806" y="612"/>
                  </a:lnTo>
                  <a:lnTo>
                    <a:pt x="785" y="594"/>
                  </a:lnTo>
                  <a:lnTo>
                    <a:pt x="716" y="512"/>
                  </a:lnTo>
                  <a:lnTo>
                    <a:pt x="709" y="500"/>
                  </a:lnTo>
                  <a:lnTo>
                    <a:pt x="705" y="495"/>
                  </a:lnTo>
                  <a:lnTo>
                    <a:pt x="695" y="490"/>
                  </a:lnTo>
                  <a:lnTo>
                    <a:pt x="687" y="486"/>
                  </a:lnTo>
                  <a:lnTo>
                    <a:pt x="668" y="490"/>
                  </a:lnTo>
                  <a:lnTo>
                    <a:pt x="658" y="494"/>
                  </a:lnTo>
                  <a:lnTo>
                    <a:pt x="649" y="498"/>
                  </a:lnTo>
                  <a:lnTo>
                    <a:pt x="641" y="504"/>
                  </a:lnTo>
                  <a:lnTo>
                    <a:pt x="631" y="509"/>
                  </a:lnTo>
                  <a:lnTo>
                    <a:pt x="617" y="511"/>
                  </a:lnTo>
                  <a:lnTo>
                    <a:pt x="600" y="511"/>
                  </a:lnTo>
                  <a:lnTo>
                    <a:pt x="563" y="500"/>
                  </a:lnTo>
                  <a:lnTo>
                    <a:pt x="551" y="498"/>
                  </a:lnTo>
                  <a:lnTo>
                    <a:pt x="540" y="500"/>
                  </a:lnTo>
                  <a:lnTo>
                    <a:pt x="533" y="504"/>
                  </a:lnTo>
                  <a:lnTo>
                    <a:pt x="525" y="505"/>
                  </a:lnTo>
                  <a:lnTo>
                    <a:pt x="518" y="503"/>
                  </a:lnTo>
                  <a:lnTo>
                    <a:pt x="498" y="490"/>
                  </a:lnTo>
                  <a:lnTo>
                    <a:pt x="480" y="481"/>
                  </a:lnTo>
                  <a:lnTo>
                    <a:pt x="469" y="477"/>
                  </a:lnTo>
                  <a:lnTo>
                    <a:pt x="459" y="474"/>
                  </a:lnTo>
                  <a:lnTo>
                    <a:pt x="449" y="482"/>
                  </a:lnTo>
                  <a:lnTo>
                    <a:pt x="432" y="501"/>
                  </a:lnTo>
                  <a:lnTo>
                    <a:pt x="427" y="510"/>
                  </a:lnTo>
                  <a:lnTo>
                    <a:pt x="419" y="525"/>
                  </a:lnTo>
                  <a:lnTo>
                    <a:pt x="416" y="531"/>
                  </a:lnTo>
                  <a:lnTo>
                    <a:pt x="411" y="534"/>
                  </a:lnTo>
                  <a:lnTo>
                    <a:pt x="407" y="536"/>
                  </a:lnTo>
                  <a:lnTo>
                    <a:pt x="399" y="537"/>
                  </a:lnTo>
                  <a:lnTo>
                    <a:pt x="388" y="536"/>
                  </a:lnTo>
                  <a:lnTo>
                    <a:pt x="356" y="529"/>
                  </a:lnTo>
                  <a:lnTo>
                    <a:pt x="351" y="526"/>
                  </a:lnTo>
                  <a:lnTo>
                    <a:pt x="350" y="522"/>
                  </a:lnTo>
                  <a:lnTo>
                    <a:pt x="350" y="518"/>
                  </a:lnTo>
                  <a:lnTo>
                    <a:pt x="350" y="513"/>
                  </a:lnTo>
                  <a:lnTo>
                    <a:pt x="351" y="509"/>
                  </a:lnTo>
                  <a:lnTo>
                    <a:pt x="352" y="506"/>
                  </a:lnTo>
                  <a:lnTo>
                    <a:pt x="352" y="503"/>
                  </a:lnTo>
                  <a:lnTo>
                    <a:pt x="349" y="496"/>
                  </a:lnTo>
                  <a:lnTo>
                    <a:pt x="349" y="493"/>
                  </a:lnTo>
                  <a:lnTo>
                    <a:pt x="350" y="490"/>
                  </a:lnTo>
                  <a:lnTo>
                    <a:pt x="352" y="486"/>
                  </a:lnTo>
                  <a:lnTo>
                    <a:pt x="353" y="483"/>
                  </a:lnTo>
                  <a:lnTo>
                    <a:pt x="352" y="480"/>
                  </a:lnTo>
                  <a:lnTo>
                    <a:pt x="350" y="477"/>
                  </a:lnTo>
                  <a:lnTo>
                    <a:pt x="347" y="472"/>
                  </a:lnTo>
                  <a:lnTo>
                    <a:pt x="345" y="465"/>
                  </a:lnTo>
                  <a:lnTo>
                    <a:pt x="342" y="460"/>
                  </a:lnTo>
                  <a:lnTo>
                    <a:pt x="339" y="458"/>
                  </a:lnTo>
                  <a:lnTo>
                    <a:pt x="330" y="461"/>
                  </a:lnTo>
                  <a:lnTo>
                    <a:pt x="321" y="468"/>
                  </a:lnTo>
                  <a:lnTo>
                    <a:pt x="318" y="469"/>
                  </a:lnTo>
                  <a:lnTo>
                    <a:pt x="315" y="470"/>
                  </a:lnTo>
                  <a:lnTo>
                    <a:pt x="313" y="473"/>
                  </a:lnTo>
                  <a:lnTo>
                    <a:pt x="311" y="477"/>
                  </a:lnTo>
                  <a:lnTo>
                    <a:pt x="306" y="480"/>
                  </a:lnTo>
                  <a:lnTo>
                    <a:pt x="300" y="482"/>
                  </a:lnTo>
                  <a:lnTo>
                    <a:pt x="289" y="484"/>
                  </a:lnTo>
                  <a:lnTo>
                    <a:pt x="281" y="488"/>
                  </a:lnTo>
                  <a:lnTo>
                    <a:pt x="267" y="504"/>
                  </a:lnTo>
                  <a:lnTo>
                    <a:pt x="260" y="508"/>
                  </a:lnTo>
                  <a:lnTo>
                    <a:pt x="255" y="509"/>
                  </a:lnTo>
                  <a:lnTo>
                    <a:pt x="248" y="505"/>
                  </a:lnTo>
                  <a:lnTo>
                    <a:pt x="239" y="501"/>
                  </a:lnTo>
                  <a:lnTo>
                    <a:pt x="221" y="497"/>
                  </a:lnTo>
                  <a:lnTo>
                    <a:pt x="154" y="495"/>
                  </a:lnTo>
                  <a:lnTo>
                    <a:pt x="142" y="493"/>
                  </a:lnTo>
                  <a:lnTo>
                    <a:pt x="133" y="486"/>
                  </a:lnTo>
                  <a:lnTo>
                    <a:pt x="129" y="473"/>
                  </a:lnTo>
                  <a:lnTo>
                    <a:pt x="124" y="452"/>
                  </a:lnTo>
                  <a:lnTo>
                    <a:pt x="124" y="445"/>
                  </a:lnTo>
                  <a:lnTo>
                    <a:pt x="124" y="442"/>
                  </a:lnTo>
                  <a:lnTo>
                    <a:pt x="125" y="441"/>
                  </a:lnTo>
                  <a:lnTo>
                    <a:pt x="126" y="440"/>
                  </a:lnTo>
                  <a:lnTo>
                    <a:pt x="126" y="439"/>
                  </a:lnTo>
                  <a:lnTo>
                    <a:pt x="128" y="438"/>
                  </a:lnTo>
                  <a:lnTo>
                    <a:pt x="128" y="436"/>
                  </a:lnTo>
                  <a:lnTo>
                    <a:pt x="129" y="434"/>
                  </a:lnTo>
                  <a:lnTo>
                    <a:pt x="129" y="433"/>
                  </a:lnTo>
                  <a:lnTo>
                    <a:pt x="129" y="432"/>
                  </a:lnTo>
                  <a:lnTo>
                    <a:pt x="122" y="428"/>
                  </a:lnTo>
                  <a:lnTo>
                    <a:pt x="92" y="421"/>
                  </a:lnTo>
                  <a:lnTo>
                    <a:pt x="84" y="418"/>
                  </a:lnTo>
                  <a:lnTo>
                    <a:pt x="81" y="416"/>
                  </a:lnTo>
                  <a:lnTo>
                    <a:pt x="80" y="415"/>
                  </a:lnTo>
                  <a:lnTo>
                    <a:pt x="80" y="413"/>
                  </a:lnTo>
                  <a:lnTo>
                    <a:pt x="79" y="405"/>
                  </a:lnTo>
                  <a:lnTo>
                    <a:pt x="77" y="400"/>
                  </a:lnTo>
                  <a:lnTo>
                    <a:pt x="74" y="396"/>
                  </a:lnTo>
                  <a:lnTo>
                    <a:pt x="71" y="393"/>
                  </a:lnTo>
                  <a:lnTo>
                    <a:pt x="61" y="387"/>
                  </a:lnTo>
                  <a:lnTo>
                    <a:pt x="58" y="386"/>
                  </a:lnTo>
                  <a:lnTo>
                    <a:pt x="56" y="386"/>
                  </a:lnTo>
                  <a:lnTo>
                    <a:pt x="53" y="384"/>
                  </a:lnTo>
                  <a:lnTo>
                    <a:pt x="43" y="381"/>
                  </a:lnTo>
                  <a:lnTo>
                    <a:pt x="26" y="373"/>
                  </a:lnTo>
                  <a:lnTo>
                    <a:pt x="25" y="373"/>
                  </a:lnTo>
                  <a:lnTo>
                    <a:pt x="21" y="373"/>
                  </a:lnTo>
                  <a:lnTo>
                    <a:pt x="20" y="373"/>
                  </a:lnTo>
                  <a:lnTo>
                    <a:pt x="19" y="373"/>
                  </a:lnTo>
                  <a:lnTo>
                    <a:pt x="12" y="369"/>
                  </a:lnTo>
                  <a:lnTo>
                    <a:pt x="4" y="367"/>
                  </a:lnTo>
                  <a:lnTo>
                    <a:pt x="2" y="366"/>
                  </a:lnTo>
                  <a:lnTo>
                    <a:pt x="0" y="365"/>
                  </a:lnTo>
                  <a:lnTo>
                    <a:pt x="0" y="364"/>
                  </a:lnTo>
                  <a:lnTo>
                    <a:pt x="0" y="363"/>
                  </a:lnTo>
                  <a:lnTo>
                    <a:pt x="0" y="363"/>
                  </a:lnTo>
                  <a:lnTo>
                    <a:pt x="17" y="335"/>
                  </a:lnTo>
                  <a:lnTo>
                    <a:pt x="40" y="310"/>
                  </a:lnTo>
                  <a:lnTo>
                    <a:pt x="49" y="303"/>
                  </a:lnTo>
                  <a:lnTo>
                    <a:pt x="53" y="302"/>
                  </a:lnTo>
                  <a:lnTo>
                    <a:pt x="56" y="301"/>
                  </a:lnTo>
                  <a:lnTo>
                    <a:pt x="59" y="299"/>
                  </a:lnTo>
                  <a:lnTo>
                    <a:pt x="61" y="298"/>
                  </a:lnTo>
                  <a:lnTo>
                    <a:pt x="65" y="293"/>
                  </a:lnTo>
                  <a:lnTo>
                    <a:pt x="78" y="276"/>
                  </a:lnTo>
                  <a:lnTo>
                    <a:pt x="85" y="266"/>
                  </a:lnTo>
                  <a:lnTo>
                    <a:pt x="88" y="264"/>
                  </a:lnTo>
                  <a:lnTo>
                    <a:pt x="91" y="262"/>
                  </a:lnTo>
                  <a:lnTo>
                    <a:pt x="91" y="260"/>
                  </a:lnTo>
                  <a:lnTo>
                    <a:pt x="90" y="258"/>
                  </a:lnTo>
                  <a:lnTo>
                    <a:pt x="87" y="257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3" y="256"/>
                  </a:lnTo>
                  <a:lnTo>
                    <a:pt x="82" y="254"/>
                  </a:lnTo>
                  <a:lnTo>
                    <a:pt x="81" y="253"/>
                  </a:lnTo>
                  <a:lnTo>
                    <a:pt x="80" y="252"/>
                  </a:lnTo>
                  <a:lnTo>
                    <a:pt x="79" y="251"/>
                  </a:lnTo>
                  <a:lnTo>
                    <a:pt x="79" y="247"/>
                  </a:lnTo>
                  <a:lnTo>
                    <a:pt x="83" y="238"/>
                  </a:lnTo>
                  <a:lnTo>
                    <a:pt x="105" y="211"/>
                  </a:lnTo>
                  <a:lnTo>
                    <a:pt x="120" y="194"/>
                  </a:lnTo>
                  <a:lnTo>
                    <a:pt x="122" y="186"/>
                  </a:lnTo>
                  <a:lnTo>
                    <a:pt x="121" y="178"/>
                  </a:lnTo>
                  <a:lnTo>
                    <a:pt x="120" y="171"/>
                  </a:lnTo>
                  <a:lnTo>
                    <a:pt x="121" y="159"/>
                  </a:lnTo>
                  <a:lnTo>
                    <a:pt x="125" y="152"/>
                  </a:lnTo>
                  <a:lnTo>
                    <a:pt x="131" y="142"/>
                  </a:lnTo>
                  <a:lnTo>
                    <a:pt x="177" y="83"/>
                  </a:lnTo>
                  <a:lnTo>
                    <a:pt x="182" y="78"/>
                  </a:lnTo>
                  <a:lnTo>
                    <a:pt x="208" y="59"/>
                  </a:lnTo>
                  <a:lnTo>
                    <a:pt x="212" y="55"/>
                  </a:lnTo>
                  <a:lnTo>
                    <a:pt x="214" y="51"/>
                  </a:lnTo>
                  <a:lnTo>
                    <a:pt x="214" y="49"/>
                  </a:lnTo>
                  <a:lnTo>
                    <a:pt x="213" y="45"/>
                  </a:lnTo>
                  <a:lnTo>
                    <a:pt x="211" y="42"/>
                  </a:lnTo>
                  <a:lnTo>
                    <a:pt x="209" y="39"/>
                  </a:lnTo>
                  <a:lnTo>
                    <a:pt x="201" y="32"/>
                  </a:lnTo>
                  <a:lnTo>
                    <a:pt x="199" y="29"/>
                  </a:lnTo>
                  <a:lnTo>
                    <a:pt x="198" y="25"/>
                  </a:lnTo>
                  <a:lnTo>
                    <a:pt x="199" y="18"/>
                  </a:lnTo>
                  <a:lnTo>
                    <a:pt x="201" y="15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11" y="13"/>
                  </a:lnTo>
                  <a:lnTo>
                    <a:pt x="216" y="14"/>
                  </a:lnTo>
                  <a:lnTo>
                    <a:pt x="227" y="17"/>
                  </a:lnTo>
                  <a:lnTo>
                    <a:pt x="233" y="18"/>
                  </a:lnTo>
                  <a:lnTo>
                    <a:pt x="251" y="18"/>
                  </a:lnTo>
                  <a:lnTo>
                    <a:pt x="254" y="18"/>
                  </a:lnTo>
                  <a:lnTo>
                    <a:pt x="268" y="24"/>
                  </a:lnTo>
                  <a:lnTo>
                    <a:pt x="279" y="21"/>
                  </a:lnTo>
                  <a:lnTo>
                    <a:pt x="303" y="3"/>
                  </a:lnTo>
                  <a:lnTo>
                    <a:pt x="305" y="0"/>
                  </a:lnTo>
                  <a:lnTo>
                    <a:pt x="308" y="0"/>
                  </a:lnTo>
                  <a:lnTo>
                    <a:pt x="337" y="6"/>
                  </a:lnTo>
                  <a:lnTo>
                    <a:pt x="345" y="39"/>
                  </a:lnTo>
                  <a:lnTo>
                    <a:pt x="350" y="109"/>
                  </a:lnTo>
                  <a:lnTo>
                    <a:pt x="356" y="132"/>
                  </a:lnTo>
                  <a:lnTo>
                    <a:pt x="358" y="152"/>
                  </a:lnTo>
                  <a:lnTo>
                    <a:pt x="366" y="169"/>
                  </a:lnTo>
                  <a:lnTo>
                    <a:pt x="383" y="183"/>
                  </a:lnTo>
                  <a:lnTo>
                    <a:pt x="407" y="192"/>
                  </a:lnTo>
                  <a:lnTo>
                    <a:pt x="479" y="206"/>
                  </a:lnTo>
                  <a:lnTo>
                    <a:pt x="490" y="210"/>
                  </a:lnTo>
                  <a:lnTo>
                    <a:pt x="500" y="215"/>
                  </a:lnTo>
                  <a:lnTo>
                    <a:pt x="511" y="21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98ACB7D8-CDEB-0139-B04E-B7C87DBCE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811" y="3292206"/>
              <a:ext cx="786931" cy="861946"/>
            </a:xfrm>
            <a:custGeom>
              <a:avLst/>
              <a:gdLst>
                <a:gd name="T0" fmla="*/ 339 w 535"/>
                <a:gd name="T1" fmla="*/ 153 h 586"/>
                <a:gd name="T2" fmla="*/ 393 w 535"/>
                <a:gd name="T3" fmla="*/ 205 h 586"/>
                <a:gd name="T4" fmla="*/ 485 w 535"/>
                <a:gd name="T5" fmla="*/ 242 h 586"/>
                <a:gd name="T6" fmla="*/ 535 w 535"/>
                <a:gd name="T7" fmla="*/ 305 h 586"/>
                <a:gd name="T8" fmla="*/ 523 w 535"/>
                <a:gd name="T9" fmla="*/ 432 h 586"/>
                <a:gd name="T10" fmla="*/ 460 w 535"/>
                <a:gd name="T11" fmla="*/ 496 h 586"/>
                <a:gd name="T12" fmla="*/ 363 w 535"/>
                <a:gd name="T13" fmla="*/ 540 h 586"/>
                <a:gd name="T14" fmla="*/ 293 w 535"/>
                <a:gd name="T15" fmla="*/ 561 h 586"/>
                <a:gd name="T16" fmla="*/ 217 w 535"/>
                <a:gd name="T17" fmla="*/ 502 h 586"/>
                <a:gd name="T18" fmla="*/ 175 w 535"/>
                <a:gd name="T19" fmla="*/ 493 h 586"/>
                <a:gd name="T20" fmla="*/ 128 w 535"/>
                <a:gd name="T21" fmla="*/ 476 h 586"/>
                <a:gd name="T22" fmla="*/ 85 w 535"/>
                <a:gd name="T23" fmla="*/ 446 h 586"/>
                <a:gd name="T24" fmla="*/ 67 w 535"/>
                <a:gd name="T25" fmla="*/ 445 h 586"/>
                <a:gd name="T26" fmla="*/ 57 w 535"/>
                <a:gd name="T27" fmla="*/ 415 h 586"/>
                <a:gd name="T28" fmla="*/ 41 w 535"/>
                <a:gd name="T29" fmla="*/ 390 h 586"/>
                <a:gd name="T30" fmla="*/ 7 w 535"/>
                <a:gd name="T31" fmla="*/ 360 h 586"/>
                <a:gd name="T32" fmla="*/ 1 w 535"/>
                <a:gd name="T33" fmla="*/ 349 h 586"/>
                <a:gd name="T34" fmla="*/ 3 w 535"/>
                <a:gd name="T35" fmla="*/ 340 h 586"/>
                <a:gd name="T36" fmla="*/ 11 w 535"/>
                <a:gd name="T37" fmla="*/ 344 h 586"/>
                <a:gd name="T38" fmla="*/ 14 w 535"/>
                <a:gd name="T39" fmla="*/ 349 h 586"/>
                <a:gd name="T40" fmla="*/ 39 w 535"/>
                <a:gd name="T41" fmla="*/ 354 h 586"/>
                <a:gd name="T42" fmla="*/ 46 w 535"/>
                <a:gd name="T43" fmla="*/ 367 h 586"/>
                <a:gd name="T44" fmla="*/ 71 w 535"/>
                <a:gd name="T45" fmla="*/ 375 h 586"/>
                <a:gd name="T46" fmla="*/ 130 w 535"/>
                <a:gd name="T47" fmla="*/ 340 h 586"/>
                <a:gd name="T48" fmla="*/ 180 w 535"/>
                <a:gd name="T49" fmla="*/ 299 h 586"/>
                <a:gd name="T50" fmla="*/ 175 w 535"/>
                <a:gd name="T51" fmla="*/ 240 h 586"/>
                <a:gd name="T52" fmla="*/ 168 w 535"/>
                <a:gd name="T53" fmla="*/ 213 h 586"/>
                <a:gd name="T54" fmla="*/ 178 w 535"/>
                <a:gd name="T55" fmla="*/ 205 h 586"/>
                <a:gd name="T56" fmla="*/ 189 w 535"/>
                <a:gd name="T57" fmla="*/ 184 h 586"/>
                <a:gd name="T58" fmla="*/ 169 w 535"/>
                <a:gd name="T59" fmla="*/ 95 h 586"/>
                <a:gd name="T60" fmla="*/ 155 w 535"/>
                <a:gd name="T61" fmla="*/ 55 h 586"/>
                <a:gd name="T62" fmla="*/ 143 w 535"/>
                <a:gd name="T63" fmla="*/ 36 h 586"/>
                <a:gd name="T64" fmla="*/ 131 w 535"/>
                <a:gd name="T65" fmla="*/ 15 h 586"/>
                <a:gd name="T66" fmla="*/ 148 w 535"/>
                <a:gd name="T67" fmla="*/ 10 h 586"/>
                <a:gd name="T68" fmla="*/ 166 w 535"/>
                <a:gd name="T69" fmla="*/ 11 h 586"/>
                <a:gd name="T70" fmla="*/ 223 w 535"/>
                <a:gd name="T71" fmla="*/ 11 h 586"/>
                <a:gd name="T72" fmla="*/ 260 w 535"/>
                <a:gd name="T73" fmla="*/ 0 h 586"/>
                <a:gd name="T74" fmla="*/ 291 w 535"/>
                <a:gd name="T75" fmla="*/ 3 h 586"/>
                <a:gd name="T76" fmla="*/ 304 w 535"/>
                <a:gd name="T77" fmla="*/ 13 h 586"/>
                <a:gd name="T78" fmla="*/ 303 w 535"/>
                <a:gd name="T79" fmla="*/ 24 h 586"/>
                <a:gd name="T80" fmla="*/ 313 w 535"/>
                <a:gd name="T81" fmla="*/ 37 h 586"/>
                <a:gd name="T82" fmla="*/ 317 w 535"/>
                <a:gd name="T83" fmla="*/ 48 h 586"/>
                <a:gd name="T84" fmla="*/ 313 w 535"/>
                <a:gd name="T85" fmla="*/ 72 h 586"/>
                <a:gd name="T86" fmla="*/ 303 w 535"/>
                <a:gd name="T87" fmla="*/ 89 h 586"/>
                <a:gd name="T88" fmla="*/ 301 w 535"/>
                <a:gd name="T89" fmla="*/ 102 h 586"/>
                <a:gd name="T90" fmla="*/ 309 w 535"/>
                <a:gd name="T91" fmla="*/ 115 h 586"/>
                <a:gd name="T92" fmla="*/ 332 w 535"/>
                <a:gd name="T93" fmla="*/ 12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5" h="586">
                  <a:moveTo>
                    <a:pt x="332" y="124"/>
                  </a:moveTo>
                  <a:lnTo>
                    <a:pt x="339" y="153"/>
                  </a:lnTo>
                  <a:lnTo>
                    <a:pt x="358" y="185"/>
                  </a:lnTo>
                  <a:lnTo>
                    <a:pt x="393" y="205"/>
                  </a:lnTo>
                  <a:lnTo>
                    <a:pt x="445" y="218"/>
                  </a:lnTo>
                  <a:lnTo>
                    <a:pt x="485" y="242"/>
                  </a:lnTo>
                  <a:lnTo>
                    <a:pt x="509" y="265"/>
                  </a:lnTo>
                  <a:lnTo>
                    <a:pt x="535" y="305"/>
                  </a:lnTo>
                  <a:lnTo>
                    <a:pt x="534" y="363"/>
                  </a:lnTo>
                  <a:lnTo>
                    <a:pt x="523" y="432"/>
                  </a:lnTo>
                  <a:lnTo>
                    <a:pt x="493" y="477"/>
                  </a:lnTo>
                  <a:lnTo>
                    <a:pt x="460" y="496"/>
                  </a:lnTo>
                  <a:lnTo>
                    <a:pt x="403" y="510"/>
                  </a:lnTo>
                  <a:lnTo>
                    <a:pt x="363" y="540"/>
                  </a:lnTo>
                  <a:lnTo>
                    <a:pt x="315" y="586"/>
                  </a:lnTo>
                  <a:lnTo>
                    <a:pt x="293" y="561"/>
                  </a:lnTo>
                  <a:lnTo>
                    <a:pt x="238" y="510"/>
                  </a:lnTo>
                  <a:lnTo>
                    <a:pt x="217" y="502"/>
                  </a:lnTo>
                  <a:lnTo>
                    <a:pt x="197" y="493"/>
                  </a:lnTo>
                  <a:lnTo>
                    <a:pt x="175" y="493"/>
                  </a:lnTo>
                  <a:lnTo>
                    <a:pt x="141" y="482"/>
                  </a:lnTo>
                  <a:lnTo>
                    <a:pt x="128" y="476"/>
                  </a:lnTo>
                  <a:lnTo>
                    <a:pt x="100" y="451"/>
                  </a:lnTo>
                  <a:lnTo>
                    <a:pt x="85" y="446"/>
                  </a:lnTo>
                  <a:lnTo>
                    <a:pt x="75" y="446"/>
                  </a:lnTo>
                  <a:lnTo>
                    <a:pt x="67" y="445"/>
                  </a:lnTo>
                  <a:lnTo>
                    <a:pt x="62" y="438"/>
                  </a:lnTo>
                  <a:lnTo>
                    <a:pt x="57" y="415"/>
                  </a:lnTo>
                  <a:lnTo>
                    <a:pt x="52" y="406"/>
                  </a:lnTo>
                  <a:lnTo>
                    <a:pt x="41" y="390"/>
                  </a:lnTo>
                  <a:lnTo>
                    <a:pt x="32" y="381"/>
                  </a:lnTo>
                  <a:lnTo>
                    <a:pt x="7" y="360"/>
                  </a:lnTo>
                  <a:lnTo>
                    <a:pt x="4" y="356"/>
                  </a:lnTo>
                  <a:lnTo>
                    <a:pt x="1" y="349"/>
                  </a:lnTo>
                  <a:lnTo>
                    <a:pt x="0" y="343"/>
                  </a:lnTo>
                  <a:lnTo>
                    <a:pt x="3" y="340"/>
                  </a:lnTo>
                  <a:lnTo>
                    <a:pt x="7" y="341"/>
                  </a:lnTo>
                  <a:lnTo>
                    <a:pt x="11" y="344"/>
                  </a:lnTo>
                  <a:lnTo>
                    <a:pt x="12" y="347"/>
                  </a:lnTo>
                  <a:lnTo>
                    <a:pt x="14" y="349"/>
                  </a:lnTo>
                  <a:lnTo>
                    <a:pt x="31" y="353"/>
                  </a:lnTo>
                  <a:lnTo>
                    <a:pt x="39" y="354"/>
                  </a:lnTo>
                  <a:lnTo>
                    <a:pt x="42" y="356"/>
                  </a:lnTo>
                  <a:lnTo>
                    <a:pt x="46" y="367"/>
                  </a:lnTo>
                  <a:lnTo>
                    <a:pt x="55" y="376"/>
                  </a:lnTo>
                  <a:lnTo>
                    <a:pt x="71" y="375"/>
                  </a:lnTo>
                  <a:lnTo>
                    <a:pt x="95" y="367"/>
                  </a:lnTo>
                  <a:lnTo>
                    <a:pt x="130" y="340"/>
                  </a:lnTo>
                  <a:lnTo>
                    <a:pt x="156" y="327"/>
                  </a:lnTo>
                  <a:lnTo>
                    <a:pt x="180" y="299"/>
                  </a:lnTo>
                  <a:lnTo>
                    <a:pt x="184" y="260"/>
                  </a:lnTo>
                  <a:lnTo>
                    <a:pt x="175" y="240"/>
                  </a:lnTo>
                  <a:lnTo>
                    <a:pt x="170" y="219"/>
                  </a:lnTo>
                  <a:lnTo>
                    <a:pt x="168" y="213"/>
                  </a:lnTo>
                  <a:lnTo>
                    <a:pt x="171" y="206"/>
                  </a:lnTo>
                  <a:lnTo>
                    <a:pt x="178" y="205"/>
                  </a:lnTo>
                  <a:lnTo>
                    <a:pt x="187" y="200"/>
                  </a:lnTo>
                  <a:lnTo>
                    <a:pt x="189" y="184"/>
                  </a:lnTo>
                  <a:lnTo>
                    <a:pt x="187" y="166"/>
                  </a:lnTo>
                  <a:lnTo>
                    <a:pt x="169" y="95"/>
                  </a:lnTo>
                  <a:lnTo>
                    <a:pt x="159" y="67"/>
                  </a:lnTo>
                  <a:lnTo>
                    <a:pt x="155" y="55"/>
                  </a:lnTo>
                  <a:lnTo>
                    <a:pt x="148" y="45"/>
                  </a:lnTo>
                  <a:lnTo>
                    <a:pt x="143" y="36"/>
                  </a:lnTo>
                  <a:lnTo>
                    <a:pt x="134" y="2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48" y="10"/>
                  </a:lnTo>
                  <a:lnTo>
                    <a:pt x="161" y="12"/>
                  </a:lnTo>
                  <a:lnTo>
                    <a:pt x="166" y="11"/>
                  </a:lnTo>
                  <a:lnTo>
                    <a:pt x="175" y="8"/>
                  </a:lnTo>
                  <a:lnTo>
                    <a:pt x="223" y="11"/>
                  </a:lnTo>
                  <a:lnTo>
                    <a:pt x="236" y="8"/>
                  </a:lnTo>
                  <a:lnTo>
                    <a:pt x="260" y="0"/>
                  </a:lnTo>
                  <a:lnTo>
                    <a:pt x="272" y="0"/>
                  </a:lnTo>
                  <a:lnTo>
                    <a:pt x="291" y="3"/>
                  </a:lnTo>
                  <a:lnTo>
                    <a:pt x="301" y="8"/>
                  </a:lnTo>
                  <a:lnTo>
                    <a:pt x="304" y="13"/>
                  </a:lnTo>
                  <a:lnTo>
                    <a:pt x="303" y="20"/>
                  </a:lnTo>
                  <a:lnTo>
                    <a:pt x="303" y="24"/>
                  </a:lnTo>
                  <a:lnTo>
                    <a:pt x="304" y="29"/>
                  </a:lnTo>
                  <a:lnTo>
                    <a:pt x="313" y="37"/>
                  </a:lnTo>
                  <a:lnTo>
                    <a:pt x="316" y="42"/>
                  </a:lnTo>
                  <a:lnTo>
                    <a:pt x="317" y="48"/>
                  </a:lnTo>
                  <a:lnTo>
                    <a:pt x="314" y="68"/>
                  </a:lnTo>
                  <a:lnTo>
                    <a:pt x="313" y="72"/>
                  </a:lnTo>
                  <a:lnTo>
                    <a:pt x="305" y="84"/>
                  </a:lnTo>
                  <a:lnTo>
                    <a:pt x="303" y="89"/>
                  </a:lnTo>
                  <a:lnTo>
                    <a:pt x="301" y="96"/>
                  </a:lnTo>
                  <a:lnTo>
                    <a:pt x="301" y="102"/>
                  </a:lnTo>
                  <a:lnTo>
                    <a:pt x="302" y="108"/>
                  </a:lnTo>
                  <a:lnTo>
                    <a:pt x="309" y="115"/>
                  </a:lnTo>
                  <a:lnTo>
                    <a:pt x="318" y="121"/>
                  </a:lnTo>
                  <a:lnTo>
                    <a:pt x="332" y="12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AB0D9ECF-28EC-2D41-BE13-020C67D2A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2927" y="1616853"/>
              <a:ext cx="848708" cy="731036"/>
            </a:xfrm>
            <a:custGeom>
              <a:avLst/>
              <a:gdLst>
                <a:gd name="T0" fmla="*/ 479 w 577"/>
                <a:gd name="T1" fmla="*/ 102 h 497"/>
                <a:gd name="T2" fmla="*/ 565 w 577"/>
                <a:gd name="T3" fmla="*/ 222 h 497"/>
                <a:gd name="T4" fmla="*/ 455 w 577"/>
                <a:gd name="T5" fmla="*/ 263 h 497"/>
                <a:gd name="T6" fmla="*/ 449 w 577"/>
                <a:gd name="T7" fmla="*/ 270 h 497"/>
                <a:gd name="T8" fmla="*/ 435 w 577"/>
                <a:gd name="T9" fmla="*/ 276 h 497"/>
                <a:gd name="T10" fmla="*/ 428 w 577"/>
                <a:gd name="T11" fmla="*/ 291 h 497"/>
                <a:gd name="T12" fmla="*/ 422 w 577"/>
                <a:gd name="T13" fmla="*/ 301 h 497"/>
                <a:gd name="T14" fmla="*/ 404 w 577"/>
                <a:gd name="T15" fmla="*/ 311 h 497"/>
                <a:gd name="T16" fmla="*/ 388 w 577"/>
                <a:gd name="T17" fmla="*/ 345 h 497"/>
                <a:gd name="T18" fmla="*/ 386 w 577"/>
                <a:gd name="T19" fmla="*/ 355 h 497"/>
                <a:gd name="T20" fmla="*/ 406 w 577"/>
                <a:gd name="T21" fmla="*/ 367 h 497"/>
                <a:gd name="T22" fmla="*/ 413 w 577"/>
                <a:gd name="T23" fmla="*/ 383 h 497"/>
                <a:gd name="T24" fmla="*/ 406 w 577"/>
                <a:gd name="T25" fmla="*/ 391 h 497"/>
                <a:gd name="T26" fmla="*/ 390 w 577"/>
                <a:gd name="T27" fmla="*/ 399 h 497"/>
                <a:gd name="T28" fmla="*/ 382 w 577"/>
                <a:gd name="T29" fmla="*/ 419 h 497"/>
                <a:gd name="T30" fmla="*/ 365 w 577"/>
                <a:gd name="T31" fmla="*/ 420 h 497"/>
                <a:gd name="T32" fmla="*/ 348 w 577"/>
                <a:gd name="T33" fmla="*/ 400 h 497"/>
                <a:gd name="T34" fmla="*/ 319 w 577"/>
                <a:gd name="T35" fmla="*/ 403 h 497"/>
                <a:gd name="T36" fmla="*/ 244 w 577"/>
                <a:gd name="T37" fmla="*/ 465 h 497"/>
                <a:gd name="T38" fmla="*/ 219 w 577"/>
                <a:gd name="T39" fmla="*/ 489 h 497"/>
                <a:gd name="T40" fmla="*/ 195 w 577"/>
                <a:gd name="T41" fmla="*/ 497 h 497"/>
                <a:gd name="T42" fmla="*/ 172 w 577"/>
                <a:gd name="T43" fmla="*/ 487 h 497"/>
                <a:gd name="T44" fmla="*/ 165 w 577"/>
                <a:gd name="T45" fmla="*/ 470 h 497"/>
                <a:gd name="T46" fmla="*/ 175 w 577"/>
                <a:gd name="T47" fmla="*/ 447 h 497"/>
                <a:gd name="T48" fmla="*/ 167 w 577"/>
                <a:gd name="T49" fmla="*/ 417 h 497"/>
                <a:gd name="T50" fmla="*/ 178 w 577"/>
                <a:gd name="T51" fmla="*/ 402 h 497"/>
                <a:gd name="T52" fmla="*/ 120 w 577"/>
                <a:gd name="T53" fmla="*/ 397 h 497"/>
                <a:gd name="T54" fmla="*/ 97 w 577"/>
                <a:gd name="T55" fmla="*/ 380 h 497"/>
                <a:gd name="T56" fmla="*/ 107 w 577"/>
                <a:gd name="T57" fmla="*/ 340 h 497"/>
                <a:gd name="T58" fmla="*/ 135 w 577"/>
                <a:gd name="T59" fmla="*/ 287 h 497"/>
                <a:gd name="T60" fmla="*/ 128 w 577"/>
                <a:gd name="T61" fmla="*/ 150 h 497"/>
                <a:gd name="T62" fmla="*/ 107 w 577"/>
                <a:gd name="T63" fmla="*/ 149 h 497"/>
                <a:gd name="T64" fmla="*/ 74 w 577"/>
                <a:gd name="T65" fmla="*/ 139 h 497"/>
                <a:gd name="T66" fmla="*/ 35 w 577"/>
                <a:gd name="T67" fmla="*/ 97 h 497"/>
                <a:gd name="T68" fmla="*/ 17 w 577"/>
                <a:gd name="T69" fmla="*/ 84 h 497"/>
                <a:gd name="T70" fmla="*/ 3 w 577"/>
                <a:gd name="T71" fmla="*/ 71 h 497"/>
                <a:gd name="T72" fmla="*/ 3 w 577"/>
                <a:gd name="T73" fmla="*/ 45 h 497"/>
                <a:gd name="T74" fmla="*/ 36 w 577"/>
                <a:gd name="T75" fmla="*/ 43 h 497"/>
                <a:gd name="T76" fmla="*/ 103 w 577"/>
                <a:gd name="T77" fmla="*/ 56 h 497"/>
                <a:gd name="T78" fmla="*/ 116 w 577"/>
                <a:gd name="T79" fmla="*/ 63 h 497"/>
                <a:gd name="T80" fmla="*/ 124 w 577"/>
                <a:gd name="T81" fmla="*/ 57 h 497"/>
                <a:gd name="T82" fmla="*/ 121 w 577"/>
                <a:gd name="T83" fmla="*/ 49 h 497"/>
                <a:gd name="T84" fmla="*/ 115 w 577"/>
                <a:gd name="T85" fmla="*/ 49 h 497"/>
                <a:gd name="T86" fmla="*/ 104 w 577"/>
                <a:gd name="T87" fmla="*/ 34 h 497"/>
                <a:gd name="T88" fmla="*/ 123 w 577"/>
                <a:gd name="T89" fmla="*/ 23 h 497"/>
                <a:gd name="T90" fmla="*/ 160 w 577"/>
                <a:gd name="T91" fmla="*/ 6 h 497"/>
                <a:gd name="T92" fmla="*/ 335 w 577"/>
                <a:gd name="T93" fmla="*/ 3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7" h="497">
                  <a:moveTo>
                    <a:pt x="339" y="85"/>
                  </a:moveTo>
                  <a:lnTo>
                    <a:pt x="459" y="81"/>
                  </a:lnTo>
                  <a:lnTo>
                    <a:pt x="479" y="102"/>
                  </a:lnTo>
                  <a:lnTo>
                    <a:pt x="543" y="136"/>
                  </a:lnTo>
                  <a:lnTo>
                    <a:pt x="577" y="174"/>
                  </a:lnTo>
                  <a:lnTo>
                    <a:pt x="565" y="222"/>
                  </a:lnTo>
                  <a:lnTo>
                    <a:pt x="479" y="229"/>
                  </a:lnTo>
                  <a:lnTo>
                    <a:pt x="460" y="262"/>
                  </a:lnTo>
                  <a:lnTo>
                    <a:pt x="455" y="263"/>
                  </a:lnTo>
                  <a:lnTo>
                    <a:pt x="453" y="265"/>
                  </a:lnTo>
                  <a:lnTo>
                    <a:pt x="451" y="267"/>
                  </a:lnTo>
                  <a:lnTo>
                    <a:pt x="449" y="270"/>
                  </a:lnTo>
                  <a:lnTo>
                    <a:pt x="441" y="272"/>
                  </a:lnTo>
                  <a:lnTo>
                    <a:pt x="438" y="273"/>
                  </a:lnTo>
                  <a:lnTo>
                    <a:pt x="435" y="276"/>
                  </a:lnTo>
                  <a:lnTo>
                    <a:pt x="432" y="280"/>
                  </a:lnTo>
                  <a:lnTo>
                    <a:pt x="429" y="286"/>
                  </a:lnTo>
                  <a:lnTo>
                    <a:pt x="428" y="291"/>
                  </a:lnTo>
                  <a:lnTo>
                    <a:pt x="427" y="295"/>
                  </a:lnTo>
                  <a:lnTo>
                    <a:pt x="425" y="299"/>
                  </a:lnTo>
                  <a:lnTo>
                    <a:pt x="422" y="301"/>
                  </a:lnTo>
                  <a:lnTo>
                    <a:pt x="411" y="306"/>
                  </a:lnTo>
                  <a:lnTo>
                    <a:pt x="408" y="307"/>
                  </a:lnTo>
                  <a:lnTo>
                    <a:pt x="404" y="311"/>
                  </a:lnTo>
                  <a:lnTo>
                    <a:pt x="402" y="315"/>
                  </a:lnTo>
                  <a:lnTo>
                    <a:pt x="394" y="334"/>
                  </a:lnTo>
                  <a:lnTo>
                    <a:pt x="388" y="345"/>
                  </a:lnTo>
                  <a:lnTo>
                    <a:pt x="385" y="348"/>
                  </a:lnTo>
                  <a:lnTo>
                    <a:pt x="384" y="352"/>
                  </a:lnTo>
                  <a:lnTo>
                    <a:pt x="386" y="355"/>
                  </a:lnTo>
                  <a:lnTo>
                    <a:pt x="389" y="358"/>
                  </a:lnTo>
                  <a:lnTo>
                    <a:pt x="401" y="363"/>
                  </a:lnTo>
                  <a:lnTo>
                    <a:pt x="406" y="367"/>
                  </a:lnTo>
                  <a:lnTo>
                    <a:pt x="409" y="372"/>
                  </a:lnTo>
                  <a:lnTo>
                    <a:pt x="411" y="378"/>
                  </a:lnTo>
                  <a:lnTo>
                    <a:pt x="413" y="383"/>
                  </a:lnTo>
                  <a:lnTo>
                    <a:pt x="413" y="386"/>
                  </a:lnTo>
                  <a:lnTo>
                    <a:pt x="410" y="389"/>
                  </a:lnTo>
                  <a:lnTo>
                    <a:pt x="406" y="391"/>
                  </a:lnTo>
                  <a:lnTo>
                    <a:pt x="398" y="394"/>
                  </a:lnTo>
                  <a:lnTo>
                    <a:pt x="394" y="396"/>
                  </a:lnTo>
                  <a:lnTo>
                    <a:pt x="390" y="399"/>
                  </a:lnTo>
                  <a:lnTo>
                    <a:pt x="388" y="409"/>
                  </a:lnTo>
                  <a:lnTo>
                    <a:pt x="386" y="415"/>
                  </a:lnTo>
                  <a:lnTo>
                    <a:pt x="382" y="419"/>
                  </a:lnTo>
                  <a:lnTo>
                    <a:pt x="375" y="422"/>
                  </a:lnTo>
                  <a:lnTo>
                    <a:pt x="370" y="422"/>
                  </a:lnTo>
                  <a:lnTo>
                    <a:pt x="365" y="420"/>
                  </a:lnTo>
                  <a:lnTo>
                    <a:pt x="361" y="418"/>
                  </a:lnTo>
                  <a:lnTo>
                    <a:pt x="359" y="416"/>
                  </a:lnTo>
                  <a:lnTo>
                    <a:pt x="348" y="400"/>
                  </a:lnTo>
                  <a:lnTo>
                    <a:pt x="336" y="396"/>
                  </a:lnTo>
                  <a:lnTo>
                    <a:pt x="330" y="396"/>
                  </a:lnTo>
                  <a:lnTo>
                    <a:pt x="319" y="403"/>
                  </a:lnTo>
                  <a:lnTo>
                    <a:pt x="269" y="451"/>
                  </a:lnTo>
                  <a:lnTo>
                    <a:pt x="261" y="457"/>
                  </a:lnTo>
                  <a:lnTo>
                    <a:pt x="244" y="465"/>
                  </a:lnTo>
                  <a:lnTo>
                    <a:pt x="235" y="472"/>
                  </a:lnTo>
                  <a:lnTo>
                    <a:pt x="227" y="481"/>
                  </a:lnTo>
                  <a:lnTo>
                    <a:pt x="219" y="489"/>
                  </a:lnTo>
                  <a:lnTo>
                    <a:pt x="213" y="494"/>
                  </a:lnTo>
                  <a:lnTo>
                    <a:pt x="204" y="496"/>
                  </a:lnTo>
                  <a:lnTo>
                    <a:pt x="195" y="497"/>
                  </a:lnTo>
                  <a:lnTo>
                    <a:pt x="187" y="495"/>
                  </a:lnTo>
                  <a:lnTo>
                    <a:pt x="178" y="491"/>
                  </a:lnTo>
                  <a:lnTo>
                    <a:pt x="172" y="487"/>
                  </a:lnTo>
                  <a:lnTo>
                    <a:pt x="168" y="482"/>
                  </a:lnTo>
                  <a:lnTo>
                    <a:pt x="167" y="476"/>
                  </a:lnTo>
                  <a:lnTo>
                    <a:pt x="165" y="470"/>
                  </a:lnTo>
                  <a:lnTo>
                    <a:pt x="167" y="463"/>
                  </a:lnTo>
                  <a:lnTo>
                    <a:pt x="172" y="455"/>
                  </a:lnTo>
                  <a:lnTo>
                    <a:pt x="175" y="447"/>
                  </a:lnTo>
                  <a:lnTo>
                    <a:pt x="173" y="437"/>
                  </a:lnTo>
                  <a:lnTo>
                    <a:pt x="169" y="426"/>
                  </a:lnTo>
                  <a:lnTo>
                    <a:pt x="167" y="417"/>
                  </a:lnTo>
                  <a:lnTo>
                    <a:pt x="170" y="410"/>
                  </a:lnTo>
                  <a:lnTo>
                    <a:pt x="175" y="406"/>
                  </a:lnTo>
                  <a:lnTo>
                    <a:pt x="178" y="402"/>
                  </a:lnTo>
                  <a:lnTo>
                    <a:pt x="172" y="398"/>
                  </a:lnTo>
                  <a:lnTo>
                    <a:pt x="156" y="396"/>
                  </a:lnTo>
                  <a:lnTo>
                    <a:pt x="120" y="397"/>
                  </a:lnTo>
                  <a:lnTo>
                    <a:pt x="105" y="395"/>
                  </a:lnTo>
                  <a:lnTo>
                    <a:pt x="85" y="395"/>
                  </a:lnTo>
                  <a:lnTo>
                    <a:pt x="97" y="380"/>
                  </a:lnTo>
                  <a:lnTo>
                    <a:pt x="104" y="360"/>
                  </a:lnTo>
                  <a:lnTo>
                    <a:pt x="105" y="355"/>
                  </a:lnTo>
                  <a:lnTo>
                    <a:pt x="107" y="340"/>
                  </a:lnTo>
                  <a:lnTo>
                    <a:pt x="128" y="307"/>
                  </a:lnTo>
                  <a:lnTo>
                    <a:pt x="133" y="298"/>
                  </a:lnTo>
                  <a:lnTo>
                    <a:pt x="135" y="287"/>
                  </a:lnTo>
                  <a:lnTo>
                    <a:pt x="130" y="168"/>
                  </a:lnTo>
                  <a:lnTo>
                    <a:pt x="131" y="157"/>
                  </a:lnTo>
                  <a:lnTo>
                    <a:pt x="128" y="150"/>
                  </a:lnTo>
                  <a:lnTo>
                    <a:pt x="122" y="148"/>
                  </a:lnTo>
                  <a:lnTo>
                    <a:pt x="117" y="148"/>
                  </a:lnTo>
                  <a:lnTo>
                    <a:pt x="107" y="149"/>
                  </a:lnTo>
                  <a:lnTo>
                    <a:pt x="102" y="148"/>
                  </a:lnTo>
                  <a:lnTo>
                    <a:pt x="78" y="141"/>
                  </a:lnTo>
                  <a:lnTo>
                    <a:pt x="74" y="139"/>
                  </a:lnTo>
                  <a:lnTo>
                    <a:pt x="57" y="123"/>
                  </a:lnTo>
                  <a:lnTo>
                    <a:pt x="39" y="101"/>
                  </a:lnTo>
                  <a:lnTo>
                    <a:pt x="35" y="97"/>
                  </a:lnTo>
                  <a:lnTo>
                    <a:pt x="26" y="92"/>
                  </a:lnTo>
                  <a:lnTo>
                    <a:pt x="21" y="86"/>
                  </a:lnTo>
                  <a:lnTo>
                    <a:pt x="17" y="84"/>
                  </a:lnTo>
                  <a:lnTo>
                    <a:pt x="12" y="83"/>
                  </a:lnTo>
                  <a:lnTo>
                    <a:pt x="6" y="79"/>
                  </a:lnTo>
                  <a:lnTo>
                    <a:pt x="3" y="71"/>
                  </a:lnTo>
                  <a:lnTo>
                    <a:pt x="0" y="58"/>
                  </a:lnTo>
                  <a:lnTo>
                    <a:pt x="1" y="50"/>
                  </a:lnTo>
                  <a:lnTo>
                    <a:pt x="3" y="45"/>
                  </a:lnTo>
                  <a:lnTo>
                    <a:pt x="8" y="40"/>
                  </a:lnTo>
                  <a:lnTo>
                    <a:pt x="22" y="39"/>
                  </a:lnTo>
                  <a:lnTo>
                    <a:pt x="36" y="43"/>
                  </a:lnTo>
                  <a:lnTo>
                    <a:pt x="76" y="47"/>
                  </a:lnTo>
                  <a:lnTo>
                    <a:pt x="96" y="53"/>
                  </a:lnTo>
                  <a:lnTo>
                    <a:pt x="103" y="56"/>
                  </a:lnTo>
                  <a:lnTo>
                    <a:pt x="109" y="59"/>
                  </a:lnTo>
                  <a:lnTo>
                    <a:pt x="115" y="63"/>
                  </a:lnTo>
                  <a:lnTo>
                    <a:pt x="116" y="63"/>
                  </a:lnTo>
                  <a:lnTo>
                    <a:pt x="118" y="61"/>
                  </a:lnTo>
                  <a:lnTo>
                    <a:pt x="121" y="59"/>
                  </a:lnTo>
                  <a:lnTo>
                    <a:pt x="124" y="57"/>
                  </a:lnTo>
                  <a:lnTo>
                    <a:pt x="125" y="53"/>
                  </a:lnTo>
                  <a:lnTo>
                    <a:pt x="124" y="50"/>
                  </a:lnTo>
                  <a:lnTo>
                    <a:pt x="121" y="49"/>
                  </a:lnTo>
                  <a:lnTo>
                    <a:pt x="118" y="49"/>
                  </a:lnTo>
                  <a:lnTo>
                    <a:pt x="116" y="50"/>
                  </a:lnTo>
                  <a:lnTo>
                    <a:pt x="115" y="49"/>
                  </a:lnTo>
                  <a:lnTo>
                    <a:pt x="113" y="48"/>
                  </a:lnTo>
                  <a:lnTo>
                    <a:pt x="105" y="39"/>
                  </a:lnTo>
                  <a:lnTo>
                    <a:pt x="104" y="34"/>
                  </a:lnTo>
                  <a:lnTo>
                    <a:pt x="105" y="31"/>
                  </a:lnTo>
                  <a:lnTo>
                    <a:pt x="117" y="27"/>
                  </a:lnTo>
                  <a:lnTo>
                    <a:pt x="123" y="23"/>
                  </a:lnTo>
                  <a:lnTo>
                    <a:pt x="141" y="19"/>
                  </a:lnTo>
                  <a:lnTo>
                    <a:pt x="150" y="16"/>
                  </a:lnTo>
                  <a:lnTo>
                    <a:pt x="160" y="6"/>
                  </a:lnTo>
                  <a:lnTo>
                    <a:pt x="163" y="0"/>
                  </a:lnTo>
                  <a:lnTo>
                    <a:pt x="200" y="26"/>
                  </a:lnTo>
                  <a:lnTo>
                    <a:pt x="335" y="30"/>
                  </a:lnTo>
                  <a:lnTo>
                    <a:pt x="339" y="8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DDE5251B-0184-BAE1-AF9B-800356280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683" y="1346207"/>
              <a:ext cx="1507671" cy="988444"/>
            </a:xfrm>
            <a:custGeom>
              <a:avLst/>
              <a:gdLst>
                <a:gd name="T0" fmla="*/ 222 w 1025"/>
                <a:gd name="T1" fmla="*/ 20 h 672"/>
                <a:gd name="T2" fmla="*/ 254 w 1025"/>
                <a:gd name="T3" fmla="*/ 65 h 672"/>
                <a:gd name="T4" fmla="*/ 295 w 1025"/>
                <a:gd name="T5" fmla="*/ 71 h 672"/>
                <a:gd name="T6" fmla="*/ 408 w 1025"/>
                <a:gd name="T7" fmla="*/ 56 h 672"/>
                <a:gd name="T8" fmla="*/ 507 w 1025"/>
                <a:gd name="T9" fmla="*/ 67 h 672"/>
                <a:gd name="T10" fmla="*/ 600 w 1025"/>
                <a:gd name="T11" fmla="*/ 52 h 672"/>
                <a:gd name="T12" fmla="*/ 669 w 1025"/>
                <a:gd name="T13" fmla="*/ 62 h 672"/>
                <a:gd name="T14" fmla="*/ 668 w 1025"/>
                <a:gd name="T15" fmla="*/ 95 h 672"/>
                <a:gd name="T16" fmla="*/ 685 w 1025"/>
                <a:gd name="T17" fmla="*/ 90 h 672"/>
                <a:gd name="T18" fmla="*/ 720 w 1025"/>
                <a:gd name="T19" fmla="*/ 106 h 672"/>
                <a:gd name="T20" fmla="*/ 778 w 1025"/>
                <a:gd name="T21" fmla="*/ 124 h 672"/>
                <a:gd name="T22" fmla="*/ 852 w 1025"/>
                <a:gd name="T23" fmla="*/ 87 h 672"/>
                <a:gd name="T24" fmla="*/ 933 w 1025"/>
                <a:gd name="T25" fmla="*/ 135 h 672"/>
                <a:gd name="T26" fmla="*/ 935 w 1025"/>
                <a:gd name="T27" fmla="*/ 138 h 672"/>
                <a:gd name="T28" fmla="*/ 953 w 1025"/>
                <a:gd name="T29" fmla="*/ 145 h 672"/>
                <a:gd name="T30" fmla="*/ 976 w 1025"/>
                <a:gd name="T31" fmla="*/ 153 h 672"/>
                <a:gd name="T32" fmla="*/ 994 w 1025"/>
                <a:gd name="T33" fmla="*/ 159 h 672"/>
                <a:gd name="T34" fmla="*/ 1012 w 1025"/>
                <a:gd name="T35" fmla="*/ 177 h 672"/>
                <a:gd name="T36" fmla="*/ 1017 w 1025"/>
                <a:gd name="T37" fmla="*/ 190 h 672"/>
                <a:gd name="T38" fmla="*/ 961 w 1025"/>
                <a:gd name="T39" fmla="*/ 238 h 672"/>
                <a:gd name="T40" fmla="*/ 928 w 1025"/>
                <a:gd name="T41" fmla="*/ 275 h 672"/>
                <a:gd name="T42" fmla="*/ 915 w 1025"/>
                <a:gd name="T43" fmla="*/ 291 h 672"/>
                <a:gd name="T44" fmla="*/ 884 w 1025"/>
                <a:gd name="T45" fmla="*/ 302 h 672"/>
                <a:gd name="T46" fmla="*/ 871 w 1025"/>
                <a:gd name="T47" fmla="*/ 316 h 672"/>
                <a:gd name="T48" fmla="*/ 845 w 1025"/>
                <a:gd name="T49" fmla="*/ 338 h 672"/>
                <a:gd name="T50" fmla="*/ 823 w 1025"/>
                <a:gd name="T51" fmla="*/ 328 h 672"/>
                <a:gd name="T52" fmla="*/ 791 w 1025"/>
                <a:gd name="T53" fmla="*/ 341 h 672"/>
                <a:gd name="T54" fmla="*/ 783 w 1025"/>
                <a:gd name="T55" fmla="*/ 428 h 672"/>
                <a:gd name="T56" fmla="*/ 745 w 1025"/>
                <a:gd name="T57" fmla="*/ 492 h 672"/>
                <a:gd name="T58" fmla="*/ 742 w 1025"/>
                <a:gd name="T59" fmla="*/ 540 h 672"/>
                <a:gd name="T60" fmla="*/ 738 w 1025"/>
                <a:gd name="T61" fmla="*/ 570 h 672"/>
                <a:gd name="T62" fmla="*/ 705 w 1025"/>
                <a:gd name="T63" fmla="*/ 615 h 672"/>
                <a:gd name="T64" fmla="*/ 692 w 1025"/>
                <a:gd name="T65" fmla="*/ 657 h 672"/>
                <a:gd name="T66" fmla="*/ 648 w 1025"/>
                <a:gd name="T67" fmla="*/ 672 h 672"/>
                <a:gd name="T68" fmla="*/ 560 w 1025"/>
                <a:gd name="T69" fmla="*/ 618 h 672"/>
                <a:gd name="T70" fmla="*/ 518 w 1025"/>
                <a:gd name="T71" fmla="*/ 631 h 672"/>
                <a:gd name="T72" fmla="*/ 499 w 1025"/>
                <a:gd name="T73" fmla="*/ 620 h 672"/>
                <a:gd name="T74" fmla="*/ 474 w 1025"/>
                <a:gd name="T75" fmla="*/ 635 h 672"/>
                <a:gd name="T76" fmla="*/ 440 w 1025"/>
                <a:gd name="T77" fmla="*/ 654 h 672"/>
                <a:gd name="T78" fmla="*/ 427 w 1025"/>
                <a:gd name="T79" fmla="*/ 628 h 672"/>
                <a:gd name="T80" fmla="*/ 357 w 1025"/>
                <a:gd name="T81" fmla="*/ 560 h 672"/>
                <a:gd name="T82" fmla="*/ 341 w 1025"/>
                <a:gd name="T83" fmla="*/ 518 h 672"/>
                <a:gd name="T84" fmla="*/ 304 w 1025"/>
                <a:gd name="T85" fmla="*/ 454 h 672"/>
                <a:gd name="T86" fmla="*/ 402 w 1025"/>
                <a:gd name="T87" fmla="*/ 406 h 672"/>
                <a:gd name="T88" fmla="*/ 296 w 1025"/>
                <a:gd name="T89" fmla="*/ 265 h 672"/>
                <a:gd name="T90" fmla="*/ 0 w 1025"/>
                <a:gd name="T91" fmla="*/ 184 h 672"/>
                <a:gd name="T92" fmla="*/ 39 w 1025"/>
                <a:gd name="T93" fmla="*/ 102 h 672"/>
                <a:gd name="T94" fmla="*/ 33 w 1025"/>
                <a:gd name="T95" fmla="*/ 85 h 672"/>
                <a:gd name="T96" fmla="*/ 7 w 1025"/>
                <a:gd name="T97" fmla="*/ 59 h 672"/>
                <a:gd name="T98" fmla="*/ 41 w 1025"/>
                <a:gd name="T99" fmla="*/ 38 h 672"/>
                <a:gd name="T100" fmla="*/ 76 w 1025"/>
                <a:gd name="T101" fmla="*/ 16 h 672"/>
                <a:gd name="T102" fmla="*/ 129 w 1025"/>
                <a:gd name="T103" fmla="*/ 3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5" h="672">
                  <a:moveTo>
                    <a:pt x="129" y="3"/>
                  </a:moveTo>
                  <a:lnTo>
                    <a:pt x="146" y="2"/>
                  </a:lnTo>
                  <a:lnTo>
                    <a:pt x="217" y="17"/>
                  </a:lnTo>
                  <a:lnTo>
                    <a:pt x="222" y="20"/>
                  </a:lnTo>
                  <a:lnTo>
                    <a:pt x="226" y="22"/>
                  </a:lnTo>
                  <a:lnTo>
                    <a:pt x="236" y="35"/>
                  </a:lnTo>
                  <a:lnTo>
                    <a:pt x="248" y="61"/>
                  </a:lnTo>
                  <a:lnTo>
                    <a:pt x="254" y="65"/>
                  </a:lnTo>
                  <a:lnTo>
                    <a:pt x="264" y="70"/>
                  </a:lnTo>
                  <a:lnTo>
                    <a:pt x="276" y="73"/>
                  </a:lnTo>
                  <a:lnTo>
                    <a:pt x="286" y="73"/>
                  </a:lnTo>
                  <a:lnTo>
                    <a:pt x="295" y="71"/>
                  </a:lnTo>
                  <a:lnTo>
                    <a:pt x="309" y="69"/>
                  </a:lnTo>
                  <a:lnTo>
                    <a:pt x="335" y="60"/>
                  </a:lnTo>
                  <a:lnTo>
                    <a:pt x="392" y="55"/>
                  </a:lnTo>
                  <a:lnTo>
                    <a:pt x="408" y="56"/>
                  </a:lnTo>
                  <a:lnTo>
                    <a:pt x="477" y="70"/>
                  </a:lnTo>
                  <a:lnTo>
                    <a:pt x="491" y="71"/>
                  </a:lnTo>
                  <a:lnTo>
                    <a:pt x="499" y="69"/>
                  </a:lnTo>
                  <a:lnTo>
                    <a:pt x="507" y="67"/>
                  </a:lnTo>
                  <a:lnTo>
                    <a:pt x="542" y="62"/>
                  </a:lnTo>
                  <a:lnTo>
                    <a:pt x="556" y="58"/>
                  </a:lnTo>
                  <a:lnTo>
                    <a:pt x="565" y="59"/>
                  </a:lnTo>
                  <a:lnTo>
                    <a:pt x="600" y="52"/>
                  </a:lnTo>
                  <a:lnTo>
                    <a:pt x="636" y="50"/>
                  </a:lnTo>
                  <a:lnTo>
                    <a:pt x="654" y="52"/>
                  </a:lnTo>
                  <a:lnTo>
                    <a:pt x="665" y="57"/>
                  </a:lnTo>
                  <a:lnTo>
                    <a:pt x="669" y="62"/>
                  </a:lnTo>
                  <a:lnTo>
                    <a:pt x="672" y="69"/>
                  </a:lnTo>
                  <a:lnTo>
                    <a:pt x="673" y="76"/>
                  </a:lnTo>
                  <a:lnTo>
                    <a:pt x="672" y="83"/>
                  </a:lnTo>
                  <a:lnTo>
                    <a:pt x="668" y="95"/>
                  </a:lnTo>
                  <a:lnTo>
                    <a:pt x="667" y="99"/>
                  </a:lnTo>
                  <a:lnTo>
                    <a:pt x="668" y="103"/>
                  </a:lnTo>
                  <a:lnTo>
                    <a:pt x="673" y="101"/>
                  </a:lnTo>
                  <a:lnTo>
                    <a:pt x="685" y="90"/>
                  </a:lnTo>
                  <a:lnTo>
                    <a:pt x="692" y="87"/>
                  </a:lnTo>
                  <a:lnTo>
                    <a:pt x="699" y="88"/>
                  </a:lnTo>
                  <a:lnTo>
                    <a:pt x="706" y="94"/>
                  </a:lnTo>
                  <a:lnTo>
                    <a:pt x="720" y="106"/>
                  </a:lnTo>
                  <a:lnTo>
                    <a:pt x="731" y="113"/>
                  </a:lnTo>
                  <a:lnTo>
                    <a:pt x="743" y="120"/>
                  </a:lnTo>
                  <a:lnTo>
                    <a:pt x="761" y="125"/>
                  </a:lnTo>
                  <a:lnTo>
                    <a:pt x="778" y="124"/>
                  </a:lnTo>
                  <a:lnTo>
                    <a:pt x="796" y="121"/>
                  </a:lnTo>
                  <a:lnTo>
                    <a:pt x="825" y="107"/>
                  </a:lnTo>
                  <a:lnTo>
                    <a:pt x="837" y="99"/>
                  </a:lnTo>
                  <a:lnTo>
                    <a:pt x="852" y="87"/>
                  </a:lnTo>
                  <a:lnTo>
                    <a:pt x="861" y="82"/>
                  </a:lnTo>
                  <a:lnTo>
                    <a:pt x="873" y="83"/>
                  </a:lnTo>
                  <a:lnTo>
                    <a:pt x="950" y="107"/>
                  </a:lnTo>
                  <a:lnTo>
                    <a:pt x="933" y="135"/>
                  </a:lnTo>
                  <a:lnTo>
                    <a:pt x="933" y="135"/>
                  </a:lnTo>
                  <a:lnTo>
                    <a:pt x="933" y="136"/>
                  </a:lnTo>
                  <a:lnTo>
                    <a:pt x="933" y="137"/>
                  </a:lnTo>
                  <a:lnTo>
                    <a:pt x="935" y="138"/>
                  </a:lnTo>
                  <a:lnTo>
                    <a:pt x="937" y="139"/>
                  </a:lnTo>
                  <a:lnTo>
                    <a:pt x="945" y="141"/>
                  </a:lnTo>
                  <a:lnTo>
                    <a:pt x="952" y="145"/>
                  </a:lnTo>
                  <a:lnTo>
                    <a:pt x="953" y="145"/>
                  </a:lnTo>
                  <a:lnTo>
                    <a:pt x="954" y="145"/>
                  </a:lnTo>
                  <a:lnTo>
                    <a:pt x="958" y="145"/>
                  </a:lnTo>
                  <a:lnTo>
                    <a:pt x="959" y="145"/>
                  </a:lnTo>
                  <a:lnTo>
                    <a:pt x="976" y="153"/>
                  </a:lnTo>
                  <a:lnTo>
                    <a:pt x="986" y="156"/>
                  </a:lnTo>
                  <a:lnTo>
                    <a:pt x="989" y="158"/>
                  </a:lnTo>
                  <a:lnTo>
                    <a:pt x="991" y="158"/>
                  </a:lnTo>
                  <a:lnTo>
                    <a:pt x="994" y="159"/>
                  </a:lnTo>
                  <a:lnTo>
                    <a:pt x="1004" y="165"/>
                  </a:lnTo>
                  <a:lnTo>
                    <a:pt x="1007" y="168"/>
                  </a:lnTo>
                  <a:lnTo>
                    <a:pt x="1010" y="172"/>
                  </a:lnTo>
                  <a:lnTo>
                    <a:pt x="1012" y="177"/>
                  </a:lnTo>
                  <a:lnTo>
                    <a:pt x="1013" y="185"/>
                  </a:lnTo>
                  <a:lnTo>
                    <a:pt x="1013" y="187"/>
                  </a:lnTo>
                  <a:lnTo>
                    <a:pt x="1014" y="188"/>
                  </a:lnTo>
                  <a:lnTo>
                    <a:pt x="1017" y="190"/>
                  </a:lnTo>
                  <a:lnTo>
                    <a:pt x="1025" y="193"/>
                  </a:lnTo>
                  <a:lnTo>
                    <a:pt x="1017" y="208"/>
                  </a:lnTo>
                  <a:lnTo>
                    <a:pt x="1008" y="214"/>
                  </a:lnTo>
                  <a:lnTo>
                    <a:pt x="961" y="238"/>
                  </a:lnTo>
                  <a:lnTo>
                    <a:pt x="937" y="246"/>
                  </a:lnTo>
                  <a:lnTo>
                    <a:pt x="933" y="251"/>
                  </a:lnTo>
                  <a:lnTo>
                    <a:pt x="929" y="257"/>
                  </a:lnTo>
                  <a:lnTo>
                    <a:pt x="928" y="275"/>
                  </a:lnTo>
                  <a:lnTo>
                    <a:pt x="926" y="282"/>
                  </a:lnTo>
                  <a:lnTo>
                    <a:pt x="923" y="285"/>
                  </a:lnTo>
                  <a:lnTo>
                    <a:pt x="919" y="286"/>
                  </a:lnTo>
                  <a:lnTo>
                    <a:pt x="915" y="291"/>
                  </a:lnTo>
                  <a:lnTo>
                    <a:pt x="908" y="303"/>
                  </a:lnTo>
                  <a:lnTo>
                    <a:pt x="904" y="306"/>
                  </a:lnTo>
                  <a:lnTo>
                    <a:pt x="898" y="306"/>
                  </a:lnTo>
                  <a:lnTo>
                    <a:pt x="884" y="302"/>
                  </a:lnTo>
                  <a:lnTo>
                    <a:pt x="877" y="302"/>
                  </a:lnTo>
                  <a:lnTo>
                    <a:pt x="875" y="304"/>
                  </a:lnTo>
                  <a:lnTo>
                    <a:pt x="873" y="308"/>
                  </a:lnTo>
                  <a:lnTo>
                    <a:pt x="871" y="316"/>
                  </a:lnTo>
                  <a:lnTo>
                    <a:pt x="863" y="329"/>
                  </a:lnTo>
                  <a:lnTo>
                    <a:pt x="858" y="334"/>
                  </a:lnTo>
                  <a:lnTo>
                    <a:pt x="849" y="337"/>
                  </a:lnTo>
                  <a:lnTo>
                    <a:pt x="845" y="338"/>
                  </a:lnTo>
                  <a:lnTo>
                    <a:pt x="841" y="336"/>
                  </a:lnTo>
                  <a:lnTo>
                    <a:pt x="833" y="330"/>
                  </a:lnTo>
                  <a:lnTo>
                    <a:pt x="829" y="328"/>
                  </a:lnTo>
                  <a:lnTo>
                    <a:pt x="823" y="328"/>
                  </a:lnTo>
                  <a:lnTo>
                    <a:pt x="807" y="333"/>
                  </a:lnTo>
                  <a:lnTo>
                    <a:pt x="802" y="334"/>
                  </a:lnTo>
                  <a:lnTo>
                    <a:pt x="794" y="335"/>
                  </a:lnTo>
                  <a:lnTo>
                    <a:pt x="791" y="341"/>
                  </a:lnTo>
                  <a:lnTo>
                    <a:pt x="789" y="345"/>
                  </a:lnTo>
                  <a:lnTo>
                    <a:pt x="790" y="353"/>
                  </a:lnTo>
                  <a:lnTo>
                    <a:pt x="787" y="413"/>
                  </a:lnTo>
                  <a:lnTo>
                    <a:pt x="783" y="428"/>
                  </a:lnTo>
                  <a:lnTo>
                    <a:pt x="774" y="445"/>
                  </a:lnTo>
                  <a:lnTo>
                    <a:pt x="756" y="470"/>
                  </a:lnTo>
                  <a:lnTo>
                    <a:pt x="748" y="483"/>
                  </a:lnTo>
                  <a:lnTo>
                    <a:pt x="745" y="492"/>
                  </a:lnTo>
                  <a:lnTo>
                    <a:pt x="755" y="511"/>
                  </a:lnTo>
                  <a:lnTo>
                    <a:pt x="754" y="517"/>
                  </a:lnTo>
                  <a:lnTo>
                    <a:pt x="751" y="526"/>
                  </a:lnTo>
                  <a:lnTo>
                    <a:pt x="742" y="540"/>
                  </a:lnTo>
                  <a:lnTo>
                    <a:pt x="740" y="548"/>
                  </a:lnTo>
                  <a:lnTo>
                    <a:pt x="738" y="554"/>
                  </a:lnTo>
                  <a:lnTo>
                    <a:pt x="739" y="562"/>
                  </a:lnTo>
                  <a:lnTo>
                    <a:pt x="738" y="570"/>
                  </a:lnTo>
                  <a:lnTo>
                    <a:pt x="731" y="583"/>
                  </a:lnTo>
                  <a:lnTo>
                    <a:pt x="724" y="594"/>
                  </a:lnTo>
                  <a:lnTo>
                    <a:pt x="712" y="606"/>
                  </a:lnTo>
                  <a:lnTo>
                    <a:pt x="705" y="615"/>
                  </a:lnTo>
                  <a:lnTo>
                    <a:pt x="701" y="625"/>
                  </a:lnTo>
                  <a:lnTo>
                    <a:pt x="699" y="642"/>
                  </a:lnTo>
                  <a:lnTo>
                    <a:pt x="696" y="652"/>
                  </a:lnTo>
                  <a:lnTo>
                    <a:pt x="692" y="657"/>
                  </a:lnTo>
                  <a:lnTo>
                    <a:pt x="687" y="660"/>
                  </a:lnTo>
                  <a:lnTo>
                    <a:pt x="669" y="664"/>
                  </a:lnTo>
                  <a:lnTo>
                    <a:pt x="662" y="666"/>
                  </a:lnTo>
                  <a:lnTo>
                    <a:pt x="648" y="672"/>
                  </a:lnTo>
                  <a:lnTo>
                    <a:pt x="603" y="627"/>
                  </a:lnTo>
                  <a:lnTo>
                    <a:pt x="585" y="619"/>
                  </a:lnTo>
                  <a:lnTo>
                    <a:pt x="576" y="620"/>
                  </a:lnTo>
                  <a:lnTo>
                    <a:pt x="560" y="618"/>
                  </a:lnTo>
                  <a:lnTo>
                    <a:pt x="550" y="617"/>
                  </a:lnTo>
                  <a:lnTo>
                    <a:pt x="544" y="618"/>
                  </a:lnTo>
                  <a:lnTo>
                    <a:pt x="526" y="628"/>
                  </a:lnTo>
                  <a:lnTo>
                    <a:pt x="518" y="631"/>
                  </a:lnTo>
                  <a:lnTo>
                    <a:pt x="514" y="629"/>
                  </a:lnTo>
                  <a:lnTo>
                    <a:pt x="511" y="625"/>
                  </a:lnTo>
                  <a:lnTo>
                    <a:pt x="506" y="620"/>
                  </a:lnTo>
                  <a:lnTo>
                    <a:pt x="499" y="620"/>
                  </a:lnTo>
                  <a:lnTo>
                    <a:pt x="492" y="625"/>
                  </a:lnTo>
                  <a:lnTo>
                    <a:pt x="484" y="630"/>
                  </a:lnTo>
                  <a:lnTo>
                    <a:pt x="480" y="633"/>
                  </a:lnTo>
                  <a:lnTo>
                    <a:pt x="474" y="635"/>
                  </a:lnTo>
                  <a:lnTo>
                    <a:pt x="470" y="636"/>
                  </a:lnTo>
                  <a:lnTo>
                    <a:pt x="464" y="640"/>
                  </a:lnTo>
                  <a:lnTo>
                    <a:pt x="446" y="652"/>
                  </a:lnTo>
                  <a:lnTo>
                    <a:pt x="440" y="654"/>
                  </a:lnTo>
                  <a:lnTo>
                    <a:pt x="435" y="652"/>
                  </a:lnTo>
                  <a:lnTo>
                    <a:pt x="431" y="645"/>
                  </a:lnTo>
                  <a:lnTo>
                    <a:pt x="428" y="639"/>
                  </a:lnTo>
                  <a:lnTo>
                    <a:pt x="427" y="628"/>
                  </a:lnTo>
                  <a:lnTo>
                    <a:pt x="421" y="614"/>
                  </a:lnTo>
                  <a:lnTo>
                    <a:pt x="409" y="597"/>
                  </a:lnTo>
                  <a:lnTo>
                    <a:pt x="367" y="567"/>
                  </a:lnTo>
                  <a:lnTo>
                    <a:pt x="357" y="560"/>
                  </a:lnTo>
                  <a:lnTo>
                    <a:pt x="355" y="552"/>
                  </a:lnTo>
                  <a:lnTo>
                    <a:pt x="351" y="536"/>
                  </a:lnTo>
                  <a:lnTo>
                    <a:pt x="349" y="530"/>
                  </a:lnTo>
                  <a:lnTo>
                    <a:pt x="341" y="518"/>
                  </a:lnTo>
                  <a:lnTo>
                    <a:pt x="331" y="499"/>
                  </a:lnTo>
                  <a:lnTo>
                    <a:pt x="306" y="466"/>
                  </a:lnTo>
                  <a:lnTo>
                    <a:pt x="304" y="462"/>
                  </a:lnTo>
                  <a:lnTo>
                    <a:pt x="304" y="454"/>
                  </a:lnTo>
                  <a:lnTo>
                    <a:pt x="302" y="450"/>
                  </a:lnTo>
                  <a:lnTo>
                    <a:pt x="297" y="446"/>
                  </a:lnTo>
                  <a:lnTo>
                    <a:pt x="316" y="413"/>
                  </a:lnTo>
                  <a:lnTo>
                    <a:pt x="402" y="406"/>
                  </a:lnTo>
                  <a:lnTo>
                    <a:pt x="414" y="358"/>
                  </a:lnTo>
                  <a:lnTo>
                    <a:pt x="380" y="320"/>
                  </a:lnTo>
                  <a:lnTo>
                    <a:pt x="316" y="286"/>
                  </a:lnTo>
                  <a:lnTo>
                    <a:pt x="296" y="265"/>
                  </a:lnTo>
                  <a:lnTo>
                    <a:pt x="176" y="269"/>
                  </a:lnTo>
                  <a:lnTo>
                    <a:pt x="172" y="214"/>
                  </a:lnTo>
                  <a:lnTo>
                    <a:pt x="37" y="210"/>
                  </a:lnTo>
                  <a:lnTo>
                    <a:pt x="0" y="184"/>
                  </a:lnTo>
                  <a:lnTo>
                    <a:pt x="13" y="150"/>
                  </a:lnTo>
                  <a:lnTo>
                    <a:pt x="22" y="135"/>
                  </a:lnTo>
                  <a:lnTo>
                    <a:pt x="30" y="114"/>
                  </a:lnTo>
                  <a:lnTo>
                    <a:pt x="39" y="102"/>
                  </a:lnTo>
                  <a:lnTo>
                    <a:pt x="40" y="98"/>
                  </a:lnTo>
                  <a:lnTo>
                    <a:pt x="40" y="95"/>
                  </a:lnTo>
                  <a:lnTo>
                    <a:pt x="38" y="90"/>
                  </a:lnTo>
                  <a:lnTo>
                    <a:pt x="33" y="85"/>
                  </a:lnTo>
                  <a:lnTo>
                    <a:pt x="27" y="80"/>
                  </a:lnTo>
                  <a:lnTo>
                    <a:pt x="10" y="68"/>
                  </a:lnTo>
                  <a:lnTo>
                    <a:pt x="9" y="64"/>
                  </a:lnTo>
                  <a:lnTo>
                    <a:pt x="7" y="59"/>
                  </a:lnTo>
                  <a:lnTo>
                    <a:pt x="12" y="55"/>
                  </a:lnTo>
                  <a:lnTo>
                    <a:pt x="18" y="50"/>
                  </a:lnTo>
                  <a:lnTo>
                    <a:pt x="31" y="44"/>
                  </a:lnTo>
                  <a:lnTo>
                    <a:pt x="41" y="38"/>
                  </a:lnTo>
                  <a:lnTo>
                    <a:pt x="55" y="26"/>
                  </a:lnTo>
                  <a:lnTo>
                    <a:pt x="61" y="23"/>
                  </a:lnTo>
                  <a:lnTo>
                    <a:pt x="69" y="19"/>
                  </a:lnTo>
                  <a:lnTo>
                    <a:pt x="76" y="16"/>
                  </a:lnTo>
                  <a:lnTo>
                    <a:pt x="95" y="3"/>
                  </a:lnTo>
                  <a:lnTo>
                    <a:pt x="103" y="2"/>
                  </a:lnTo>
                  <a:lnTo>
                    <a:pt x="113" y="0"/>
                  </a:lnTo>
                  <a:lnTo>
                    <a:pt x="129" y="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9BBA4625-3F94-DAA0-A31B-CDB7B2527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989" y="2656778"/>
              <a:ext cx="2553479" cy="1544443"/>
            </a:xfrm>
            <a:custGeom>
              <a:avLst/>
              <a:gdLst>
                <a:gd name="T0" fmla="*/ 896 w 1736"/>
                <a:gd name="T1" fmla="*/ 71 h 1050"/>
                <a:gd name="T2" fmla="*/ 940 w 1736"/>
                <a:gd name="T3" fmla="*/ 60 h 1050"/>
                <a:gd name="T4" fmla="*/ 1003 w 1736"/>
                <a:gd name="T5" fmla="*/ 46 h 1050"/>
                <a:gd name="T6" fmla="*/ 1040 w 1736"/>
                <a:gd name="T7" fmla="*/ 29 h 1050"/>
                <a:gd name="T8" fmla="*/ 1107 w 1736"/>
                <a:gd name="T9" fmla="*/ 41 h 1050"/>
                <a:gd name="T10" fmla="*/ 1113 w 1736"/>
                <a:gd name="T11" fmla="*/ 119 h 1050"/>
                <a:gd name="T12" fmla="*/ 1136 w 1736"/>
                <a:gd name="T13" fmla="*/ 146 h 1050"/>
                <a:gd name="T14" fmla="*/ 1153 w 1736"/>
                <a:gd name="T15" fmla="*/ 158 h 1050"/>
                <a:gd name="T16" fmla="*/ 1165 w 1736"/>
                <a:gd name="T17" fmla="*/ 166 h 1050"/>
                <a:gd name="T18" fmla="*/ 1195 w 1736"/>
                <a:gd name="T19" fmla="*/ 166 h 1050"/>
                <a:gd name="T20" fmla="*/ 1217 w 1736"/>
                <a:gd name="T21" fmla="*/ 176 h 1050"/>
                <a:gd name="T22" fmla="*/ 1245 w 1736"/>
                <a:gd name="T23" fmla="*/ 191 h 1050"/>
                <a:gd name="T24" fmla="*/ 1268 w 1736"/>
                <a:gd name="T25" fmla="*/ 199 h 1050"/>
                <a:gd name="T26" fmla="*/ 1281 w 1736"/>
                <a:gd name="T27" fmla="*/ 189 h 1050"/>
                <a:gd name="T28" fmla="*/ 1295 w 1736"/>
                <a:gd name="T29" fmla="*/ 185 h 1050"/>
                <a:gd name="T30" fmla="*/ 1313 w 1736"/>
                <a:gd name="T31" fmla="*/ 183 h 1050"/>
                <a:gd name="T32" fmla="*/ 1344 w 1736"/>
                <a:gd name="T33" fmla="*/ 189 h 1050"/>
                <a:gd name="T34" fmla="*/ 1364 w 1736"/>
                <a:gd name="T35" fmla="*/ 178 h 1050"/>
                <a:gd name="T36" fmla="*/ 1373 w 1736"/>
                <a:gd name="T37" fmla="*/ 179 h 1050"/>
                <a:gd name="T38" fmla="*/ 1406 w 1736"/>
                <a:gd name="T39" fmla="*/ 181 h 1050"/>
                <a:gd name="T40" fmla="*/ 1416 w 1736"/>
                <a:gd name="T41" fmla="*/ 190 h 1050"/>
                <a:gd name="T42" fmla="*/ 1428 w 1736"/>
                <a:gd name="T43" fmla="*/ 193 h 1050"/>
                <a:gd name="T44" fmla="*/ 1463 w 1736"/>
                <a:gd name="T45" fmla="*/ 212 h 1050"/>
                <a:gd name="T46" fmla="*/ 1512 w 1736"/>
                <a:gd name="T47" fmla="*/ 225 h 1050"/>
                <a:gd name="T48" fmla="*/ 1525 w 1736"/>
                <a:gd name="T49" fmla="*/ 215 h 1050"/>
                <a:gd name="T50" fmla="*/ 1534 w 1736"/>
                <a:gd name="T51" fmla="*/ 219 h 1050"/>
                <a:gd name="T52" fmla="*/ 1566 w 1736"/>
                <a:gd name="T53" fmla="*/ 247 h 1050"/>
                <a:gd name="T54" fmla="*/ 1585 w 1736"/>
                <a:gd name="T55" fmla="*/ 253 h 1050"/>
                <a:gd name="T56" fmla="*/ 1621 w 1736"/>
                <a:gd name="T57" fmla="*/ 262 h 1050"/>
                <a:gd name="T58" fmla="*/ 1642 w 1736"/>
                <a:gd name="T59" fmla="*/ 296 h 1050"/>
                <a:gd name="T60" fmla="*/ 1657 w 1736"/>
                <a:gd name="T61" fmla="*/ 296 h 1050"/>
                <a:gd name="T62" fmla="*/ 1696 w 1736"/>
                <a:gd name="T63" fmla="*/ 314 h 1050"/>
                <a:gd name="T64" fmla="*/ 1725 w 1736"/>
                <a:gd name="T65" fmla="*/ 332 h 1050"/>
                <a:gd name="T66" fmla="*/ 1661 w 1736"/>
                <a:gd name="T67" fmla="*/ 438 h 1050"/>
                <a:gd name="T68" fmla="*/ 1461 w 1736"/>
                <a:gd name="T69" fmla="*/ 671 h 1050"/>
                <a:gd name="T70" fmla="*/ 1234 w 1736"/>
                <a:gd name="T71" fmla="*/ 871 h 1050"/>
                <a:gd name="T72" fmla="*/ 1007 w 1736"/>
                <a:gd name="T73" fmla="*/ 1041 h 1050"/>
                <a:gd name="T74" fmla="*/ 918 w 1736"/>
                <a:gd name="T75" fmla="*/ 1031 h 1050"/>
                <a:gd name="T76" fmla="*/ 813 w 1736"/>
                <a:gd name="T77" fmla="*/ 1016 h 1050"/>
                <a:gd name="T78" fmla="*/ 758 w 1736"/>
                <a:gd name="T79" fmla="*/ 946 h 1050"/>
                <a:gd name="T80" fmla="*/ 694 w 1736"/>
                <a:gd name="T81" fmla="*/ 869 h 1050"/>
                <a:gd name="T82" fmla="*/ 301 w 1736"/>
                <a:gd name="T83" fmla="*/ 670 h 1050"/>
                <a:gd name="T84" fmla="*/ 242 w 1736"/>
                <a:gd name="T85" fmla="*/ 619 h 1050"/>
                <a:gd name="T86" fmla="*/ 207 w 1736"/>
                <a:gd name="T87" fmla="*/ 548 h 1050"/>
                <a:gd name="T88" fmla="*/ 174 w 1736"/>
                <a:gd name="T89" fmla="*/ 440 h 1050"/>
                <a:gd name="T90" fmla="*/ 96 w 1736"/>
                <a:gd name="T91" fmla="*/ 417 h 1050"/>
                <a:gd name="T92" fmla="*/ 29 w 1736"/>
                <a:gd name="T93" fmla="*/ 298 h 1050"/>
                <a:gd name="T94" fmla="*/ 38 w 1736"/>
                <a:gd name="T95" fmla="*/ 150 h 1050"/>
                <a:gd name="T96" fmla="*/ 172 w 1736"/>
                <a:gd name="T97" fmla="*/ 147 h 1050"/>
                <a:gd name="T98" fmla="*/ 198 w 1736"/>
                <a:gd name="T99" fmla="*/ 136 h 1050"/>
                <a:gd name="T100" fmla="*/ 271 w 1736"/>
                <a:gd name="T101" fmla="*/ 116 h 1050"/>
                <a:gd name="T102" fmla="*/ 330 w 1736"/>
                <a:gd name="T103" fmla="*/ 93 h 1050"/>
                <a:gd name="T104" fmla="*/ 378 w 1736"/>
                <a:gd name="T105" fmla="*/ 89 h 1050"/>
                <a:gd name="T106" fmla="*/ 517 w 1736"/>
                <a:gd name="T107" fmla="*/ 49 h 1050"/>
                <a:gd name="T108" fmla="*/ 639 w 1736"/>
                <a:gd name="T109" fmla="*/ 8 h 1050"/>
                <a:gd name="T110" fmla="*/ 743 w 1736"/>
                <a:gd name="T111" fmla="*/ 49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6" h="1050">
                  <a:moveTo>
                    <a:pt x="875" y="99"/>
                  </a:moveTo>
                  <a:lnTo>
                    <a:pt x="886" y="98"/>
                  </a:lnTo>
                  <a:lnTo>
                    <a:pt x="891" y="92"/>
                  </a:lnTo>
                  <a:lnTo>
                    <a:pt x="892" y="86"/>
                  </a:lnTo>
                  <a:lnTo>
                    <a:pt x="894" y="78"/>
                  </a:lnTo>
                  <a:lnTo>
                    <a:pt x="896" y="71"/>
                  </a:lnTo>
                  <a:lnTo>
                    <a:pt x="899" y="65"/>
                  </a:lnTo>
                  <a:lnTo>
                    <a:pt x="912" y="53"/>
                  </a:lnTo>
                  <a:lnTo>
                    <a:pt x="917" y="52"/>
                  </a:lnTo>
                  <a:lnTo>
                    <a:pt x="922" y="53"/>
                  </a:lnTo>
                  <a:lnTo>
                    <a:pt x="930" y="58"/>
                  </a:lnTo>
                  <a:lnTo>
                    <a:pt x="940" y="60"/>
                  </a:lnTo>
                  <a:lnTo>
                    <a:pt x="946" y="59"/>
                  </a:lnTo>
                  <a:lnTo>
                    <a:pt x="955" y="53"/>
                  </a:lnTo>
                  <a:lnTo>
                    <a:pt x="960" y="52"/>
                  </a:lnTo>
                  <a:lnTo>
                    <a:pt x="976" y="52"/>
                  </a:lnTo>
                  <a:lnTo>
                    <a:pt x="989" y="50"/>
                  </a:lnTo>
                  <a:lnTo>
                    <a:pt x="1003" y="46"/>
                  </a:lnTo>
                  <a:lnTo>
                    <a:pt x="1010" y="45"/>
                  </a:lnTo>
                  <a:lnTo>
                    <a:pt x="1015" y="43"/>
                  </a:lnTo>
                  <a:lnTo>
                    <a:pt x="1020" y="40"/>
                  </a:lnTo>
                  <a:lnTo>
                    <a:pt x="1024" y="33"/>
                  </a:lnTo>
                  <a:lnTo>
                    <a:pt x="1027" y="32"/>
                  </a:lnTo>
                  <a:lnTo>
                    <a:pt x="1040" y="29"/>
                  </a:lnTo>
                  <a:lnTo>
                    <a:pt x="1057" y="24"/>
                  </a:lnTo>
                  <a:lnTo>
                    <a:pt x="1066" y="23"/>
                  </a:lnTo>
                  <a:lnTo>
                    <a:pt x="1078" y="24"/>
                  </a:lnTo>
                  <a:lnTo>
                    <a:pt x="1090" y="27"/>
                  </a:lnTo>
                  <a:lnTo>
                    <a:pt x="1099" y="32"/>
                  </a:lnTo>
                  <a:lnTo>
                    <a:pt x="1107" y="41"/>
                  </a:lnTo>
                  <a:lnTo>
                    <a:pt x="1111" y="50"/>
                  </a:lnTo>
                  <a:lnTo>
                    <a:pt x="1110" y="60"/>
                  </a:lnTo>
                  <a:lnTo>
                    <a:pt x="1107" y="68"/>
                  </a:lnTo>
                  <a:lnTo>
                    <a:pt x="1107" y="94"/>
                  </a:lnTo>
                  <a:lnTo>
                    <a:pt x="1110" y="108"/>
                  </a:lnTo>
                  <a:lnTo>
                    <a:pt x="1113" y="119"/>
                  </a:lnTo>
                  <a:lnTo>
                    <a:pt x="1118" y="126"/>
                  </a:lnTo>
                  <a:lnTo>
                    <a:pt x="1122" y="131"/>
                  </a:lnTo>
                  <a:lnTo>
                    <a:pt x="1125" y="136"/>
                  </a:lnTo>
                  <a:lnTo>
                    <a:pt x="1131" y="140"/>
                  </a:lnTo>
                  <a:lnTo>
                    <a:pt x="1135" y="143"/>
                  </a:lnTo>
                  <a:lnTo>
                    <a:pt x="1136" y="146"/>
                  </a:lnTo>
                  <a:lnTo>
                    <a:pt x="1137" y="151"/>
                  </a:lnTo>
                  <a:lnTo>
                    <a:pt x="1137" y="154"/>
                  </a:lnTo>
                  <a:lnTo>
                    <a:pt x="1141" y="159"/>
                  </a:lnTo>
                  <a:lnTo>
                    <a:pt x="1144" y="162"/>
                  </a:lnTo>
                  <a:lnTo>
                    <a:pt x="1150" y="160"/>
                  </a:lnTo>
                  <a:lnTo>
                    <a:pt x="1153" y="158"/>
                  </a:lnTo>
                  <a:lnTo>
                    <a:pt x="1155" y="158"/>
                  </a:lnTo>
                  <a:lnTo>
                    <a:pt x="1155" y="160"/>
                  </a:lnTo>
                  <a:lnTo>
                    <a:pt x="1155" y="163"/>
                  </a:lnTo>
                  <a:lnTo>
                    <a:pt x="1155" y="165"/>
                  </a:lnTo>
                  <a:lnTo>
                    <a:pt x="1157" y="167"/>
                  </a:lnTo>
                  <a:lnTo>
                    <a:pt x="1165" y="166"/>
                  </a:lnTo>
                  <a:lnTo>
                    <a:pt x="1171" y="167"/>
                  </a:lnTo>
                  <a:lnTo>
                    <a:pt x="1179" y="166"/>
                  </a:lnTo>
                  <a:lnTo>
                    <a:pt x="1183" y="164"/>
                  </a:lnTo>
                  <a:lnTo>
                    <a:pt x="1188" y="163"/>
                  </a:lnTo>
                  <a:lnTo>
                    <a:pt x="1192" y="163"/>
                  </a:lnTo>
                  <a:lnTo>
                    <a:pt x="1195" y="166"/>
                  </a:lnTo>
                  <a:lnTo>
                    <a:pt x="1201" y="168"/>
                  </a:lnTo>
                  <a:lnTo>
                    <a:pt x="1205" y="169"/>
                  </a:lnTo>
                  <a:lnTo>
                    <a:pt x="1209" y="168"/>
                  </a:lnTo>
                  <a:lnTo>
                    <a:pt x="1213" y="169"/>
                  </a:lnTo>
                  <a:lnTo>
                    <a:pt x="1214" y="171"/>
                  </a:lnTo>
                  <a:lnTo>
                    <a:pt x="1217" y="176"/>
                  </a:lnTo>
                  <a:lnTo>
                    <a:pt x="1217" y="178"/>
                  </a:lnTo>
                  <a:lnTo>
                    <a:pt x="1216" y="180"/>
                  </a:lnTo>
                  <a:lnTo>
                    <a:pt x="1215" y="182"/>
                  </a:lnTo>
                  <a:lnTo>
                    <a:pt x="1219" y="184"/>
                  </a:lnTo>
                  <a:lnTo>
                    <a:pt x="1229" y="186"/>
                  </a:lnTo>
                  <a:lnTo>
                    <a:pt x="1245" y="191"/>
                  </a:lnTo>
                  <a:lnTo>
                    <a:pt x="1256" y="192"/>
                  </a:lnTo>
                  <a:lnTo>
                    <a:pt x="1261" y="194"/>
                  </a:lnTo>
                  <a:lnTo>
                    <a:pt x="1263" y="196"/>
                  </a:lnTo>
                  <a:lnTo>
                    <a:pt x="1263" y="201"/>
                  </a:lnTo>
                  <a:lnTo>
                    <a:pt x="1265" y="202"/>
                  </a:lnTo>
                  <a:lnTo>
                    <a:pt x="1268" y="199"/>
                  </a:lnTo>
                  <a:lnTo>
                    <a:pt x="1269" y="197"/>
                  </a:lnTo>
                  <a:lnTo>
                    <a:pt x="1271" y="194"/>
                  </a:lnTo>
                  <a:lnTo>
                    <a:pt x="1275" y="192"/>
                  </a:lnTo>
                  <a:lnTo>
                    <a:pt x="1278" y="190"/>
                  </a:lnTo>
                  <a:lnTo>
                    <a:pt x="1279" y="190"/>
                  </a:lnTo>
                  <a:lnTo>
                    <a:pt x="1281" y="189"/>
                  </a:lnTo>
                  <a:lnTo>
                    <a:pt x="1284" y="190"/>
                  </a:lnTo>
                  <a:lnTo>
                    <a:pt x="1286" y="188"/>
                  </a:lnTo>
                  <a:lnTo>
                    <a:pt x="1288" y="184"/>
                  </a:lnTo>
                  <a:lnTo>
                    <a:pt x="1291" y="182"/>
                  </a:lnTo>
                  <a:lnTo>
                    <a:pt x="1293" y="182"/>
                  </a:lnTo>
                  <a:lnTo>
                    <a:pt x="1295" y="185"/>
                  </a:lnTo>
                  <a:lnTo>
                    <a:pt x="1296" y="188"/>
                  </a:lnTo>
                  <a:lnTo>
                    <a:pt x="1299" y="189"/>
                  </a:lnTo>
                  <a:lnTo>
                    <a:pt x="1302" y="186"/>
                  </a:lnTo>
                  <a:lnTo>
                    <a:pt x="1306" y="184"/>
                  </a:lnTo>
                  <a:lnTo>
                    <a:pt x="1310" y="183"/>
                  </a:lnTo>
                  <a:lnTo>
                    <a:pt x="1313" y="183"/>
                  </a:lnTo>
                  <a:lnTo>
                    <a:pt x="1319" y="186"/>
                  </a:lnTo>
                  <a:lnTo>
                    <a:pt x="1331" y="185"/>
                  </a:lnTo>
                  <a:lnTo>
                    <a:pt x="1334" y="184"/>
                  </a:lnTo>
                  <a:lnTo>
                    <a:pt x="1337" y="188"/>
                  </a:lnTo>
                  <a:lnTo>
                    <a:pt x="1339" y="189"/>
                  </a:lnTo>
                  <a:lnTo>
                    <a:pt x="1344" y="189"/>
                  </a:lnTo>
                  <a:lnTo>
                    <a:pt x="1347" y="189"/>
                  </a:lnTo>
                  <a:lnTo>
                    <a:pt x="1351" y="190"/>
                  </a:lnTo>
                  <a:lnTo>
                    <a:pt x="1353" y="189"/>
                  </a:lnTo>
                  <a:lnTo>
                    <a:pt x="1356" y="186"/>
                  </a:lnTo>
                  <a:lnTo>
                    <a:pt x="1358" y="184"/>
                  </a:lnTo>
                  <a:lnTo>
                    <a:pt x="1364" y="178"/>
                  </a:lnTo>
                  <a:lnTo>
                    <a:pt x="1366" y="176"/>
                  </a:lnTo>
                  <a:lnTo>
                    <a:pt x="1369" y="176"/>
                  </a:lnTo>
                  <a:lnTo>
                    <a:pt x="1370" y="177"/>
                  </a:lnTo>
                  <a:lnTo>
                    <a:pt x="1371" y="179"/>
                  </a:lnTo>
                  <a:lnTo>
                    <a:pt x="1372" y="180"/>
                  </a:lnTo>
                  <a:lnTo>
                    <a:pt x="1373" y="179"/>
                  </a:lnTo>
                  <a:lnTo>
                    <a:pt x="1374" y="177"/>
                  </a:lnTo>
                  <a:lnTo>
                    <a:pt x="1377" y="176"/>
                  </a:lnTo>
                  <a:lnTo>
                    <a:pt x="1384" y="176"/>
                  </a:lnTo>
                  <a:lnTo>
                    <a:pt x="1396" y="182"/>
                  </a:lnTo>
                  <a:lnTo>
                    <a:pt x="1403" y="182"/>
                  </a:lnTo>
                  <a:lnTo>
                    <a:pt x="1406" y="181"/>
                  </a:lnTo>
                  <a:lnTo>
                    <a:pt x="1409" y="179"/>
                  </a:lnTo>
                  <a:lnTo>
                    <a:pt x="1411" y="177"/>
                  </a:lnTo>
                  <a:lnTo>
                    <a:pt x="1413" y="178"/>
                  </a:lnTo>
                  <a:lnTo>
                    <a:pt x="1415" y="182"/>
                  </a:lnTo>
                  <a:lnTo>
                    <a:pt x="1416" y="185"/>
                  </a:lnTo>
                  <a:lnTo>
                    <a:pt x="1416" y="190"/>
                  </a:lnTo>
                  <a:lnTo>
                    <a:pt x="1416" y="193"/>
                  </a:lnTo>
                  <a:lnTo>
                    <a:pt x="1417" y="195"/>
                  </a:lnTo>
                  <a:lnTo>
                    <a:pt x="1421" y="194"/>
                  </a:lnTo>
                  <a:lnTo>
                    <a:pt x="1422" y="192"/>
                  </a:lnTo>
                  <a:lnTo>
                    <a:pt x="1425" y="192"/>
                  </a:lnTo>
                  <a:lnTo>
                    <a:pt x="1428" y="193"/>
                  </a:lnTo>
                  <a:lnTo>
                    <a:pt x="1436" y="197"/>
                  </a:lnTo>
                  <a:lnTo>
                    <a:pt x="1444" y="198"/>
                  </a:lnTo>
                  <a:lnTo>
                    <a:pt x="1452" y="201"/>
                  </a:lnTo>
                  <a:lnTo>
                    <a:pt x="1457" y="206"/>
                  </a:lnTo>
                  <a:lnTo>
                    <a:pt x="1461" y="210"/>
                  </a:lnTo>
                  <a:lnTo>
                    <a:pt x="1463" y="212"/>
                  </a:lnTo>
                  <a:lnTo>
                    <a:pt x="1471" y="212"/>
                  </a:lnTo>
                  <a:lnTo>
                    <a:pt x="1475" y="215"/>
                  </a:lnTo>
                  <a:lnTo>
                    <a:pt x="1480" y="219"/>
                  </a:lnTo>
                  <a:lnTo>
                    <a:pt x="1489" y="223"/>
                  </a:lnTo>
                  <a:lnTo>
                    <a:pt x="1500" y="225"/>
                  </a:lnTo>
                  <a:lnTo>
                    <a:pt x="1512" y="225"/>
                  </a:lnTo>
                  <a:lnTo>
                    <a:pt x="1518" y="227"/>
                  </a:lnTo>
                  <a:lnTo>
                    <a:pt x="1522" y="225"/>
                  </a:lnTo>
                  <a:lnTo>
                    <a:pt x="1525" y="224"/>
                  </a:lnTo>
                  <a:lnTo>
                    <a:pt x="1526" y="221"/>
                  </a:lnTo>
                  <a:lnTo>
                    <a:pt x="1525" y="218"/>
                  </a:lnTo>
                  <a:lnTo>
                    <a:pt x="1525" y="215"/>
                  </a:lnTo>
                  <a:lnTo>
                    <a:pt x="1527" y="214"/>
                  </a:lnTo>
                  <a:lnTo>
                    <a:pt x="1531" y="214"/>
                  </a:lnTo>
                  <a:lnTo>
                    <a:pt x="1534" y="212"/>
                  </a:lnTo>
                  <a:lnTo>
                    <a:pt x="1536" y="212"/>
                  </a:lnTo>
                  <a:lnTo>
                    <a:pt x="1536" y="216"/>
                  </a:lnTo>
                  <a:lnTo>
                    <a:pt x="1534" y="219"/>
                  </a:lnTo>
                  <a:lnTo>
                    <a:pt x="1535" y="222"/>
                  </a:lnTo>
                  <a:lnTo>
                    <a:pt x="1539" y="225"/>
                  </a:lnTo>
                  <a:lnTo>
                    <a:pt x="1555" y="230"/>
                  </a:lnTo>
                  <a:lnTo>
                    <a:pt x="1559" y="232"/>
                  </a:lnTo>
                  <a:lnTo>
                    <a:pt x="1565" y="243"/>
                  </a:lnTo>
                  <a:lnTo>
                    <a:pt x="1566" y="247"/>
                  </a:lnTo>
                  <a:lnTo>
                    <a:pt x="1566" y="249"/>
                  </a:lnTo>
                  <a:lnTo>
                    <a:pt x="1567" y="250"/>
                  </a:lnTo>
                  <a:lnTo>
                    <a:pt x="1571" y="249"/>
                  </a:lnTo>
                  <a:lnTo>
                    <a:pt x="1575" y="248"/>
                  </a:lnTo>
                  <a:lnTo>
                    <a:pt x="1580" y="249"/>
                  </a:lnTo>
                  <a:lnTo>
                    <a:pt x="1585" y="253"/>
                  </a:lnTo>
                  <a:lnTo>
                    <a:pt x="1587" y="255"/>
                  </a:lnTo>
                  <a:lnTo>
                    <a:pt x="1591" y="258"/>
                  </a:lnTo>
                  <a:lnTo>
                    <a:pt x="1593" y="259"/>
                  </a:lnTo>
                  <a:lnTo>
                    <a:pt x="1603" y="260"/>
                  </a:lnTo>
                  <a:lnTo>
                    <a:pt x="1612" y="262"/>
                  </a:lnTo>
                  <a:lnTo>
                    <a:pt x="1621" y="262"/>
                  </a:lnTo>
                  <a:lnTo>
                    <a:pt x="1624" y="264"/>
                  </a:lnTo>
                  <a:lnTo>
                    <a:pt x="1626" y="270"/>
                  </a:lnTo>
                  <a:lnTo>
                    <a:pt x="1627" y="272"/>
                  </a:lnTo>
                  <a:lnTo>
                    <a:pt x="1633" y="282"/>
                  </a:lnTo>
                  <a:lnTo>
                    <a:pt x="1639" y="290"/>
                  </a:lnTo>
                  <a:lnTo>
                    <a:pt x="1642" y="296"/>
                  </a:lnTo>
                  <a:lnTo>
                    <a:pt x="1644" y="298"/>
                  </a:lnTo>
                  <a:lnTo>
                    <a:pt x="1648" y="296"/>
                  </a:lnTo>
                  <a:lnTo>
                    <a:pt x="1651" y="294"/>
                  </a:lnTo>
                  <a:lnTo>
                    <a:pt x="1653" y="292"/>
                  </a:lnTo>
                  <a:lnTo>
                    <a:pt x="1656" y="293"/>
                  </a:lnTo>
                  <a:lnTo>
                    <a:pt x="1657" y="296"/>
                  </a:lnTo>
                  <a:lnTo>
                    <a:pt x="1658" y="298"/>
                  </a:lnTo>
                  <a:lnTo>
                    <a:pt x="1662" y="300"/>
                  </a:lnTo>
                  <a:lnTo>
                    <a:pt x="1668" y="302"/>
                  </a:lnTo>
                  <a:lnTo>
                    <a:pt x="1688" y="310"/>
                  </a:lnTo>
                  <a:lnTo>
                    <a:pt x="1691" y="313"/>
                  </a:lnTo>
                  <a:lnTo>
                    <a:pt x="1696" y="314"/>
                  </a:lnTo>
                  <a:lnTo>
                    <a:pt x="1700" y="316"/>
                  </a:lnTo>
                  <a:lnTo>
                    <a:pt x="1704" y="320"/>
                  </a:lnTo>
                  <a:lnTo>
                    <a:pt x="1711" y="322"/>
                  </a:lnTo>
                  <a:lnTo>
                    <a:pt x="1716" y="323"/>
                  </a:lnTo>
                  <a:lnTo>
                    <a:pt x="1722" y="325"/>
                  </a:lnTo>
                  <a:lnTo>
                    <a:pt x="1725" y="332"/>
                  </a:lnTo>
                  <a:lnTo>
                    <a:pt x="1728" y="346"/>
                  </a:lnTo>
                  <a:lnTo>
                    <a:pt x="1736" y="359"/>
                  </a:lnTo>
                  <a:lnTo>
                    <a:pt x="1736" y="359"/>
                  </a:lnTo>
                  <a:lnTo>
                    <a:pt x="1725" y="372"/>
                  </a:lnTo>
                  <a:lnTo>
                    <a:pt x="1688" y="406"/>
                  </a:lnTo>
                  <a:lnTo>
                    <a:pt x="1661" y="438"/>
                  </a:lnTo>
                  <a:lnTo>
                    <a:pt x="1629" y="477"/>
                  </a:lnTo>
                  <a:lnTo>
                    <a:pt x="1595" y="516"/>
                  </a:lnTo>
                  <a:lnTo>
                    <a:pt x="1561" y="555"/>
                  </a:lnTo>
                  <a:lnTo>
                    <a:pt x="1528" y="594"/>
                  </a:lnTo>
                  <a:lnTo>
                    <a:pt x="1494" y="632"/>
                  </a:lnTo>
                  <a:lnTo>
                    <a:pt x="1461" y="671"/>
                  </a:lnTo>
                  <a:lnTo>
                    <a:pt x="1427" y="710"/>
                  </a:lnTo>
                  <a:lnTo>
                    <a:pt x="1395" y="749"/>
                  </a:lnTo>
                  <a:lnTo>
                    <a:pt x="1354" y="780"/>
                  </a:lnTo>
                  <a:lnTo>
                    <a:pt x="1314" y="811"/>
                  </a:lnTo>
                  <a:lnTo>
                    <a:pt x="1274" y="841"/>
                  </a:lnTo>
                  <a:lnTo>
                    <a:pt x="1234" y="871"/>
                  </a:lnTo>
                  <a:lnTo>
                    <a:pt x="1194" y="903"/>
                  </a:lnTo>
                  <a:lnTo>
                    <a:pt x="1154" y="933"/>
                  </a:lnTo>
                  <a:lnTo>
                    <a:pt x="1114" y="963"/>
                  </a:lnTo>
                  <a:lnTo>
                    <a:pt x="1075" y="994"/>
                  </a:lnTo>
                  <a:lnTo>
                    <a:pt x="1037" y="1023"/>
                  </a:lnTo>
                  <a:lnTo>
                    <a:pt x="1007" y="1041"/>
                  </a:lnTo>
                  <a:lnTo>
                    <a:pt x="1007" y="1041"/>
                  </a:lnTo>
                  <a:lnTo>
                    <a:pt x="997" y="1039"/>
                  </a:lnTo>
                  <a:lnTo>
                    <a:pt x="984" y="1045"/>
                  </a:lnTo>
                  <a:lnTo>
                    <a:pt x="969" y="1050"/>
                  </a:lnTo>
                  <a:lnTo>
                    <a:pt x="941" y="1036"/>
                  </a:lnTo>
                  <a:lnTo>
                    <a:pt x="918" y="1031"/>
                  </a:lnTo>
                  <a:lnTo>
                    <a:pt x="909" y="1026"/>
                  </a:lnTo>
                  <a:lnTo>
                    <a:pt x="898" y="1018"/>
                  </a:lnTo>
                  <a:lnTo>
                    <a:pt x="891" y="1018"/>
                  </a:lnTo>
                  <a:lnTo>
                    <a:pt x="870" y="1024"/>
                  </a:lnTo>
                  <a:lnTo>
                    <a:pt x="840" y="1025"/>
                  </a:lnTo>
                  <a:lnTo>
                    <a:pt x="813" y="1016"/>
                  </a:lnTo>
                  <a:lnTo>
                    <a:pt x="790" y="1002"/>
                  </a:lnTo>
                  <a:lnTo>
                    <a:pt x="774" y="983"/>
                  </a:lnTo>
                  <a:lnTo>
                    <a:pt x="766" y="960"/>
                  </a:lnTo>
                  <a:lnTo>
                    <a:pt x="765" y="957"/>
                  </a:lnTo>
                  <a:lnTo>
                    <a:pt x="763" y="951"/>
                  </a:lnTo>
                  <a:lnTo>
                    <a:pt x="758" y="946"/>
                  </a:lnTo>
                  <a:lnTo>
                    <a:pt x="753" y="943"/>
                  </a:lnTo>
                  <a:lnTo>
                    <a:pt x="747" y="933"/>
                  </a:lnTo>
                  <a:lnTo>
                    <a:pt x="724" y="905"/>
                  </a:lnTo>
                  <a:lnTo>
                    <a:pt x="711" y="883"/>
                  </a:lnTo>
                  <a:lnTo>
                    <a:pt x="703" y="873"/>
                  </a:lnTo>
                  <a:lnTo>
                    <a:pt x="694" y="869"/>
                  </a:lnTo>
                  <a:lnTo>
                    <a:pt x="682" y="866"/>
                  </a:lnTo>
                  <a:lnTo>
                    <a:pt x="528" y="766"/>
                  </a:lnTo>
                  <a:lnTo>
                    <a:pt x="344" y="688"/>
                  </a:lnTo>
                  <a:lnTo>
                    <a:pt x="321" y="682"/>
                  </a:lnTo>
                  <a:lnTo>
                    <a:pt x="310" y="678"/>
                  </a:lnTo>
                  <a:lnTo>
                    <a:pt x="301" y="670"/>
                  </a:lnTo>
                  <a:lnTo>
                    <a:pt x="297" y="660"/>
                  </a:lnTo>
                  <a:lnTo>
                    <a:pt x="294" y="648"/>
                  </a:lnTo>
                  <a:lnTo>
                    <a:pt x="291" y="638"/>
                  </a:lnTo>
                  <a:lnTo>
                    <a:pt x="282" y="630"/>
                  </a:lnTo>
                  <a:lnTo>
                    <a:pt x="269" y="625"/>
                  </a:lnTo>
                  <a:lnTo>
                    <a:pt x="242" y="619"/>
                  </a:lnTo>
                  <a:lnTo>
                    <a:pt x="230" y="612"/>
                  </a:lnTo>
                  <a:lnTo>
                    <a:pt x="224" y="605"/>
                  </a:lnTo>
                  <a:lnTo>
                    <a:pt x="222" y="595"/>
                  </a:lnTo>
                  <a:lnTo>
                    <a:pt x="220" y="574"/>
                  </a:lnTo>
                  <a:lnTo>
                    <a:pt x="217" y="566"/>
                  </a:lnTo>
                  <a:lnTo>
                    <a:pt x="207" y="548"/>
                  </a:lnTo>
                  <a:lnTo>
                    <a:pt x="205" y="540"/>
                  </a:lnTo>
                  <a:lnTo>
                    <a:pt x="205" y="525"/>
                  </a:lnTo>
                  <a:lnTo>
                    <a:pt x="203" y="519"/>
                  </a:lnTo>
                  <a:lnTo>
                    <a:pt x="190" y="500"/>
                  </a:lnTo>
                  <a:lnTo>
                    <a:pt x="181" y="455"/>
                  </a:lnTo>
                  <a:lnTo>
                    <a:pt x="174" y="440"/>
                  </a:lnTo>
                  <a:lnTo>
                    <a:pt x="164" y="434"/>
                  </a:lnTo>
                  <a:lnTo>
                    <a:pt x="151" y="432"/>
                  </a:lnTo>
                  <a:lnTo>
                    <a:pt x="120" y="439"/>
                  </a:lnTo>
                  <a:lnTo>
                    <a:pt x="110" y="440"/>
                  </a:lnTo>
                  <a:lnTo>
                    <a:pt x="102" y="432"/>
                  </a:lnTo>
                  <a:lnTo>
                    <a:pt x="96" y="417"/>
                  </a:lnTo>
                  <a:lnTo>
                    <a:pt x="90" y="395"/>
                  </a:lnTo>
                  <a:lnTo>
                    <a:pt x="70" y="341"/>
                  </a:lnTo>
                  <a:lnTo>
                    <a:pt x="64" y="332"/>
                  </a:lnTo>
                  <a:lnTo>
                    <a:pt x="55" y="322"/>
                  </a:lnTo>
                  <a:lnTo>
                    <a:pt x="46" y="312"/>
                  </a:lnTo>
                  <a:lnTo>
                    <a:pt x="29" y="298"/>
                  </a:lnTo>
                  <a:lnTo>
                    <a:pt x="0" y="293"/>
                  </a:lnTo>
                  <a:lnTo>
                    <a:pt x="16" y="277"/>
                  </a:lnTo>
                  <a:lnTo>
                    <a:pt x="35" y="243"/>
                  </a:lnTo>
                  <a:lnTo>
                    <a:pt x="38" y="233"/>
                  </a:lnTo>
                  <a:lnTo>
                    <a:pt x="39" y="222"/>
                  </a:lnTo>
                  <a:lnTo>
                    <a:pt x="38" y="150"/>
                  </a:lnTo>
                  <a:lnTo>
                    <a:pt x="72" y="152"/>
                  </a:lnTo>
                  <a:lnTo>
                    <a:pt x="91" y="151"/>
                  </a:lnTo>
                  <a:lnTo>
                    <a:pt x="139" y="143"/>
                  </a:lnTo>
                  <a:lnTo>
                    <a:pt x="155" y="143"/>
                  </a:lnTo>
                  <a:lnTo>
                    <a:pt x="165" y="144"/>
                  </a:lnTo>
                  <a:lnTo>
                    <a:pt x="172" y="147"/>
                  </a:lnTo>
                  <a:lnTo>
                    <a:pt x="178" y="151"/>
                  </a:lnTo>
                  <a:lnTo>
                    <a:pt x="185" y="152"/>
                  </a:lnTo>
                  <a:lnTo>
                    <a:pt x="189" y="149"/>
                  </a:lnTo>
                  <a:lnTo>
                    <a:pt x="193" y="139"/>
                  </a:lnTo>
                  <a:lnTo>
                    <a:pt x="195" y="137"/>
                  </a:lnTo>
                  <a:lnTo>
                    <a:pt x="198" y="136"/>
                  </a:lnTo>
                  <a:lnTo>
                    <a:pt x="205" y="138"/>
                  </a:lnTo>
                  <a:lnTo>
                    <a:pt x="211" y="142"/>
                  </a:lnTo>
                  <a:lnTo>
                    <a:pt x="219" y="143"/>
                  </a:lnTo>
                  <a:lnTo>
                    <a:pt x="229" y="142"/>
                  </a:lnTo>
                  <a:lnTo>
                    <a:pt x="245" y="133"/>
                  </a:lnTo>
                  <a:lnTo>
                    <a:pt x="271" y="116"/>
                  </a:lnTo>
                  <a:lnTo>
                    <a:pt x="279" y="112"/>
                  </a:lnTo>
                  <a:lnTo>
                    <a:pt x="292" y="107"/>
                  </a:lnTo>
                  <a:lnTo>
                    <a:pt x="300" y="105"/>
                  </a:lnTo>
                  <a:lnTo>
                    <a:pt x="313" y="98"/>
                  </a:lnTo>
                  <a:lnTo>
                    <a:pt x="320" y="94"/>
                  </a:lnTo>
                  <a:lnTo>
                    <a:pt x="330" y="93"/>
                  </a:lnTo>
                  <a:lnTo>
                    <a:pt x="338" y="91"/>
                  </a:lnTo>
                  <a:lnTo>
                    <a:pt x="346" y="90"/>
                  </a:lnTo>
                  <a:lnTo>
                    <a:pt x="356" y="92"/>
                  </a:lnTo>
                  <a:lnTo>
                    <a:pt x="363" y="93"/>
                  </a:lnTo>
                  <a:lnTo>
                    <a:pt x="370" y="92"/>
                  </a:lnTo>
                  <a:lnTo>
                    <a:pt x="378" y="89"/>
                  </a:lnTo>
                  <a:lnTo>
                    <a:pt x="387" y="87"/>
                  </a:lnTo>
                  <a:lnTo>
                    <a:pt x="420" y="84"/>
                  </a:lnTo>
                  <a:lnTo>
                    <a:pt x="479" y="56"/>
                  </a:lnTo>
                  <a:lnTo>
                    <a:pt x="488" y="51"/>
                  </a:lnTo>
                  <a:lnTo>
                    <a:pt x="494" y="49"/>
                  </a:lnTo>
                  <a:lnTo>
                    <a:pt x="517" y="49"/>
                  </a:lnTo>
                  <a:lnTo>
                    <a:pt x="535" y="46"/>
                  </a:lnTo>
                  <a:lnTo>
                    <a:pt x="599" y="26"/>
                  </a:lnTo>
                  <a:lnTo>
                    <a:pt x="615" y="17"/>
                  </a:lnTo>
                  <a:lnTo>
                    <a:pt x="622" y="13"/>
                  </a:lnTo>
                  <a:lnTo>
                    <a:pt x="630" y="10"/>
                  </a:lnTo>
                  <a:lnTo>
                    <a:pt x="639" y="8"/>
                  </a:lnTo>
                  <a:lnTo>
                    <a:pt x="751" y="0"/>
                  </a:lnTo>
                  <a:lnTo>
                    <a:pt x="737" y="15"/>
                  </a:lnTo>
                  <a:lnTo>
                    <a:pt x="736" y="20"/>
                  </a:lnTo>
                  <a:lnTo>
                    <a:pt x="737" y="24"/>
                  </a:lnTo>
                  <a:lnTo>
                    <a:pt x="739" y="29"/>
                  </a:lnTo>
                  <a:lnTo>
                    <a:pt x="743" y="49"/>
                  </a:lnTo>
                  <a:lnTo>
                    <a:pt x="748" y="55"/>
                  </a:lnTo>
                  <a:lnTo>
                    <a:pt x="755" y="60"/>
                  </a:lnTo>
                  <a:lnTo>
                    <a:pt x="810" y="72"/>
                  </a:lnTo>
                  <a:lnTo>
                    <a:pt x="875" y="9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0835603C-E85F-45D0-8A35-FF0A7204D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221" y="1708048"/>
              <a:ext cx="2356379" cy="1476782"/>
            </a:xfrm>
            <a:custGeom>
              <a:avLst/>
              <a:gdLst>
                <a:gd name="T0" fmla="*/ 397 w 1602"/>
                <a:gd name="T1" fmla="*/ 35 h 1004"/>
                <a:gd name="T2" fmla="*/ 475 w 1602"/>
                <a:gd name="T3" fmla="*/ 26 h 1004"/>
                <a:gd name="T4" fmla="*/ 589 w 1602"/>
                <a:gd name="T5" fmla="*/ 172 h 1004"/>
                <a:gd name="T6" fmla="*/ 662 w 1602"/>
                <a:gd name="T7" fmla="*/ 243 h 1004"/>
                <a:gd name="T8" fmla="*/ 799 w 1602"/>
                <a:gd name="T9" fmla="*/ 294 h 1004"/>
                <a:gd name="T10" fmla="*/ 901 w 1602"/>
                <a:gd name="T11" fmla="*/ 265 h 1004"/>
                <a:gd name="T12" fmla="*/ 1046 w 1602"/>
                <a:gd name="T13" fmla="*/ 310 h 1004"/>
                <a:gd name="T14" fmla="*/ 1131 w 1602"/>
                <a:gd name="T15" fmla="*/ 337 h 1004"/>
                <a:gd name="T16" fmla="*/ 1161 w 1602"/>
                <a:gd name="T17" fmla="*/ 245 h 1004"/>
                <a:gd name="T18" fmla="*/ 1233 w 1602"/>
                <a:gd name="T19" fmla="*/ 257 h 1004"/>
                <a:gd name="T20" fmla="*/ 1278 w 1602"/>
                <a:gd name="T21" fmla="*/ 276 h 1004"/>
                <a:gd name="T22" fmla="*/ 1345 w 1602"/>
                <a:gd name="T23" fmla="*/ 288 h 1004"/>
                <a:gd name="T24" fmla="*/ 1373 w 1602"/>
                <a:gd name="T25" fmla="*/ 305 h 1004"/>
                <a:gd name="T26" fmla="*/ 1423 w 1602"/>
                <a:gd name="T27" fmla="*/ 337 h 1004"/>
                <a:gd name="T28" fmla="*/ 1493 w 1602"/>
                <a:gd name="T29" fmla="*/ 361 h 1004"/>
                <a:gd name="T30" fmla="*/ 1557 w 1602"/>
                <a:gd name="T31" fmla="*/ 384 h 1004"/>
                <a:gd name="T32" fmla="*/ 1576 w 1602"/>
                <a:gd name="T33" fmla="*/ 399 h 1004"/>
                <a:gd name="T34" fmla="*/ 1560 w 1602"/>
                <a:gd name="T35" fmla="*/ 448 h 1004"/>
                <a:gd name="T36" fmla="*/ 1598 w 1602"/>
                <a:gd name="T37" fmla="*/ 607 h 1004"/>
                <a:gd name="T38" fmla="*/ 1511 w 1602"/>
                <a:gd name="T39" fmla="*/ 609 h 1004"/>
                <a:gd name="T40" fmla="*/ 1390 w 1602"/>
                <a:gd name="T41" fmla="*/ 935 h 1004"/>
                <a:gd name="T42" fmla="*/ 1346 w 1602"/>
                <a:gd name="T43" fmla="*/ 968 h 1004"/>
                <a:gd name="T44" fmla="*/ 1292 w 1602"/>
                <a:gd name="T45" fmla="*/ 945 h 1004"/>
                <a:gd name="T46" fmla="*/ 1272 w 1602"/>
                <a:gd name="T47" fmla="*/ 941 h 1004"/>
                <a:gd name="T48" fmla="*/ 1233 w 1602"/>
                <a:gd name="T49" fmla="*/ 905 h 1004"/>
                <a:gd name="T50" fmla="*/ 1197 w 1602"/>
                <a:gd name="T51" fmla="*/ 895 h 1004"/>
                <a:gd name="T52" fmla="*/ 1164 w 1602"/>
                <a:gd name="T53" fmla="*/ 864 h 1004"/>
                <a:gd name="T54" fmla="*/ 1156 w 1602"/>
                <a:gd name="T55" fmla="*/ 866 h 1004"/>
                <a:gd name="T56" fmla="*/ 1105 w 1602"/>
                <a:gd name="T57" fmla="*/ 860 h 1004"/>
                <a:gd name="T58" fmla="*/ 1058 w 1602"/>
                <a:gd name="T59" fmla="*/ 838 h 1004"/>
                <a:gd name="T60" fmla="*/ 1045 w 1602"/>
                <a:gd name="T61" fmla="*/ 827 h 1004"/>
                <a:gd name="T62" fmla="*/ 1007 w 1602"/>
                <a:gd name="T63" fmla="*/ 821 h 1004"/>
                <a:gd name="T64" fmla="*/ 994 w 1602"/>
                <a:gd name="T65" fmla="*/ 823 h 1004"/>
                <a:gd name="T66" fmla="*/ 967 w 1602"/>
                <a:gd name="T67" fmla="*/ 833 h 1004"/>
                <a:gd name="T68" fmla="*/ 929 w 1602"/>
                <a:gd name="T69" fmla="*/ 834 h 1004"/>
                <a:gd name="T70" fmla="*/ 911 w 1602"/>
                <a:gd name="T71" fmla="*/ 834 h 1004"/>
                <a:gd name="T72" fmla="*/ 893 w 1602"/>
                <a:gd name="T73" fmla="*/ 846 h 1004"/>
                <a:gd name="T74" fmla="*/ 846 w 1602"/>
                <a:gd name="T75" fmla="*/ 825 h 1004"/>
                <a:gd name="T76" fmla="*/ 825 w 1602"/>
                <a:gd name="T77" fmla="*/ 811 h 1004"/>
                <a:gd name="T78" fmla="*/ 785 w 1602"/>
                <a:gd name="T79" fmla="*/ 810 h 1004"/>
                <a:gd name="T80" fmla="*/ 767 w 1602"/>
                <a:gd name="T81" fmla="*/ 799 h 1004"/>
                <a:gd name="T82" fmla="*/ 743 w 1602"/>
                <a:gd name="T83" fmla="*/ 764 h 1004"/>
                <a:gd name="T84" fmla="*/ 720 w 1602"/>
                <a:gd name="T85" fmla="*/ 672 h 1004"/>
                <a:gd name="T86" fmla="*/ 645 w 1602"/>
                <a:gd name="T87" fmla="*/ 688 h 1004"/>
                <a:gd name="T88" fmla="*/ 570 w 1602"/>
                <a:gd name="T89" fmla="*/ 705 h 1004"/>
                <a:gd name="T90" fmla="*/ 522 w 1602"/>
                <a:gd name="T91" fmla="*/ 731 h 1004"/>
                <a:gd name="T92" fmla="*/ 369 w 1602"/>
                <a:gd name="T93" fmla="*/ 674 h 1004"/>
                <a:gd name="T94" fmla="*/ 375 w 1602"/>
                <a:gd name="T95" fmla="*/ 614 h 1004"/>
                <a:gd name="T96" fmla="*/ 340 w 1602"/>
                <a:gd name="T97" fmla="*/ 574 h 1004"/>
                <a:gd name="T98" fmla="*/ 290 w 1602"/>
                <a:gd name="T99" fmla="*/ 506 h 1004"/>
                <a:gd name="T100" fmla="*/ 315 w 1602"/>
                <a:gd name="T101" fmla="*/ 448 h 1004"/>
                <a:gd name="T102" fmla="*/ 107 w 1602"/>
                <a:gd name="T103" fmla="*/ 591 h 1004"/>
                <a:gd name="T104" fmla="*/ 28 w 1602"/>
                <a:gd name="T105" fmla="*/ 592 h 1004"/>
                <a:gd name="T106" fmla="*/ 63 w 1602"/>
                <a:gd name="T107" fmla="*/ 479 h 1004"/>
                <a:gd name="T108" fmla="*/ 69 w 1602"/>
                <a:gd name="T109" fmla="*/ 402 h 1004"/>
                <a:gd name="T110" fmla="*/ 2 w 1602"/>
                <a:gd name="T111" fmla="*/ 338 h 1004"/>
                <a:gd name="T112" fmla="*/ 38 w 1602"/>
                <a:gd name="T113" fmla="*/ 288 h 1004"/>
                <a:gd name="T114" fmla="*/ 129 w 1602"/>
                <a:gd name="T115" fmla="*/ 310 h 1004"/>
                <a:gd name="T116" fmla="*/ 184 w 1602"/>
                <a:gd name="T117" fmla="*/ 251 h 1004"/>
                <a:gd name="T118" fmla="*/ 227 w 1602"/>
                <a:gd name="T119" fmla="*/ 215 h 1004"/>
                <a:gd name="T120" fmla="*/ 246 w 1602"/>
                <a:gd name="T121" fmla="*/ 166 h 1004"/>
                <a:gd name="T122" fmla="*/ 224 w 1602"/>
                <a:gd name="T123" fmla="*/ 110 h 1004"/>
                <a:gd name="T124" fmla="*/ 225 w 1602"/>
                <a:gd name="T125" fmla="*/ 0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2" h="1004">
                  <a:moveTo>
                    <a:pt x="291" y="31"/>
                  </a:moveTo>
                  <a:lnTo>
                    <a:pt x="299" y="30"/>
                  </a:lnTo>
                  <a:lnTo>
                    <a:pt x="306" y="26"/>
                  </a:lnTo>
                  <a:lnTo>
                    <a:pt x="317" y="24"/>
                  </a:lnTo>
                  <a:lnTo>
                    <a:pt x="329" y="26"/>
                  </a:lnTo>
                  <a:lnTo>
                    <a:pt x="366" y="37"/>
                  </a:lnTo>
                  <a:lnTo>
                    <a:pt x="383" y="37"/>
                  </a:lnTo>
                  <a:lnTo>
                    <a:pt x="397" y="35"/>
                  </a:lnTo>
                  <a:lnTo>
                    <a:pt x="407" y="30"/>
                  </a:lnTo>
                  <a:lnTo>
                    <a:pt x="415" y="24"/>
                  </a:lnTo>
                  <a:lnTo>
                    <a:pt x="424" y="20"/>
                  </a:lnTo>
                  <a:lnTo>
                    <a:pt x="434" y="16"/>
                  </a:lnTo>
                  <a:lnTo>
                    <a:pt x="453" y="12"/>
                  </a:lnTo>
                  <a:lnTo>
                    <a:pt x="461" y="16"/>
                  </a:lnTo>
                  <a:lnTo>
                    <a:pt x="471" y="21"/>
                  </a:lnTo>
                  <a:lnTo>
                    <a:pt x="475" y="26"/>
                  </a:lnTo>
                  <a:lnTo>
                    <a:pt x="482" y="38"/>
                  </a:lnTo>
                  <a:lnTo>
                    <a:pt x="551" y="120"/>
                  </a:lnTo>
                  <a:lnTo>
                    <a:pt x="572" y="138"/>
                  </a:lnTo>
                  <a:lnTo>
                    <a:pt x="574" y="141"/>
                  </a:lnTo>
                  <a:lnTo>
                    <a:pt x="575" y="143"/>
                  </a:lnTo>
                  <a:lnTo>
                    <a:pt x="575" y="149"/>
                  </a:lnTo>
                  <a:lnTo>
                    <a:pt x="576" y="153"/>
                  </a:lnTo>
                  <a:lnTo>
                    <a:pt x="589" y="172"/>
                  </a:lnTo>
                  <a:lnTo>
                    <a:pt x="594" y="178"/>
                  </a:lnTo>
                  <a:lnTo>
                    <a:pt x="601" y="189"/>
                  </a:lnTo>
                  <a:lnTo>
                    <a:pt x="603" y="192"/>
                  </a:lnTo>
                  <a:lnTo>
                    <a:pt x="607" y="198"/>
                  </a:lnTo>
                  <a:lnTo>
                    <a:pt x="615" y="204"/>
                  </a:lnTo>
                  <a:lnTo>
                    <a:pt x="652" y="230"/>
                  </a:lnTo>
                  <a:lnTo>
                    <a:pt x="658" y="238"/>
                  </a:lnTo>
                  <a:lnTo>
                    <a:pt x="662" y="243"/>
                  </a:lnTo>
                  <a:lnTo>
                    <a:pt x="669" y="253"/>
                  </a:lnTo>
                  <a:lnTo>
                    <a:pt x="683" y="244"/>
                  </a:lnTo>
                  <a:lnTo>
                    <a:pt x="700" y="240"/>
                  </a:lnTo>
                  <a:lnTo>
                    <a:pt x="714" y="259"/>
                  </a:lnTo>
                  <a:lnTo>
                    <a:pt x="749" y="285"/>
                  </a:lnTo>
                  <a:lnTo>
                    <a:pt x="761" y="292"/>
                  </a:lnTo>
                  <a:lnTo>
                    <a:pt x="788" y="291"/>
                  </a:lnTo>
                  <a:lnTo>
                    <a:pt x="799" y="294"/>
                  </a:lnTo>
                  <a:lnTo>
                    <a:pt x="804" y="304"/>
                  </a:lnTo>
                  <a:lnTo>
                    <a:pt x="810" y="310"/>
                  </a:lnTo>
                  <a:lnTo>
                    <a:pt x="826" y="303"/>
                  </a:lnTo>
                  <a:lnTo>
                    <a:pt x="853" y="283"/>
                  </a:lnTo>
                  <a:lnTo>
                    <a:pt x="860" y="281"/>
                  </a:lnTo>
                  <a:lnTo>
                    <a:pt x="882" y="273"/>
                  </a:lnTo>
                  <a:lnTo>
                    <a:pt x="895" y="267"/>
                  </a:lnTo>
                  <a:lnTo>
                    <a:pt x="901" y="265"/>
                  </a:lnTo>
                  <a:lnTo>
                    <a:pt x="953" y="260"/>
                  </a:lnTo>
                  <a:lnTo>
                    <a:pt x="1016" y="265"/>
                  </a:lnTo>
                  <a:lnTo>
                    <a:pt x="1019" y="268"/>
                  </a:lnTo>
                  <a:lnTo>
                    <a:pt x="1023" y="276"/>
                  </a:lnTo>
                  <a:lnTo>
                    <a:pt x="1027" y="283"/>
                  </a:lnTo>
                  <a:lnTo>
                    <a:pt x="1029" y="299"/>
                  </a:lnTo>
                  <a:lnTo>
                    <a:pt x="1033" y="304"/>
                  </a:lnTo>
                  <a:lnTo>
                    <a:pt x="1046" y="310"/>
                  </a:lnTo>
                  <a:lnTo>
                    <a:pt x="1073" y="330"/>
                  </a:lnTo>
                  <a:lnTo>
                    <a:pt x="1088" y="338"/>
                  </a:lnTo>
                  <a:lnTo>
                    <a:pt x="1104" y="343"/>
                  </a:lnTo>
                  <a:lnTo>
                    <a:pt x="1120" y="344"/>
                  </a:lnTo>
                  <a:lnTo>
                    <a:pt x="1127" y="345"/>
                  </a:lnTo>
                  <a:lnTo>
                    <a:pt x="1131" y="343"/>
                  </a:lnTo>
                  <a:lnTo>
                    <a:pt x="1132" y="340"/>
                  </a:lnTo>
                  <a:lnTo>
                    <a:pt x="1131" y="337"/>
                  </a:lnTo>
                  <a:lnTo>
                    <a:pt x="1127" y="332"/>
                  </a:lnTo>
                  <a:lnTo>
                    <a:pt x="1124" y="324"/>
                  </a:lnTo>
                  <a:lnTo>
                    <a:pt x="1118" y="269"/>
                  </a:lnTo>
                  <a:lnTo>
                    <a:pt x="1118" y="258"/>
                  </a:lnTo>
                  <a:lnTo>
                    <a:pt x="1120" y="252"/>
                  </a:lnTo>
                  <a:lnTo>
                    <a:pt x="1129" y="247"/>
                  </a:lnTo>
                  <a:lnTo>
                    <a:pt x="1139" y="245"/>
                  </a:lnTo>
                  <a:lnTo>
                    <a:pt x="1161" y="245"/>
                  </a:lnTo>
                  <a:lnTo>
                    <a:pt x="1173" y="249"/>
                  </a:lnTo>
                  <a:lnTo>
                    <a:pt x="1183" y="254"/>
                  </a:lnTo>
                  <a:lnTo>
                    <a:pt x="1190" y="259"/>
                  </a:lnTo>
                  <a:lnTo>
                    <a:pt x="1198" y="260"/>
                  </a:lnTo>
                  <a:lnTo>
                    <a:pt x="1203" y="260"/>
                  </a:lnTo>
                  <a:lnTo>
                    <a:pt x="1210" y="258"/>
                  </a:lnTo>
                  <a:lnTo>
                    <a:pt x="1216" y="257"/>
                  </a:lnTo>
                  <a:lnTo>
                    <a:pt x="1233" y="257"/>
                  </a:lnTo>
                  <a:lnTo>
                    <a:pt x="1240" y="255"/>
                  </a:lnTo>
                  <a:lnTo>
                    <a:pt x="1247" y="253"/>
                  </a:lnTo>
                  <a:lnTo>
                    <a:pt x="1253" y="252"/>
                  </a:lnTo>
                  <a:lnTo>
                    <a:pt x="1259" y="253"/>
                  </a:lnTo>
                  <a:lnTo>
                    <a:pt x="1265" y="256"/>
                  </a:lnTo>
                  <a:lnTo>
                    <a:pt x="1268" y="260"/>
                  </a:lnTo>
                  <a:lnTo>
                    <a:pt x="1274" y="270"/>
                  </a:lnTo>
                  <a:lnTo>
                    <a:pt x="1278" y="276"/>
                  </a:lnTo>
                  <a:lnTo>
                    <a:pt x="1287" y="279"/>
                  </a:lnTo>
                  <a:lnTo>
                    <a:pt x="1294" y="279"/>
                  </a:lnTo>
                  <a:lnTo>
                    <a:pt x="1304" y="277"/>
                  </a:lnTo>
                  <a:lnTo>
                    <a:pt x="1311" y="273"/>
                  </a:lnTo>
                  <a:lnTo>
                    <a:pt x="1316" y="273"/>
                  </a:lnTo>
                  <a:lnTo>
                    <a:pt x="1322" y="276"/>
                  </a:lnTo>
                  <a:lnTo>
                    <a:pt x="1330" y="281"/>
                  </a:lnTo>
                  <a:lnTo>
                    <a:pt x="1345" y="288"/>
                  </a:lnTo>
                  <a:lnTo>
                    <a:pt x="1353" y="292"/>
                  </a:lnTo>
                  <a:lnTo>
                    <a:pt x="1357" y="295"/>
                  </a:lnTo>
                  <a:lnTo>
                    <a:pt x="1358" y="299"/>
                  </a:lnTo>
                  <a:lnTo>
                    <a:pt x="1360" y="303"/>
                  </a:lnTo>
                  <a:lnTo>
                    <a:pt x="1364" y="304"/>
                  </a:lnTo>
                  <a:lnTo>
                    <a:pt x="1370" y="299"/>
                  </a:lnTo>
                  <a:lnTo>
                    <a:pt x="1372" y="302"/>
                  </a:lnTo>
                  <a:lnTo>
                    <a:pt x="1373" y="305"/>
                  </a:lnTo>
                  <a:lnTo>
                    <a:pt x="1374" y="312"/>
                  </a:lnTo>
                  <a:lnTo>
                    <a:pt x="1377" y="317"/>
                  </a:lnTo>
                  <a:lnTo>
                    <a:pt x="1380" y="321"/>
                  </a:lnTo>
                  <a:lnTo>
                    <a:pt x="1383" y="325"/>
                  </a:lnTo>
                  <a:lnTo>
                    <a:pt x="1392" y="332"/>
                  </a:lnTo>
                  <a:lnTo>
                    <a:pt x="1412" y="338"/>
                  </a:lnTo>
                  <a:lnTo>
                    <a:pt x="1419" y="338"/>
                  </a:lnTo>
                  <a:lnTo>
                    <a:pt x="1423" y="337"/>
                  </a:lnTo>
                  <a:lnTo>
                    <a:pt x="1454" y="338"/>
                  </a:lnTo>
                  <a:lnTo>
                    <a:pt x="1461" y="341"/>
                  </a:lnTo>
                  <a:lnTo>
                    <a:pt x="1469" y="345"/>
                  </a:lnTo>
                  <a:lnTo>
                    <a:pt x="1474" y="347"/>
                  </a:lnTo>
                  <a:lnTo>
                    <a:pt x="1485" y="347"/>
                  </a:lnTo>
                  <a:lnTo>
                    <a:pt x="1488" y="349"/>
                  </a:lnTo>
                  <a:lnTo>
                    <a:pt x="1490" y="355"/>
                  </a:lnTo>
                  <a:lnTo>
                    <a:pt x="1493" y="361"/>
                  </a:lnTo>
                  <a:lnTo>
                    <a:pt x="1495" y="368"/>
                  </a:lnTo>
                  <a:lnTo>
                    <a:pt x="1498" y="371"/>
                  </a:lnTo>
                  <a:lnTo>
                    <a:pt x="1503" y="373"/>
                  </a:lnTo>
                  <a:lnTo>
                    <a:pt x="1510" y="374"/>
                  </a:lnTo>
                  <a:lnTo>
                    <a:pt x="1521" y="379"/>
                  </a:lnTo>
                  <a:lnTo>
                    <a:pt x="1544" y="385"/>
                  </a:lnTo>
                  <a:lnTo>
                    <a:pt x="1551" y="385"/>
                  </a:lnTo>
                  <a:lnTo>
                    <a:pt x="1557" y="384"/>
                  </a:lnTo>
                  <a:lnTo>
                    <a:pt x="1561" y="383"/>
                  </a:lnTo>
                  <a:lnTo>
                    <a:pt x="1563" y="384"/>
                  </a:lnTo>
                  <a:lnTo>
                    <a:pt x="1564" y="386"/>
                  </a:lnTo>
                  <a:lnTo>
                    <a:pt x="1563" y="394"/>
                  </a:lnTo>
                  <a:lnTo>
                    <a:pt x="1564" y="398"/>
                  </a:lnTo>
                  <a:lnTo>
                    <a:pt x="1566" y="399"/>
                  </a:lnTo>
                  <a:lnTo>
                    <a:pt x="1575" y="399"/>
                  </a:lnTo>
                  <a:lnTo>
                    <a:pt x="1576" y="399"/>
                  </a:lnTo>
                  <a:lnTo>
                    <a:pt x="1576" y="399"/>
                  </a:lnTo>
                  <a:lnTo>
                    <a:pt x="1568" y="402"/>
                  </a:lnTo>
                  <a:lnTo>
                    <a:pt x="1561" y="408"/>
                  </a:lnTo>
                  <a:lnTo>
                    <a:pt x="1558" y="415"/>
                  </a:lnTo>
                  <a:lnTo>
                    <a:pt x="1559" y="422"/>
                  </a:lnTo>
                  <a:lnTo>
                    <a:pt x="1561" y="435"/>
                  </a:lnTo>
                  <a:lnTo>
                    <a:pt x="1562" y="441"/>
                  </a:lnTo>
                  <a:lnTo>
                    <a:pt x="1560" y="448"/>
                  </a:lnTo>
                  <a:lnTo>
                    <a:pt x="1557" y="460"/>
                  </a:lnTo>
                  <a:lnTo>
                    <a:pt x="1555" y="468"/>
                  </a:lnTo>
                  <a:lnTo>
                    <a:pt x="1586" y="569"/>
                  </a:lnTo>
                  <a:lnTo>
                    <a:pt x="1586" y="576"/>
                  </a:lnTo>
                  <a:lnTo>
                    <a:pt x="1585" y="588"/>
                  </a:lnTo>
                  <a:lnTo>
                    <a:pt x="1586" y="593"/>
                  </a:lnTo>
                  <a:lnTo>
                    <a:pt x="1591" y="601"/>
                  </a:lnTo>
                  <a:lnTo>
                    <a:pt x="1598" y="607"/>
                  </a:lnTo>
                  <a:lnTo>
                    <a:pt x="1602" y="614"/>
                  </a:lnTo>
                  <a:lnTo>
                    <a:pt x="1602" y="618"/>
                  </a:lnTo>
                  <a:lnTo>
                    <a:pt x="1597" y="618"/>
                  </a:lnTo>
                  <a:lnTo>
                    <a:pt x="1565" y="618"/>
                  </a:lnTo>
                  <a:lnTo>
                    <a:pt x="1536" y="621"/>
                  </a:lnTo>
                  <a:lnTo>
                    <a:pt x="1521" y="621"/>
                  </a:lnTo>
                  <a:lnTo>
                    <a:pt x="1514" y="616"/>
                  </a:lnTo>
                  <a:lnTo>
                    <a:pt x="1511" y="609"/>
                  </a:lnTo>
                  <a:lnTo>
                    <a:pt x="1501" y="599"/>
                  </a:lnTo>
                  <a:lnTo>
                    <a:pt x="1483" y="581"/>
                  </a:lnTo>
                  <a:lnTo>
                    <a:pt x="1479" y="587"/>
                  </a:lnTo>
                  <a:lnTo>
                    <a:pt x="1470" y="620"/>
                  </a:lnTo>
                  <a:lnTo>
                    <a:pt x="1449" y="699"/>
                  </a:lnTo>
                  <a:lnTo>
                    <a:pt x="1430" y="778"/>
                  </a:lnTo>
                  <a:lnTo>
                    <a:pt x="1409" y="857"/>
                  </a:lnTo>
                  <a:lnTo>
                    <a:pt x="1390" y="935"/>
                  </a:lnTo>
                  <a:lnTo>
                    <a:pt x="1380" y="974"/>
                  </a:lnTo>
                  <a:lnTo>
                    <a:pt x="1371" y="998"/>
                  </a:lnTo>
                  <a:lnTo>
                    <a:pt x="1366" y="1004"/>
                  </a:lnTo>
                  <a:lnTo>
                    <a:pt x="1366" y="1004"/>
                  </a:lnTo>
                  <a:lnTo>
                    <a:pt x="1358" y="991"/>
                  </a:lnTo>
                  <a:lnTo>
                    <a:pt x="1355" y="977"/>
                  </a:lnTo>
                  <a:lnTo>
                    <a:pt x="1352" y="970"/>
                  </a:lnTo>
                  <a:lnTo>
                    <a:pt x="1346" y="968"/>
                  </a:lnTo>
                  <a:lnTo>
                    <a:pt x="1341" y="967"/>
                  </a:lnTo>
                  <a:lnTo>
                    <a:pt x="1334" y="965"/>
                  </a:lnTo>
                  <a:lnTo>
                    <a:pt x="1330" y="961"/>
                  </a:lnTo>
                  <a:lnTo>
                    <a:pt x="1326" y="959"/>
                  </a:lnTo>
                  <a:lnTo>
                    <a:pt x="1321" y="958"/>
                  </a:lnTo>
                  <a:lnTo>
                    <a:pt x="1318" y="955"/>
                  </a:lnTo>
                  <a:lnTo>
                    <a:pt x="1298" y="947"/>
                  </a:lnTo>
                  <a:lnTo>
                    <a:pt x="1292" y="945"/>
                  </a:lnTo>
                  <a:lnTo>
                    <a:pt x="1288" y="943"/>
                  </a:lnTo>
                  <a:lnTo>
                    <a:pt x="1287" y="941"/>
                  </a:lnTo>
                  <a:lnTo>
                    <a:pt x="1286" y="938"/>
                  </a:lnTo>
                  <a:lnTo>
                    <a:pt x="1283" y="937"/>
                  </a:lnTo>
                  <a:lnTo>
                    <a:pt x="1281" y="939"/>
                  </a:lnTo>
                  <a:lnTo>
                    <a:pt x="1278" y="941"/>
                  </a:lnTo>
                  <a:lnTo>
                    <a:pt x="1274" y="943"/>
                  </a:lnTo>
                  <a:lnTo>
                    <a:pt x="1272" y="941"/>
                  </a:lnTo>
                  <a:lnTo>
                    <a:pt x="1269" y="935"/>
                  </a:lnTo>
                  <a:lnTo>
                    <a:pt x="1263" y="927"/>
                  </a:lnTo>
                  <a:lnTo>
                    <a:pt x="1257" y="917"/>
                  </a:lnTo>
                  <a:lnTo>
                    <a:pt x="1256" y="915"/>
                  </a:lnTo>
                  <a:lnTo>
                    <a:pt x="1254" y="909"/>
                  </a:lnTo>
                  <a:lnTo>
                    <a:pt x="1251" y="907"/>
                  </a:lnTo>
                  <a:lnTo>
                    <a:pt x="1242" y="907"/>
                  </a:lnTo>
                  <a:lnTo>
                    <a:pt x="1233" y="905"/>
                  </a:lnTo>
                  <a:lnTo>
                    <a:pt x="1223" y="904"/>
                  </a:lnTo>
                  <a:lnTo>
                    <a:pt x="1221" y="903"/>
                  </a:lnTo>
                  <a:lnTo>
                    <a:pt x="1217" y="900"/>
                  </a:lnTo>
                  <a:lnTo>
                    <a:pt x="1215" y="898"/>
                  </a:lnTo>
                  <a:lnTo>
                    <a:pt x="1210" y="894"/>
                  </a:lnTo>
                  <a:lnTo>
                    <a:pt x="1205" y="893"/>
                  </a:lnTo>
                  <a:lnTo>
                    <a:pt x="1201" y="894"/>
                  </a:lnTo>
                  <a:lnTo>
                    <a:pt x="1197" y="895"/>
                  </a:lnTo>
                  <a:lnTo>
                    <a:pt x="1196" y="894"/>
                  </a:lnTo>
                  <a:lnTo>
                    <a:pt x="1196" y="892"/>
                  </a:lnTo>
                  <a:lnTo>
                    <a:pt x="1195" y="888"/>
                  </a:lnTo>
                  <a:lnTo>
                    <a:pt x="1189" y="877"/>
                  </a:lnTo>
                  <a:lnTo>
                    <a:pt x="1185" y="875"/>
                  </a:lnTo>
                  <a:lnTo>
                    <a:pt x="1169" y="870"/>
                  </a:lnTo>
                  <a:lnTo>
                    <a:pt x="1165" y="867"/>
                  </a:lnTo>
                  <a:lnTo>
                    <a:pt x="1164" y="864"/>
                  </a:lnTo>
                  <a:lnTo>
                    <a:pt x="1166" y="861"/>
                  </a:lnTo>
                  <a:lnTo>
                    <a:pt x="1166" y="857"/>
                  </a:lnTo>
                  <a:lnTo>
                    <a:pt x="1164" y="857"/>
                  </a:lnTo>
                  <a:lnTo>
                    <a:pt x="1161" y="859"/>
                  </a:lnTo>
                  <a:lnTo>
                    <a:pt x="1157" y="859"/>
                  </a:lnTo>
                  <a:lnTo>
                    <a:pt x="1155" y="860"/>
                  </a:lnTo>
                  <a:lnTo>
                    <a:pt x="1155" y="863"/>
                  </a:lnTo>
                  <a:lnTo>
                    <a:pt x="1156" y="866"/>
                  </a:lnTo>
                  <a:lnTo>
                    <a:pt x="1155" y="869"/>
                  </a:lnTo>
                  <a:lnTo>
                    <a:pt x="1152" y="870"/>
                  </a:lnTo>
                  <a:lnTo>
                    <a:pt x="1148" y="872"/>
                  </a:lnTo>
                  <a:lnTo>
                    <a:pt x="1142" y="870"/>
                  </a:lnTo>
                  <a:lnTo>
                    <a:pt x="1130" y="870"/>
                  </a:lnTo>
                  <a:lnTo>
                    <a:pt x="1119" y="868"/>
                  </a:lnTo>
                  <a:lnTo>
                    <a:pt x="1110" y="864"/>
                  </a:lnTo>
                  <a:lnTo>
                    <a:pt x="1105" y="860"/>
                  </a:lnTo>
                  <a:lnTo>
                    <a:pt x="1101" y="857"/>
                  </a:lnTo>
                  <a:lnTo>
                    <a:pt x="1093" y="857"/>
                  </a:lnTo>
                  <a:lnTo>
                    <a:pt x="1091" y="855"/>
                  </a:lnTo>
                  <a:lnTo>
                    <a:pt x="1087" y="851"/>
                  </a:lnTo>
                  <a:lnTo>
                    <a:pt x="1082" y="846"/>
                  </a:lnTo>
                  <a:lnTo>
                    <a:pt x="1074" y="843"/>
                  </a:lnTo>
                  <a:lnTo>
                    <a:pt x="1066" y="842"/>
                  </a:lnTo>
                  <a:lnTo>
                    <a:pt x="1058" y="838"/>
                  </a:lnTo>
                  <a:lnTo>
                    <a:pt x="1055" y="837"/>
                  </a:lnTo>
                  <a:lnTo>
                    <a:pt x="1052" y="837"/>
                  </a:lnTo>
                  <a:lnTo>
                    <a:pt x="1051" y="839"/>
                  </a:lnTo>
                  <a:lnTo>
                    <a:pt x="1047" y="840"/>
                  </a:lnTo>
                  <a:lnTo>
                    <a:pt x="1046" y="838"/>
                  </a:lnTo>
                  <a:lnTo>
                    <a:pt x="1046" y="835"/>
                  </a:lnTo>
                  <a:lnTo>
                    <a:pt x="1046" y="830"/>
                  </a:lnTo>
                  <a:lnTo>
                    <a:pt x="1045" y="827"/>
                  </a:lnTo>
                  <a:lnTo>
                    <a:pt x="1043" y="823"/>
                  </a:lnTo>
                  <a:lnTo>
                    <a:pt x="1041" y="822"/>
                  </a:lnTo>
                  <a:lnTo>
                    <a:pt x="1039" y="824"/>
                  </a:lnTo>
                  <a:lnTo>
                    <a:pt x="1036" y="826"/>
                  </a:lnTo>
                  <a:lnTo>
                    <a:pt x="1033" y="827"/>
                  </a:lnTo>
                  <a:lnTo>
                    <a:pt x="1026" y="827"/>
                  </a:lnTo>
                  <a:lnTo>
                    <a:pt x="1014" y="821"/>
                  </a:lnTo>
                  <a:lnTo>
                    <a:pt x="1007" y="821"/>
                  </a:lnTo>
                  <a:lnTo>
                    <a:pt x="1004" y="822"/>
                  </a:lnTo>
                  <a:lnTo>
                    <a:pt x="1003" y="824"/>
                  </a:lnTo>
                  <a:lnTo>
                    <a:pt x="1002" y="825"/>
                  </a:lnTo>
                  <a:lnTo>
                    <a:pt x="1001" y="824"/>
                  </a:lnTo>
                  <a:lnTo>
                    <a:pt x="1000" y="822"/>
                  </a:lnTo>
                  <a:lnTo>
                    <a:pt x="999" y="821"/>
                  </a:lnTo>
                  <a:lnTo>
                    <a:pt x="996" y="821"/>
                  </a:lnTo>
                  <a:lnTo>
                    <a:pt x="994" y="823"/>
                  </a:lnTo>
                  <a:lnTo>
                    <a:pt x="988" y="829"/>
                  </a:lnTo>
                  <a:lnTo>
                    <a:pt x="986" y="831"/>
                  </a:lnTo>
                  <a:lnTo>
                    <a:pt x="983" y="834"/>
                  </a:lnTo>
                  <a:lnTo>
                    <a:pt x="981" y="835"/>
                  </a:lnTo>
                  <a:lnTo>
                    <a:pt x="977" y="834"/>
                  </a:lnTo>
                  <a:lnTo>
                    <a:pt x="974" y="834"/>
                  </a:lnTo>
                  <a:lnTo>
                    <a:pt x="969" y="834"/>
                  </a:lnTo>
                  <a:lnTo>
                    <a:pt x="967" y="833"/>
                  </a:lnTo>
                  <a:lnTo>
                    <a:pt x="964" y="829"/>
                  </a:lnTo>
                  <a:lnTo>
                    <a:pt x="961" y="830"/>
                  </a:lnTo>
                  <a:lnTo>
                    <a:pt x="949" y="831"/>
                  </a:lnTo>
                  <a:lnTo>
                    <a:pt x="943" y="828"/>
                  </a:lnTo>
                  <a:lnTo>
                    <a:pt x="940" y="828"/>
                  </a:lnTo>
                  <a:lnTo>
                    <a:pt x="936" y="829"/>
                  </a:lnTo>
                  <a:lnTo>
                    <a:pt x="932" y="831"/>
                  </a:lnTo>
                  <a:lnTo>
                    <a:pt x="929" y="834"/>
                  </a:lnTo>
                  <a:lnTo>
                    <a:pt x="926" y="833"/>
                  </a:lnTo>
                  <a:lnTo>
                    <a:pt x="925" y="830"/>
                  </a:lnTo>
                  <a:lnTo>
                    <a:pt x="923" y="827"/>
                  </a:lnTo>
                  <a:lnTo>
                    <a:pt x="921" y="827"/>
                  </a:lnTo>
                  <a:lnTo>
                    <a:pt x="918" y="829"/>
                  </a:lnTo>
                  <a:lnTo>
                    <a:pt x="916" y="833"/>
                  </a:lnTo>
                  <a:lnTo>
                    <a:pt x="914" y="835"/>
                  </a:lnTo>
                  <a:lnTo>
                    <a:pt x="911" y="834"/>
                  </a:lnTo>
                  <a:lnTo>
                    <a:pt x="909" y="835"/>
                  </a:lnTo>
                  <a:lnTo>
                    <a:pt x="908" y="835"/>
                  </a:lnTo>
                  <a:lnTo>
                    <a:pt x="905" y="837"/>
                  </a:lnTo>
                  <a:lnTo>
                    <a:pt x="901" y="839"/>
                  </a:lnTo>
                  <a:lnTo>
                    <a:pt x="899" y="842"/>
                  </a:lnTo>
                  <a:lnTo>
                    <a:pt x="898" y="844"/>
                  </a:lnTo>
                  <a:lnTo>
                    <a:pt x="895" y="847"/>
                  </a:lnTo>
                  <a:lnTo>
                    <a:pt x="893" y="846"/>
                  </a:lnTo>
                  <a:lnTo>
                    <a:pt x="893" y="841"/>
                  </a:lnTo>
                  <a:lnTo>
                    <a:pt x="891" y="839"/>
                  </a:lnTo>
                  <a:lnTo>
                    <a:pt x="886" y="837"/>
                  </a:lnTo>
                  <a:lnTo>
                    <a:pt x="875" y="836"/>
                  </a:lnTo>
                  <a:lnTo>
                    <a:pt x="859" y="831"/>
                  </a:lnTo>
                  <a:lnTo>
                    <a:pt x="849" y="829"/>
                  </a:lnTo>
                  <a:lnTo>
                    <a:pt x="845" y="827"/>
                  </a:lnTo>
                  <a:lnTo>
                    <a:pt x="846" y="825"/>
                  </a:lnTo>
                  <a:lnTo>
                    <a:pt x="847" y="823"/>
                  </a:lnTo>
                  <a:lnTo>
                    <a:pt x="847" y="821"/>
                  </a:lnTo>
                  <a:lnTo>
                    <a:pt x="844" y="816"/>
                  </a:lnTo>
                  <a:lnTo>
                    <a:pt x="843" y="814"/>
                  </a:lnTo>
                  <a:lnTo>
                    <a:pt x="839" y="813"/>
                  </a:lnTo>
                  <a:lnTo>
                    <a:pt x="835" y="814"/>
                  </a:lnTo>
                  <a:lnTo>
                    <a:pt x="831" y="813"/>
                  </a:lnTo>
                  <a:lnTo>
                    <a:pt x="825" y="811"/>
                  </a:lnTo>
                  <a:lnTo>
                    <a:pt x="822" y="808"/>
                  </a:lnTo>
                  <a:lnTo>
                    <a:pt x="818" y="808"/>
                  </a:lnTo>
                  <a:lnTo>
                    <a:pt x="813" y="809"/>
                  </a:lnTo>
                  <a:lnTo>
                    <a:pt x="809" y="811"/>
                  </a:lnTo>
                  <a:lnTo>
                    <a:pt x="801" y="812"/>
                  </a:lnTo>
                  <a:lnTo>
                    <a:pt x="795" y="811"/>
                  </a:lnTo>
                  <a:lnTo>
                    <a:pt x="787" y="812"/>
                  </a:lnTo>
                  <a:lnTo>
                    <a:pt x="785" y="810"/>
                  </a:lnTo>
                  <a:lnTo>
                    <a:pt x="785" y="808"/>
                  </a:lnTo>
                  <a:lnTo>
                    <a:pt x="785" y="805"/>
                  </a:lnTo>
                  <a:lnTo>
                    <a:pt x="785" y="803"/>
                  </a:lnTo>
                  <a:lnTo>
                    <a:pt x="783" y="803"/>
                  </a:lnTo>
                  <a:lnTo>
                    <a:pt x="780" y="805"/>
                  </a:lnTo>
                  <a:lnTo>
                    <a:pt x="774" y="807"/>
                  </a:lnTo>
                  <a:lnTo>
                    <a:pt x="771" y="804"/>
                  </a:lnTo>
                  <a:lnTo>
                    <a:pt x="767" y="799"/>
                  </a:lnTo>
                  <a:lnTo>
                    <a:pt x="767" y="796"/>
                  </a:lnTo>
                  <a:lnTo>
                    <a:pt x="766" y="791"/>
                  </a:lnTo>
                  <a:lnTo>
                    <a:pt x="765" y="788"/>
                  </a:lnTo>
                  <a:lnTo>
                    <a:pt x="761" y="785"/>
                  </a:lnTo>
                  <a:lnTo>
                    <a:pt x="755" y="781"/>
                  </a:lnTo>
                  <a:lnTo>
                    <a:pt x="752" y="776"/>
                  </a:lnTo>
                  <a:lnTo>
                    <a:pt x="748" y="771"/>
                  </a:lnTo>
                  <a:lnTo>
                    <a:pt x="743" y="764"/>
                  </a:lnTo>
                  <a:lnTo>
                    <a:pt x="740" y="753"/>
                  </a:lnTo>
                  <a:lnTo>
                    <a:pt x="737" y="739"/>
                  </a:lnTo>
                  <a:lnTo>
                    <a:pt x="737" y="713"/>
                  </a:lnTo>
                  <a:lnTo>
                    <a:pt x="740" y="705"/>
                  </a:lnTo>
                  <a:lnTo>
                    <a:pt x="741" y="695"/>
                  </a:lnTo>
                  <a:lnTo>
                    <a:pt x="737" y="686"/>
                  </a:lnTo>
                  <a:lnTo>
                    <a:pt x="729" y="677"/>
                  </a:lnTo>
                  <a:lnTo>
                    <a:pt x="720" y="672"/>
                  </a:lnTo>
                  <a:lnTo>
                    <a:pt x="708" y="669"/>
                  </a:lnTo>
                  <a:lnTo>
                    <a:pt x="696" y="668"/>
                  </a:lnTo>
                  <a:lnTo>
                    <a:pt x="687" y="669"/>
                  </a:lnTo>
                  <a:lnTo>
                    <a:pt x="670" y="674"/>
                  </a:lnTo>
                  <a:lnTo>
                    <a:pt x="657" y="677"/>
                  </a:lnTo>
                  <a:lnTo>
                    <a:pt x="654" y="678"/>
                  </a:lnTo>
                  <a:lnTo>
                    <a:pt x="650" y="685"/>
                  </a:lnTo>
                  <a:lnTo>
                    <a:pt x="645" y="688"/>
                  </a:lnTo>
                  <a:lnTo>
                    <a:pt x="640" y="690"/>
                  </a:lnTo>
                  <a:lnTo>
                    <a:pt x="633" y="691"/>
                  </a:lnTo>
                  <a:lnTo>
                    <a:pt x="619" y="695"/>
                  </a:lnTo>
                  <a:lnTo>
                    <a:pt x="606" y="697"/>
                  </a:lnTo>
                  <a:lnTo>
                    <a:pt x="590" y="697"/>
                  </a:lnTo>
                  <a:lnTo>
                    <a:pt x="585" y="698"/>
                  </a:lnTo>
                  <a:lnTo>
                    <a:pt x="576" y="704"/>
                  </a:lnTo>
                  <a:lnTo>
                    <a:pt x="570" y="705"/>
                  </a:lnTo>
                  <a:lnTo>
                    <a:pt x="560" y="703"/>
                  </a:lnTo>
                  <a:lnTo>
                    <a:pt x="552" y="698"/>
                  </a:lnTo>
                  <a:lnTo>
                    <a:pt x="547" y="697"/>
                  </a:lnTo>
                  <a:lnTo>
                    <a:pt x="542" y="698"/>
                  </a:lnTo>
                  <a:lnTo>
                    <a:pt x="529" y="710"/>
                  </a:lnTo>
                  <a:lnTo>
                    <a:pt x="526" y="716"/>
                  </a:lnTo>
                  <a:lnTo>
                    <a:pt x="524" y="723"/>
                  </a:lnTo>
                  <a:lnTo>
                    <a:pt x="522" y="731"/>
                  </a:lnTo>
                  <a:lnTo>
                    <a:pt x="521" y="737"/>
                  </a:lnTo>
                  <a:lnTo>
                    <a:pt x="516" y="743"/>
                  </a:lnTo>
                  <a:lnTo>
                    <a:pt x="505" y="744"/>
                  </a:lnTo>
                  <a:lnTo>
                    <a:pt x="440" y="717"/>
                  </a:lnTo>
                  <a:lnTo>
                    <a:pt x="385" y="705"/>
                  </a:lnTo>
                  <a:lnTo>
                    <a:pt x="378" y="700"/>
                  </a:lnTo>
                  <a:lnTo>
                    <a:pt x="373" y="694"/>
                  </a:lnTo>
                  <a:lnTo>
                    <a:pt x="369" y="674"/>
                  </a:lnTo>
                  <a:lnTo>
                    <a:pt x="367" y="669"/>
                  </a:lnTo>
                  <a:lnTo>
                    <a:pt x="366" y="665"/>
                  </a:lnTo>
                  <a:lnTo>
                    <a:pt x="367" y="660"/>
                  </a:lnTo>
                  <a:lnTo>
                    <a:pt x="381" y="645"/>
                  </a:lnTo>
                  <a:lnTo>
                    <a:pt x="386" y="630"/>
                  </a:lnTo>
                  <a:lnTo>
                    <a:pt x="381" y="622"/>
                  </a:lnTo>
                  <a:lnTo>
                    <a:pt x="377" y="619"/>
                  </a:lnTo>
                  <a:lnTo>
                    <a:pt x="375" y="614"/>
                  </a:lnTo>
                  <a:lnTo>
                    <a:pt x="376" y="609"/>
                  </a:lnTo>
                  <a:lnTo>
                    <a:pt x="388" y="599"/>
                  </a:lnTo>
                  <a:lnTo>
                    <a:pt x="392" y="593"/>
                  </a:lnTo>
                  <a:lnTo>
                    <a:pt x="392" y="588"/>
                  </a:lnTo>
                  <a:lnTo>
                    <a:pt x="388" y="584"/>
                  </a:lnTo>
                  <a:lnTo>
                    <a:pt x="379" y="582"/>
                  </a:lnTo>
                  <a:lnTo>
                    <a:pt x="351" y="578"/>
                  </a:lnTo>
                  <a:lnTo>
                    <a:pt x="340" y="574"/>
                  </a:lnTo>
                  <a:lnTo>
                    <a:pt x="308" y="553"/>
                  </a:lnTo>
                  <a:lnTo>
                    <a:pt x="303" y="550"/>
                  </a:lnTo>
                  <a:lnTo>
                    <a:pt x="298" y="548"/>
                  </a:lnTo>
                  <a:lnTo>
                    <a:pt x="290" y="544"/>
                  </a:lnTo>
                  <a:lnTo>
                    <a:pt x="287" y="539"/>
                  </a:lnTo>
                  <a:lnTo>
                    <a:pt x="285" y="528"/>
                  </a:lnTo>
                  <a:lnTo>
                    <a:pt x="286" y="517"/>
                  </a:lnTo>
                  <a:lnTo>
                    <a:pt x="290" y="506"/>
                  </a:lnTo>
                  <a:lnTo>
                    <a:pt x="298" y="496"/>
                  </a:lnTo>
                  <a:lnTo>
                    <a:pt x="330" y="465"/>
                  </a:lnTo>
                  <a:lnTo>
                    <a:pt x="337" y="458"/>
                  </a:lnTo>
                  <a:lnTo>
                    <a:pt x="339" y="450"/>
                  </a:lnTo>
                  <a:lnTo>
                    <a:pt x="338" y="446"/>
                  </a:lnTo>
                  <a:lnTo>
                    <a:pt x="332" y="442"/>
                  </a:lnTo>
                  <a:lnTo>
                    <a:pt x="323" y="442"/>
                  </a:lnTo>
                  <a:lnTo>
                    <a:pt x="315" y="448"/>
                  </a:lnTo>
                  <a:lnTo>
                    <a:pt x="305" y="452"/>
                  </a:lnTo>
                  <a:lnTo>
                    <a:pt x="275" y="480"/>
                  </a:lnTo>
                  <a:lnTo>
                    <a:pt x="259" y="513"/>
                  </a:lnTo>
                  <a:lnTo>
                    <a:pt x="250" y="524"/>
                  </a:lnTo>
                  <a:lnTo>
                    <a:pt x="245" y="527"/>
                  </a:lnTo>
                  <a:lnTo>
                    <a:pt x="221" y="536"/>
                  </a:lnTo>
                  <a:lnTo>
                    <a:pt x="115" y="587"/>
                  </a:lnTo>
                  <a:lnTo>
                    <a:pt x="107" y="591"/>
                  </a:lnTo>
                  <a:lnTo>
                    <a:pt x="95" y="595"/>
                  </a:lnTo>
                  <a:lnTo>
                    <a:pt x="93" y="596"/>
                  </a:lnTo>
                  <a:lnTo>
                    <a:pt x="81" y="602"/>
                  </a:lnTo>
                  <a:lnTo>
                    <a:pt x="68" y="604"/>
                  </a:lnTo>
                  <a:lnTo>
                    <a:pt x="52" y="605"/>
                  </a:lnTo>
                  <a:lnTo>
                    <a:pt x="37" y="603"/>
                  </a:lnTo>
                  <a:lnTo>
                    <a:pt x="28" y="597"/>
                  </a:lnTo>
                  <a:lnTo>
                    <a:pt x="28" y="592"/>
                  </a:lnTo>
                  <a:lnTo>
                    <a:pt x="35" y="586"/>
                  </a:lnTo>
                  <a:lnTo>
                    <a:pt x="41" y="579"/>
                  </a:lnTo>
                  <a:lnTo>
                    <a:pt x="46" y="569"/>
                  </a:lnTo>
                  <a:lnTo>
                    <a:pt x="61" y="531"/>
                  </a:lnTo>
                  <a:lnTo>
                    <a:pt x="64" y="522"/>
                  </a:lnTo>
                  <a:lnTo>
                    <a:pt x="58" y="501"/>
                  </a:lnTo>
                  <a:lnTo>
                    <a:pt x="58" y="491"/>
                  </a:lnTo>
                  <a:lnTo>
                    <a:pt x="63" y="479"/>
                  </a:lnTo>
                  <a:lnTo>
                    <a:pt x="68" y="467"/>
                  </a:lnTo>
                  <a:lnTo>
                    <a:pt x="72" y="459"/>
                  </a:lnTo>
                  <a:lnTo>
                    <a:pt x="82" y="447"/>
                  </a:lnTo>
                  <a:lnTo>
                    <a:pt x="84" y="440"/>
                  </a:lnTo>
                  <a:lnTo>
                    <a:pt x="83" y="432"/>
                  </a:lnTo>
                  <a:lnTo>
                    <a:pt x="79" y="414"/>
                  </a:lnTo>
                  <a:lnTo>
                    <a:pt x="74" y="408"/>
                  </a:lnTo>
                  <a:lnTo>
                    <a:pt x="69" y="402"/>
                  </a:lnTo>
                  <a:lnTo>
                    <a:pt x="60" y="397"/>
                  </a:lnTo>
                  <a:lnTo>
                    <a:pt x="56" y="393"/>
                  </a:lnTo>
                  <a:lnTo>
                    <a:pt x="50" y="379"/>
                  </a:lnTo>
                  <a:lnTo>
                    <a:pt x="30" y="355"/>
                  </a:lnTo>
                  <a:lnTo>
                    <a:pt x="24" y="348"/>
                  </a:lnTo>
                  <a:lnTo>
                    <a:pt x="17" y="345"/>
                  </a:lnTo>
                  <a:lnTo>
                    <a:pt x="9" y="343"/>
                  </a:lnTo>
                  <a:lnTo>
                    <a:pt x="2" y="338"/>
                  </a:lnTo>
                  <a:lnTo>
                    <a:pt x="0" y="333"/>
                  </a:lnTo>
                  <a:lnTo>
                    <a:pt x="1" y="328"/>
                  </a:lnTo>
                  <a:lnTo>
                    <a:pt x="4" y="322"/>
                  </a:lnTo>
                  <a:lnTo>
                    <a:pt x="11" y="318"/>
                  </a:lnTo>
                  <a:lnTo>
                    <a:pt x="31" y="305"/>
                  </a:lnTo>
                  <a:lnTo>
                    <a:pt x="37" y="301"/>
                  </a:lnTo>
                  <a:lnTo>
                    <a:pt x="39" y="295"/>
                  </a:lnTo>
                  <a:lnTo>
                    <a:pt x="38" y="288"/>
                  </a:lnTo>
                  <a:lnTo>
                    <a:pt x="39" y="281"/>
                  </a:lnTo>
                  <a:lnTo>
                    <a:pt x="41" y="277"/>
                  </a:lnTo>
                  <a:lnTo>
                    <a:pt x="46" y="276"/>
                  </a:lnTo>
                  <a:lnTo>
                    <a:pt x="56" y="279"/>
                  </a:lnTo>
                  <a:lnTo>
                    <a:pt x="84" y="296"/>
                  </a:lnTo>
                  <a:lnTo>
                    <a:pt x="99" y="303"/>
                  </a:lnTo>
                  <a:lnTo>
                    <a:pt x="116" y="308"/>
                  </a:lnTo>
                  <a:lnTo>
                    <a:pt x="129" y="310"/>
                  </a:lnTo>
                  <a:lnTo>
                    <a:pt x="137" y="309"/>
                  </a:lnTo>
                  <a:lnTo>
                    <a:pt x="145" y="306"/>
                  </a:lnTo>
                  <a:lnTo>
                    <a:pt x="151" y="302"/>
                  </a:lnTo>
                  <a:lnTo>
                    <a:pt x="168" y="275"/>
                  </a:lnTo>
                  <a:lnTo>
                    <a:pt x="174" y="258"/>
                  </a:lnTo>
                  <a:lnTo>
                    <a:pt x="177" y="254"/>
                  </a:lnTo>
                  <a:lnTo>
                    <a:pt x="181" y="251"/>
                  </a:lnTo>
                  <a:lnTo>
                    <a:pt x="184" y="251"/>
                  </a:lnTo>
                  <a:lnTo>
                    <a:pt x="193" y="254"/>
                  </a:lnTo>
                  <a:lnTo>
                    <a:pt x="196" y="253"/>
                  </a:lnTo>
                  <a:lnTo>
                    <a:pt x="197" y="249"/>
                  </a:lnTo>
                  <a:lnTo>
                    <a:pt x="197" y="238"/>
                  </a:lnTo>
                  <a:lnTo>
                    <a:pt x="197" y="232"/>
                  </a:lnTo>
                  <a:lnTo>
                    <a:pt x="199" y="228"/>
                  </a:lnTo>
                  <a:lnTo>
                    <a:pt x="220" y="219"/>
                  </a:lnTo>
                  <a:lnTo>
                    <a:pt x="227" y="215"/>
                  </a:lnTo>
                  <a:lnTo>
                    <a:pt x="233" y="210"/>
                  </a:lnTo>
                  <a:lnTo>
                    <a:pt x="235" y="204"/>
                  </a:lnTo>
                  <a:lnTo>
                    <a:pt x="235" y="193"/>
                  </a:lnTo>
                  <a:lnTo>
                    <a:pt x="236" y="189"/>
                  </a:lnTo>
                  <a:lnTo>
                    <a:pt x="239" y="185"/>
                  </a:lnTo>
                  <a:lnTo>
                    <a:pt x="243" y="181"/>
                  </a:lnTo>
                  <a:lnTo>
                    <a:pt x="246" y="176"/>
                  </a:lnTo>
                  <a:lnTo>
                    <a:pt x="246" y="166"/>
                  </a:lnTo>
                  <a:lnTo>
                    <a:pt x="239" y="153"/>
                  </a:lnTo>
                  <a:lnTo>
                    <a:pt x="240" y="150"/>
                  </a:lnTo>
                  <a:lnTo>
                    <a:pt x="241" y="147"/>
                  </a:lnTo>
                  <a:lnTo>
                    <a:pt x="242" y="143"/>
                  </a:lnTo>
                  <a:lnTo>
                    <a:pt x="243" y="138"/>
                  </a:lnTo>
                  <a:lnTo>
                    <a:pt x="241" y="134"/>
                  </a:lnTo>
                  <a:lnTo>
                    <a:pt x="234" y="122"/>
                  </a:lnTo>
                  <a:lnTo>
                    <a:pt x="224" y="110"/>
                  </a:lnTo>
                  <a:lnTo>
                    <a:pt x="221" y="104"/>
                  </a:lnTo>
                  <a:lnTo>
                    <a:pt x="216" y="96"/>
                  </a:lnTo>
                  <a:lnTo>
                    <a:pt x="216" y="89"/>
                  </a:lnTo>
                  <a:lnTo>
                    <a:pt x="219" y="79"/>
                  </a:lnTo>
                  <a:lnTo>
                    <a:pt x="221" y="62"/>
                  </a:lnTo>
                  <a:lnTo>
                    <a:pt x="222" y="55"/>
                  </a:lnTo>
                  <a:lnTo>
                    <a:pt x="215" y="8"/>
                  </a:lnTo>
                  <a:lnTo>
                    <a:pt x="225" y="0"/>
                  </a:lnTo>
                  <a:lnTo>
                    <a:pt x="235" y="3"/>
                  </a:lnTo>
                  <a:lnTo>
                    <a:pt x="246" y="7"/>
                  </a:lnTo>
                  <a:lnTo>
                    <a:pt x="264" y="16"/>
                  </a:lnTo>
                  <a:lnTo>
                    <a:pt x="284" y="29"/>
                  </a:lnTo>
                  <a:lnTo>
                    <a:pt x="291" y="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EBE2CD4D-3BB7-7D9B-FDC6-AE602AD34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227" y="1630091"/>
              <a:ext cx="1385586" cy="1250264"/>
            </a:xfrm>
            <a:custGeom>
              <a:avLst/>
              <a:gdLst>
                <a:gd name="T0" fmla="*/ 616 w 942"/>
                <a:gd name="T1" fmla="*/ 61 h 850"/>
                <a:gd name="T2" fmla="*/ 637 w 942"/>
                <a:gd name="T3" fmla="*/ 47 h 850"/>
                <a:gd name="T4" fmla="*/ 666 w 942"/>
                <a:gd name="T5" fmla="*/ 56 h 850"/>
                <a:gd name="T6" fmla="*/ 665 w 942"/>
                <a:gd name="T7" fmla="*/ 75 h 850"/>
                <a:gd name="T8" fmla="*/ 666 w 942"/>
                <a:gd name="T9" fmla="*/ 101 h 850"/>
                <a:gd name="T10" fmla="*/ 727 w 942"/>
                <a:gd name="T11" fmla="*/ 113 h 850"/>
                <a:gd name="T12" fmla="*/ 772 w 942"/>
                <a:gd name="T13" fmla="*/ 108 h 850"/>
                <a:gd name="T14" fmla="*/ 774 w 942"/>
                <a:gd name="T15" fmla="*/ 163 h 850"/>
                <a:gd name="T16" fmla="*/ 790 w 942"/>
                <a:gd name="T17" fmla="*/ 203 h 850"/>
                <a:gd name="T18" fmla="*/ 786 w 942"/>
                <a:gd name="T19" fmla="*/ 242 h 850"/>
                <a:gd name="T20" fmla="*/ 749 w 942"/>
                <a:gd name="T21" fmla="*/ 281 h 850"/>
                <a:gd name="T22" fmla="*/ 734 w 942"/>
                <a:gd name="T23" fmla="*/ 304 h 850"/>
                <a:gd name="T24" fmla="*/ 695 w 942"/>
                <a:gd name="T25" fmla="*/ 359 h 850"/>
                <a:gd name="T26" fmla="*/ 606 w 942"/>
                <a:gd name="T27" fmla="*/ 332 h 850"/>
                <a:gd name="T28" fmla="*/ 587 w 942"/>
                <a:gd name="T29" fmla="*/ 354 h 850"/>
                <a:gd name="T30" fmla="*/ 552 w 942"/>
                <a:gd name="T31" fmla="*/ 391 h 850"/>
                <a:gd name="T32" fmla="*/ 606 w 942"/>
                <a:gd name="T33" fmla="*/ 446 h 850"/>
                <a:gd name="T34" fmla="*/ 634 w 942"/>
                <a:gd name="T35" fmla="*/ 493 h 850"/>
                <a:gd name="T36" fmla="*/ 608 w 942"/>
                <a:gd name="T37" fmla="*/ 554 h 850"/>
                <a:gd name="T38" fmla="*/ 578 w 942"/>
                <a:gd name="T39" fmla="*/ 645 h 850"/>
                <a:gd name="T40" fmla="*/ 643 w 942"/>
                <a:gd name="T41" fmla="*/ 649 h 850"/>
                <a:gd name="T42" fmla="*/ 800 w 942"/>
                <a:gd name="T43" fmla="*/ 577 h 850"/>
                <a:gd name="T44" fmla="*/ 882 w 942"/>
                <a:gd name="T45" fmla="*/ 495 h 850"/>
                <a:gd name="T46" fmla="*/ 840 w 942"/>
                <a:gd name="T47" fmla="*/ 559 h 850"/>
                <a:gd name="T48" fmla="*/ 853 w 942"/>
                <a:gd name="T49" fmla="*/ 603 h 850"/>
                <a:gd name="T50" fmla="*/ 942 w 942"/>
                <a:gd name="T51" fmla="*/ 641 h 850"/>
                <a:gd name="T52" fmla="*/ 931 w 942"/>
                <a:gd name="T53" fmla="*/ 675 h 850"/>
                <a:gd name="T54" fmla="*/ 795 w 942"/>
                <a:gd name="T55" fmla="*/ 715 h 850"/>
                <a:gd name="T56" fmla="*/ 659 w 942"/>
                <a:gd name="T57" fmla="*/ 754 h 850"/>
                <a:gd name="T58" fmla="*/ 536 w 942"/>
                <a:gd name="T59" fmla="*/ 790 h 850"/>
                <a:gd name="T60" fmla="*/ 480 w 942"/>
                <a:gd name="T61" fmla="*/ 803 h 850"/>
                <a:gd name="T62" fmla="*/ 399 w 942"/>
                <a:gd name="T63" fmla="*/ 841 h 850"/>
                <a:gd name="T64" fmla="*/ 369 w 942"/>
                <a:gd name="T65" fmla="*/ 847 h 850"/>
                <a:gd name="T66" fmla="*/ 319 w 942"/>
                <a:gd name="T67" fmla="*/ 841 h 850"/>
                <a:gd name="T68" fmla="*/ 212 w 942"/>
                <a:gd name="T69" fmla="*/ 821 h 850"/>
                <a:gd name="T70" fmla="*/ 157 w 942"/>
                <a:gd name="T71" fmla="*/ 799 h 850"/>
                <a:gd name="T72" fmla="*/ 129 w 942"/>
                <a:gd name="T73" fmla="*/ 789 h 850"/>
                <a:gd name="T74" fmla="*/ 65 w 942"/>
                <a:gd name="T75" fmla="*/ 801 h 850"/>
                <a:gd name="T76" fmla="*/ 74 w 942"/>
                <a:gd name="T77" fmla="*/ 731 h 850"/>
                <a:gd name="T78" fmla="*/ 8 w 942"/>
                <a:gd name="T79" fmla="*/ 658 h 850"/>
                <a:gd name="T80" fmla="*/ 13 w 942"/>
                <a:gd name="T81" fmla="*/ 634 h 850"/>
                <a:gd name="T82" fmla="*/ 34 w 942"/>
                <a:gd name="T83" fmla="*/ 579 h 850"/>
                <a:gd name="T84" fmla="*/ 31 w 942"/>
                <a:gd name="T85" fmla="*/ 479 h 850"/>
                <a:gd name="T86" fmla="*/ 82 w 942"/>
                <a:gd name="T87" fmla="*/ 449 h 850"/>
                <a:gd name="T88" fmla="*/ 121 w 942"/>
                <a:gd name="T89" fmla="*/ 377 h 850"/>
                <a:gd name="T90" fmla="*/ 137 w 942"/>
                <a:gd name="T91" fmla="*/ 324 h 850"/>
                <a:gd name="T92" fmla="*/ 166 w 942"/>
                <a:gd name="T93" fmla="*/ 235 h 850"/>
                <a:gd name="T94" fmla="*/ 185 w 942"/>
                <a:gd name="T95" fmla="*/ 141 h 850"/>
                <a:gd name="T96" fmla="*/ 228 w 942"/>
                <a:gd name="T97" fmla="*/ 145 h 850"/>
                <a:gd name="T98" fmla="*/ 258 w 942"/>
                <a:gd name="T99" fmla="*/ 111 h 850"/>
                <a:gd name="T100" fmla="*/ 298 w 942"/>
                <a:gd name="T101" fmla="*/ 98 h 850"/>
                <a:gd name="T102" fmla="*/ 316 w 942"/>
                <a:gd name="T103" fmla="*/ 58 h 850"/>
                <a:gd name="T104" fmla="*/ 438 w 942"/>
                <a:gd name="T105" fmla="*/ 7 h 850"/>
                <a:gd name="T106" fmla="*/ 442 w 942"/>
                <a:gd name="T107" fmla="*/ 18 h 850"/>
                <a:gd name="T108" fmla="*/ 445 w 942"/>
                <a:gd name="T109" fmla="*/ 52 h 850"/>
                <a:gd name="T110" fmla="*/ 564 w 942"/>
                <a:gd name="T111" fmla="*/ 84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2" h="850">
                  <a:moveTo>
                    <a:pt x="571" y="88"/>
                  </a:moveTo>
                  <a:lnTo>
                    <a:pt x="576" y="87"/>
                  </a:lnTo>
                  <a:lnTo>
                    <a:pt x="583" y="83"/>
                  </a:lnTo>
                  <a:lnTo>
                    <a:pt x="597" y="67"/>
                  </a:lnTo>
                  <a:lnTo>
                    <a:pt x="605" y="63"/>
                  </a:lnTo>
                  <a:lnTo>
                    <a:pt x="616" y="61"/>
                  </a:lnTo>
                  <a:lnTo>
                    <a:pt x="622" y="59"/>
                  </a:lnTo>
                  <a:lnTo>
                    <a:pt x="627" y="56"/>
                  </a:lnTo>
                  <a:lnTo>
                    <a:pt x="629" y="52"/>
                  </a:lnTo>
                  <a:lnTo>
                    <a:pt x="631" y="49"/>
                  </a:lnTo>
                  <a:lnTo>
                    <a:pt x="634" y="48"/>
                  </a:lnTo>
                  <a:lnTo>
                    <a:pt x="637" y="47"/>
                  </a:lnTo>
                  <a:lnTo>
                    <a:pt x="646" y="40"/>
                  </a:lnTo>
                  <a:lnTo>
                    <a:pt x="655" y="37"/>
                  </a:lnTo>
                  <a:lnTo>
                    <a:pt x="658" y="39"/>
                  </a:lnTo>
                  <a:lnTo>
                    <a:pt x="661" y="44"/>
                  </a:lnTo>
                  <a:lnTo>
                    <a:pt x="663" y="51"/>
                  </a:lnTo>
                  <a:lnTo>
                    <a:pt x="666" y="56"/>
                  </a:lnTo>
                  <a:lnTo>
                    <a:pt x="668" y="59"/>
                  </a:lnTo>
                  <a:lnTo>
                    <a:pt x="669" y="62"/>
                  </a:lnTo>
                  <a:lnTo>
                    <a:pt x="668" y="65"/>
                  </a:lnTo>
                  <a:lnTo>
                    <a:pt x="666" y="69"/>
                  </a:lnTo>
                  <a:lnTo>
                    <a:pt x="665" y="72"/>
                  </a:lnTo>
                  <a:lnTo>
                    <a:pt x="665" y="75"/>
                  </a:lnTo>
                  <a:lnTo>
                    <a:pt x="668" y="82"/>
                  </a:lnTo>
                  <a:lnTo>
                    <a:pt x="668" y="85"/>
                  </a:lnTo>
                  <a:lnTo>
                    <a:pt x="667" y="88"/>
                  </a:lnTo>
                  <a:lnTo>
                    <a:pt x="666" y="92"/>
                  </a:lnTo>
                  <a:lnTo>
                    <a:pt x="666" y="97"/>
                  </a:lnTo>
                  <a:lnTo>
                    <a:pt x="666" y="101"/>
                  </a:lnTo>
                  <a:lnTo>
                    <a:pt x="667" y="105"/>
                  </a:lnTo>
                  <a:lnTo>
                    <a:pt x="672" y="108"/>
                  </a:lnTo>
                  <a:lnTo>
                    <a:pt x="704" y="115"/>
                  </a:lnTo>
                  <a:lnTo>
                    <a:pt x="715" y="116"/>
                  </a:lnTo>
                  <a:lnTo>
                    <a:pt x="723" y="115"/>
                  </a:lnTo>
                  <a:lnTo>
                    <a:pt x="727" y="113"/>
                  </a:lnTo>
                  <a:lnTo>
                    <a:pt x="732" y="110"/>
                  </a:lnTo>
                  <a:lnTo>
                    <a:pt x="735" y="104"/>
                  </a:lnTo>
                  <a:lnTo>
                    <a:pt x="743" y="89"/>
                  </a:lnTo>
                  <a:lnTo>
                    <a:pt x="748" y="80"/>
                  </a:lnTo>
                  <a:lnTo>
                    <a:pt x="765" y="61"/>
                  </a:lnTo>
                  <a:lnTo>
                    <a:pt x="772" y="108"/>
                  </a:lnTo>
                  <a:lnTo>
                    <a:pt x="771" y="115"/>
                  </a:lnTo>
                  <a:lnTo>
                    <a:pt x="769" y="132"/>
                  </a:lnTo>
                  <a:lnTo>
                    <a:pt x="766" y="142"/>
                  </a:lnTo>
                  <a:lnTo>
                    <a:pt x="766" y="149"/>
                  </a:lnTo>
                  <a:lnTo>
                    <a:pt x="771" y="157"/>
                  </a:lnTo>
                  <a:lnTo>
                    <a:pt x="774" y="163"/>
                  </a:lnTo>
                  <a:lnTo>
                    <a:pt x="784" y="175"/>
                  </a:lnTo>
                  <a:lnTo>
                    <a:pt x="791" y="187"/>
                  </a:lnTo>
                  <a:lnTo>
                    <a:pt x="793" y="191"/>
                  </a:lnTo>
                  <a:lnTo>
                    <a:pt x="792" y="196"/>
                  </a:lnTo>
                  <a:lnTo>
                    <a:pt x="791" y="200"/>
                  </a:lnTo>
                  <a:lnTo>
                    <a:pt x="790" y="203"/>
                  </a:lnTo>
                  <a:lnTo>
                    <a:pt x="789" y="206"/>
                  </a:lnTo>
                  <a:lnTo>
                    <a:pt x="796" y="219"/>
                  </a:lnTo>
                  <a:lnTo>
                    <a:pt x="796" y="229"/>
                  </a:lnTo>
                  <a:lnTo>
                    <a:pt x="793" y="234"/>
                  </a:lnTo>
                  <a:lnTo>
                    <a:pt x="789" y="238"/>
                  </a:lnTo>
                  <a:lnTo>
                    <a:pt x="786" y="242"/>
                  </a:lnTo>
                  <a:lnTo>
                    <a:pt x="785" y="246"/>
                  </a:lnTo>
                  <a:lnTo>
                    <a:pt x="785" y="257"/>
                  </a:lnTo>
                  <a:lnTo>
                    <a:pt x="783" y="263"/>
                  </a:lnTo>
                  <a:lnTo>
                    <a:pt x="777" y="268"/>
                  </a:lnTo>
                  <a:lnTo>
                    <a:pt x="770" y="272"/>
                  </a:lnTo>
                  <a:lnTo>
                    <a:pt x="749" y="281"/>
                  </a:lnTo>
                  <a:lnTo>
                    <a:pt x="747" y="285"/>
                  </a:lnTo>
                  <a:lnTo>
                    <a:pt x="747" y="291"/>
                  </a:lnTo>
                  <a:lnTo>
                    <a:pt x="747" y="302"/>
                  </a:lnTo>
                  <a:lnTo>
                    <a:pt x="746" y="306"/>
                  </a:lnTo>
                  <a:lnTo>
                    <a:pt x="743" y="307"/>
                  </a:lnTo>
                  <a:lnTo>
                    <a:pt x="734" y="304"/>
                  </a:lnTo>
                  <a:lnTo>
                    <a:pt x="731" y="304"/>
                  </a:lnTo>
                  <a:lnTo>
                    <a:pt x="727" y="307"/>
                  </a:lnTo>
                  <a:lnTo>
                    <a:pt x="724" y="311"/>
                  </a:lnTo>
                  <a:lnTo>
                    <a:pt x="718" y="328"/>
                  </a:lnTo>
                  <a:lnTo>
                    <a:pt x="701" y="355"/>
                  </a:lnTo>
                  <a:lnTo>
                    <a:pt x="695" y="359"/>
                  </a:lnTo>
                  <a:lnTo>
                    <a:pt x="687" y="362"/>
                  </a:lnTo>
                  <a:lnTo>
                    <a:pt x="679" y="363"/>
                  </a:lnTo>
                  <a:lnTo>
                    <a:pt x="666" y="361"/>
                  </a:lnTo>
                  <a:lnTo>
                    <a:pt x="649" y="356"/>
                  </a:lnTo>
                  <a:lnTo>
                    <a:pt x="634" y="349"/>
                  </a:lnTo>
                  <a:lnTo>
                    <a:pt x="606" y="332"/>
                  </a:lnTo>
                  <a:lnTo>
                    <a:pt x="596" y="329"/>
                  </a:lnTo>
                  <a:lnTo>
                    <a:pt x="591" y="330"/>
                  </a:lnTo>
                  <a:lnTo>
                    <a:pt x="589" y="334"/>
                  </a:lnTo>
                  <a:lnTo>
                    <a:pt x="588" y="341"/>
                  </a:lnTo>
                  <a:lnTo>
                    <a:pt x="589" y="348"/>
                  </a:lnTo>
                  <a:lnTo>
                    <a:pt x="587" y="354"/>
                  </a:lnTo>
                  <a:lnTo>
                    <a:pt x="581" y="358"/>
                  </a:lnTo>
                  <a:lnTo>
                    <a:pt x="561" y="371"/>
                  </a:lnTo>
                  <a:lnTo>
                    <a:pt x="554" y="375"/>
                  </a:lnTo>
                  <a:lnTo>
                    <a:pt x="551" y="381"/>
                  </a:lnTo>
                  <a:lnTo>
                    <a:pt x="550" y="386"/>
                  </a:lnTo>
                  <a:lnTo>
                    <a:pt x="552" y="391"/>
                  </a:lnTo>
                  <a:lnTo>
                    <a:pt x="559" y="396"/>
                  </a:lnTo>
                  <a:lnTo>
                    <a:pt x="567" y="398"/>
                  </a:lnTo>
                  <a:lnTo>
                    <a:pt x="574" y="401"/>
                  </a:lnTo>
                  <a:lnTo>
                    <a:pt x="580" y="408"/>
                  </a:lnTo>
                  <a:lnTo>
                    <a:pt x="600" y="432"/>
                  </a:lnTo>
                  <a:lnTo>
                    <a:pt x="606" y="446"/>
                  </a:lnTo>
                  <a:lnTo>
                    <a:pt x="610" y="450"/>
                  </a:lnTo>
                  <a:lnTo>
                    <a:pt x="619" y="455"/>
                  </a:lnTo>
                  <a:lnTo>
                    <a:pt x="624" y="461"/>
                  </a:lnTo>
                  <a:lnTo>
                    <a:pt x="629" y="467"/>
                  </a:lnTo>
                  <a:lnTo>
                    <a:pt x="633" y="485"/>
                  </a:lnTo>
                  <a:lnTo>
                    <a:pt x="634" y="493"/>
                  </a:lnTo>
                  <a:lnTo>
                    <a:pt x="632" y="500"/>
                  </a:lnTo>
                  <a:lnTo>
                    <a:pt x="622" y="512"/>
                  </a:lnTo>
                  <a:lnTo>
                    <a:pt x="618" y="520"/>
                  </a:lnTo>
                  <a:lnTo>
                    <a:pt x="613" y="532"/>
                  </a:lnTo>
                  <a:lnTo>
                    <a:pt x="608" y="544"/>
                  </a:lnTo>
                  <a:lnTo>
                    <a:pt x="608" y="554"/>
                  </a:lnTo>
                  <a:lnTo>
                    <a:pt x="614" y="575"/>
                  </a:lnTo>
                  <a:lnTo>
                    <a:pt x="611" y="584"/>
                  </a:lnTo>
                  <a:lnTo>
                    <a:pt x="596" y="622"/>
                  </a:lnTo>
                  <a:lnTo>
                    <a:pt x="591" y="632"/>
                  </a:lnTo>
                  <a:lnTo>
                    <a:pt x="585" y="639"/>
                  </a:lnTo>
                  <a:lnTo>
                    <a:pt x="578" y="645"/>
                  </a:lnTo>
                  <a:lnTo>
                    <a:pt x="578" y="650"/>
                  </a:lnTo>
                  <a:lnTo>
                    <a:pt x="587" y="656"/>
                  </a:lnTo>
                  <a:lnTo>
                    <a:pt x="602" y="658"/>
                  </a:lnTo>
                  <a:lnTo>
                    <a:pt x="618" y="657"/>
                  </a:lnTo>
                  <a:lnTo>
                    <a:pt x="631" y="655"/>
                  </a:lnTo>
                  <a:lnTo>
                    <a:pt x="643" y="649"/>
                  </a:lnTo>
                  <a:lnTo>
                    <a:pt x="645" y="648"/>
                  </a:lnTo>
                  <a:lnTo>
                    <a:pt x="657" y="644"/>
                  </a:lnTo>
                  <a:lnTo>
                    <a:pt x="665" y="640"/>
                  </a:lnTo>
                  <a:lnTo>
                    <a:pt x="771" y="589"/>
                  </a:lnTo>
                  <a:lnTo>
                    <a:pt x="795" y="580"/>
                  </a:lnTo>
                  <a:lnTo>
                    <a:pt x="800" y="577"/>
                  </a:lnTo>
                  <a:lnTo>
                    <a:pt x="809" y="566"/>
                  </a:lnTo>
                  <a:lnTo>
                    <a:pt x="825" y="533"/>
                  </a:lnTo>
                  <a:lnTo>
                    <a:pt x="855" y="505"/>
                  </a:lnTo>
                  <a:lnTo>
                    <a:pt x="865" y="501"/>
                  </a:lnTo>
                  <a:lnTo>
                    <a:pt x="873" y="495"/>
                  </a:lnTo>
                  <a:lnTo>
                    <a:pt x="882" y="495"/>
                  </a:lnTo>
                  <a:lnTo>
                    <a:pt x="888" y="499"/>
                  </a:lnTo>
                  <a:lnTo>
                    <a:pt x="889" y="503"/>
                  </a:lnTo>
                  <a:lnTo>
                    <a:pt x="887" y="511"/>
                  </a:lnTo>
                  <a:lnTo>
                    <a:pt x="880" y="518"/>
                  </a:lnTo>
                  <a:lnTo>
                    <a:pt x="848" y="549"/>
                  </a:lnTo>
                  <a:lnTo>
                    <a:pt x="840" y="559"/>
                  </a:lnTo>
                  <a:lnTo>
                    <a:pt x="836" y="570"/>
                  </a:lnTo>
                  <a:lnTo>
                    <a:pt x="835" y="581"/>
                  </a:lnTo>
                  <a:lnTo>
                    <a:pt x="837" y="592"/>
                  </a:lnTo>
                  <a:lnTo>
                    <a:pt x="840" y="597"/>
                  </a:lnTo>
                  <a:lnTo>
                    <a:pt x="848" y="601"/>
                  </a:lnTo>
                  <a:lnTo>
                    <a:pt x="853" y="603"/>
                  </a:lnTo>
                  <a:lnTo>
                    <a:pt x="858" y="606"/>
                  </a:lnTo>
                  <a:lnTo>
                    <a:pt x="890" y="627"/>
                  </a:lnTo>
                  <a:lnTo>
                    <a:pt x="901" y="631"/>
                  </a:lnTo>
                  <a:lnTo>
                    <a:pt x="929" y="635"/>
                  </a:lnTo>
                  <a:lnTo>
                    <a:pt x="938" y="637"/>
                  </a:lnTo>
                  <a:lnTo>
                    <a:pt x="942" y="641"/>
                  </a:lnTo>
                  <a:lnTo>
                    <a:pt x="942" y="646"/>
                  </a:lnTo>
                  <a:lnTo>
                    <a:pt x="938" y="652"/>
                  </a:lnTo>
                  <a:lnTo>
                    <a:pt x="926" y="662"/>
                  </a:lnTo>
                  <a:lnTo>
                    <a:pt x="925" y="667"/>
                  </a:lnTo>
                  <a:lnTo>
                    <a:pt x="927" y="672"/>
                  </a:lnTo>
                  <a:lnTo>
                    <a:pt x="931" y="675"/>
                  </a:lnTo>
                  <a:lnTo>
                    <a:pt x="936" y="683"/>
                  </a:lnTo>
                  <a:lnTo>
                    <a:pt x="931" y="698"/>
                  </a:lnTo>
                  <a:lnTo>
                    <a:pt x="819" y="706"/>
                  </a:lnTo>
                  <a:lnTo>
                    <a:pt x="810" y="708"/>
                  </a:lnTo>
                  <a:lnTo>
                    <a:pt x="802" y="711"/>
                  </a:lnTo>
                  <a:lnTo>
                    <a:pt x="795" y="715"/>
                  </a:lnTo>
                  <a:lnTo>
                    <a:pt x="779" y="724"/>
                  </a:lnTo>
                  <a:lnTo>
                    <a:pt x="715" y="744"/>
                  </a:lnTo>
                  <a:lnTo>
                    <a:pt x="697" y="747"/>
                  </a:lnTo>
                  <a:lnTo>
                    <a:pt x="674" y="747"/>
                  </a:lnTo>
                  <a:lnTo>
                    <a:pt x="668" y="749"/>
                  </a:lnTo>
                  <a:lnTo>
                    <a:pt x="659" y="754"/>
                  </a:lnTo>
                  <a:lnTo>
                    <a:pt x="600" y="782"/>
                  </a:lnTo>
                  <a:lnTo>
                    <a:pt x="567" y="785"/>
                  </a:lnTo>
                  <a:lnTo>
                    <a:pt x="558" y="787"/>
                  </a:lnTo>
                  <a:lnTo>
                    <a:pt x="550" y="790"/>
                  </a:lnTo>
                  <a:lnTo>
                    <a:pt x="543" y="791"/>
                  </a:lnTo>
                  <a:lnTo>
                    <a:pt x="536" y="790"/>
                  </a:lnTo>
                  <a:lnTo>
                    <a:pt x="526" y="788"/>
                  </a:lnTo>
                  <a:lnTo>
                    <a:pt x="518" y="789"/>
                  </a:lnTo>
                  <a:lnTo>
                    <a:pt x="510" y="791"/>
                  </a:lnTo>
                  <a:lnTo>
                    <a:pt x="500" y="792"/>
                  </a:lnTo>
                  <a:lnTo>
                    <a:pt x="493" y="796"/>
                  </a:lnTo>
                  <a:lnTo>
                    <a:pt x="480" y="803"/>
                  </a:lnTo>
                  <a:lnTo>
                    <a:pt x="472" y="805"/>
                  </a:lnTo>
                  <a:lnTo>
                    <a:pt x="459" y="810"/>
                  </a:lnTo>
                  <a:lnTo>
                    <a:pt x="451" y="814"/>
                  </a:lnTo>
                  <a:lnTo>
                    <a:pt x="425" y="831"/>
                  </a:lnTo>
                  <a:lnTo>
                    <a:pt x="409" y="840"/>
                  </a:lnTo>
                  <a:lnTo>
                    <a:pt x="399" y="841"/>
                  </a:lnTo>
                  <a:lnTo>
                    <a:pt x="391" y="840"/>
                  </a:lnTo>
                  <a:lnTo>
                    <a:pt x="385" y="836"/>
                  </a:lnTo>
                  <a:lnTo>
                    <a:pt x="378" y="834"/>
                  </a:lnTo>
                  <a:lnTo>
                    <a:pt x="375" y="835"/>
                  </a:lnTo>
                  <a:lnTo>
                    <a:pt x="373" y="837"/>
                  </a:lnTo>
                  <a:lnTo>
                    <a:pt x="369" y="847"/>
                  </a:lnTo>
                  <a:lnTo>
                    <a:pt x="365" y="850"/>
                  </a:lnTo>
                  <a:lnTo>
                    <a:pt x="358" y="849"/>
                  </a:lnTo>
                  <a:lnTo>
                    <a:pt x="352" y="845"/>
                  </a:lnTo>
                  <a:lnTo>
                    <a:pt x="345" y="842"/>
                  </a:lnTo>
                  <a:lnTo>
                    <a:pt x="335" y="841"/>
                  </a:lnTo>
                  <a:lnTo>
                    <a:pt x="319" y="841"/>
                  </a:lnTo>
                  <a:lnTo>
                    <a:pt x="271" y="849"/>
                  </a:lnTo>
                  <a:lnTo>
                    <a:pt x="252" y="850"/>
                  </a:lnTo>
                  <a:lnTo>
                    <a:pt x="218" y="848"/>
                  </a:lnTo>
                  <a:lnTo>
                    <a:pt x="218" y="831"/>
                  </a:lnTo>
                  <a:lnTo>
                    <a:pt x="216" y="825"/>
                  </a:lnTo>
                  <a:lnTo>
                    <a:pt x="212" y="821"/>
                  </a:lnTo>
                  <a:lnTo>
                    <a:pt x="189" y="817"/>
                  </a:lnTo>
                  <a:lnTo>
                    <a:pt x="178" y="814"/>
                  </a:lnTo>
                  <a:lnTo>
                    <a:pt x="172" y="801"/>
                  </a:lnTo>
                  <a:lnTo>
                    <a:pt x="169" y="798"/>
                  </a:lnTo>
                  <a:lnTo>
                    <a:pt x="165" y="798"/>
                  </a:lnTo>
                  <a:lnTo>
                    <a:pt x="157" y="799"/>
                  </a:lnTo>
                  <a:lnTo>
                    <a:pt x="154" y="798"/>
                  </a:lnTo>
                  <a:lnTo>
                    <a:pt x="153" y="791"/>
                  </a:lnTo>
                  <a:lnTo>
                    <a:pt x="151" y="787"/>
                  </a:lnTo>
                  <a:lnTo>
                    <a:pt x="148" y="785"/>
                  </a:lnTo>
                  <a:lnTo>
                    <a:pt x="141" y="786"/>
                  </a:lnTo>
                  <a:lnTo>
                    <a:pt x="129" y="789"/>
                  </a:lnTo>
                  <a:lnTo>
                    <a:pt x="124" y="788"/>
                  </a:lnTo>
                  <a:lnTo>
                    <a:pt x="110" y="785"/>
                  </a:lnTo>
                  <a:lnTo>
                    <a:pt x="101" y="785"/>
                  </a:lnTo>
                  <a:lnTo>
                    <a:pt x="92" y="787"/>
                  </a:lnTo>
                  <a:lnTo>
                    <a:pt x="70" y="801"/>
                  </a:lnTo>
                  <a:lnTo>
                    <a:pt x="65" y="801"/>
                  </a:lnTo>
                  <a:lnTo>
                    <a:pt x="63" y="798"/>
                  </a:lnTo>
                  <a:lnTo>
                    <a:pt x="65" y="790"/>
                  </a:lnTo>
                  <a:lnTo>
                    <a:pt x="71" y="779"/>
                  </a:lnTo>
                  <a:lnTo>
                    <a:pt x="73" y="772"/>
                  </a:lnTo>
                  <a:lnTo>
                    <a:pt x="74" y="763"/>
                  </a:lnTo>
                  <a:lnTo>
                    <a:pt x="74" y="731"/>
                  </a:lnTo>
                  <a:lnTo>
                    <a:pt x="72" y="721"/>
                  </a:lnTo>
                  <a:lnTo>
                    <a:pt x="65" y="710"/>
                  </a:lnTo>
                  <a:lnTo>
                    <a:pt x="48" y="689"/>
                  </a:lnTo>
                  <a:lnTo>
                    <a:pt x="34" y="667"/>
                  </a:lnTo>
                  <a:lnTo>
                    <a:pt x="23" y="660"/>
                  </a:lnTo>
                  <a:lnTo>
                    <a:pt x="8" y="658"/>
                  </a:lnTo>
                  <a:lnTo>
                    <a:pt x="3" y="654"/>
                  </a:lnTo>
                  <a:lnTo>
                    <a:pt x="0" y="649"/>
                  </a:lnTo>
                  <a:lnTo>
                    <a:pt x="3" y="645"/>
                  </a:lnTo>
                  <a:lnTo>
                    <a:pt x="6" y="643"/>
                  </a:lnTo>
                  <a:lnTo>
                    <a:pt x="10" y="640"/>
                  </a:lnTo>
                  <a:lnTo>
                    <a:pt x="13" y="634"/>
                  </a:lnTo>
                  <a:lnTo>
                    <a:pt x="16" y="629"/>
                  </a:lnTo>
                  <a:lnTo>
                    <a:pt x="16" y="619"/>
                  </a:lnTo>
                  <a:lnTo>
                    <a:pt x="17" y="612"/>
                  </a:lnTo>
                  <a:lnTo>
                    <a:pt x="20" y="604"/>
                  </a:lnTo>
                  <a:lnTo>
                    <a:pt x="26" y="593"/>
                  </a:lnTo>
                  <a:lnTo>
                    <a:pt x="34" y="579"/>
                  </a:lnTo>
                  <a:lnTo>
                    <a:pt x="36" y="566"/>
                  </a:lnTo>
                  <a:lnTo>
                    <a:pt x="36" y="552"/>
                  </a:lnTo>
                  <a:lnTo>
                    <a:pt x="32" y="528"/>
                  </a:lnTo>
                  <a:lnTo>
                    <a:pt x="25" y="504"/>
                  </a:lnTo>
                  <a:lnTo>
                    <a:pt x="25" y="497"/>
                  </a:lnTo>
                  <a:lnTo>
                    <a:pt x="31" y="479"/>
                  </a:lnTo>
                  <a:lnTo>
                    <a:pt x="45" y="473"/>
                  </a:lnTo>
                  <a:lnTo>
                    <a:pt x="52" y="471"/>
                  </a:lnTo>
                  <a:lnTo>
                    <a:pt x="70" y="467"/>
                  </a:lnTo>
                  <a:lnTo>
                    <a:pt x="75" y="464"/>
                  </a:lnTo>
                  <a:lnTo>
                    <a:pt x="79" y="459"/>
                  </a:lnTo>
                  <a:lnTo>
                    <a:pt x="82" y="449"/>
                  </a:lnTo>
                  <a:lnTo>
                    <a:pt x="84" y="432"/>
                  </a:lnTo>
                  <a:lnTo>
                    <a:pt x="88" y="422"/>
                  </a:lnTo>
                  <a:lnTo>
                    <a:pt x="95" y="413"/>
                  </a:lnTo>
                  <a:lnTo>
                    <a:pt x="107" y="401"/>
                  </a:lnTo>
                  <a:lnTo>
                    <a:pt x="114" y="390"/>
                  </a:lnTo>
                  <a:lnTo>
                    <a:pt x="121" y="377"/>
                  </a:lnTo>
                  <a:lnTo>
                    <a:pt x="122" y="369"/>
                  </a:lnTo>
                  <a:lnTo>
                    <a:pt x="121" y="361"/>
                  </a:lnTo>
                  <a:lnTo>
                    <a:pt x="123" y="355"/>
                  </a:lnTo>
                  <a:lnTo>
                    <a:pt x="125" y="347"/>
                  </a:lnTo>
                  <a:lnTo>
                    <a:pt x="134" y="333"/>
                  </a:lnTo>
                  <a:lnTo>
                    <a:pt x="137" y="324"/>
                  </a:lnTo>
                  <a:lnTo>
                    <a:pt x="138" y="318"/>
                  </a:lnTo>
                  <a:lnTo>
                    <a:pt x="128" y="299"/>
                  </a:lnTo>
                  <a:lnTo>
                    <a:pt x="131" y="290"/>
                  </a:lnTo>
                  <a:lnTo>
                    <a:pt x="139" y="277"/>
                  </a:lnTo>
                  <a:lnTo>
                    <a:pt x="157" y="252"/>
                  </a:lnTo>
                  <a:lnTo>
                    <a:pt x="166" y="235"/>
                  </a:lnTo>
                  <a:lnTo>
                    <a:pt x="170" y="220"/>
                  </a:lnTo>
                  <a:lnTo>
                    <a:pt x="173" y="160"/>
                  </a:lnTo>
                  <a:lnTo>
                    <a:pt x="172" y="152"/>
                  </a:lnTo>
                  <a:lnTo>
                    <a:pt x="174" y="148"/>
                  </a:lnTo>
                  <a:lnTo>
                    <a:pt x="177" y="142"/>
                  </a:lnTo>
                  <a:lnTo>
                    <a:pt x="185" y="141"/>
                  </a:lnTo>
                  <a:lnTo>
                    <a:pt x="190" y="140"/>
                  </a:lnTo>
                  <a:lnTo>
                    <a:pt x="206" y="135"/>
                  </a:lnTo>
                  <a:lnTo>
                    <a:pt x="212" y="135"/>
                  </a:lnTo>
                  <a:lnTo>
                    <a:pt x="216" y="137"/>
                  </a:lnTo>
                  <a:lnTo>
                    <a:pt x="224" y="143"/>
                  </a:lnTo>
                  <a:lnTo>
                    <a:pt x="228" y="145"/>
                  </a:lnTo>
                  <a:lnTo>
                    <a:pt x="232" y="144"/>
                  </a:lnTo>
                  <a:lnTo>
                    <a:pt x="241" y="141"/>
                  </a:lnTo>
                  <a:lnTo>
                    <a:pt x="246" y="136"/>
                  </a:lnTo>
                  <a:lnTo>
                    <a:pt x="254" y="123"/>
                  </a:lnTo>
                  <a:lnTo>
                    <a:pt x="256" y="115"/>
                  </a:lnTo>
                  <a:lnTo>
                    <a:pt x="258" y="111"/>
                  </a:lnTo>
                  <a:lnTo>
                    <a:pt x="260" y="109"/>
                  </a:lnTo>
                  <a:lnTo>
                    <a:pt x="267" y="109"/>
                  </a:lnTo>
                  <a:lnTo>
                    <a:pt x="281" y="113"/>
                  </a:lnTo>
                  <a:lnTo>
                    <a:pt x="287" y="113"/>
                  </a:lnTo>
                  <a:lnTo>
                    <a:pt x="291" y="110"/>
                  </a:lnTo>
                  <a:lnTo>
                    <a:pt x="298" y="98"/>
                  </a:lnTo>
                  <a:lnTo>
                    <a:pt x="302" y="93"/>
                  </a:lnTo>
                  <a:lnTo>
                    <a:pt x="306" y="92"/>
                  </a:lnTo>
                  <a:lnTo>
                    <a:pt x="309" y="89"/>
                  </a:lnTo>
                  <a:lnTo>
                    <a:pt x="311" y="82"/>
                  </a:lnTo>
                  <a:lnTo>
                    <a:pt x="312" y="64"/>
                  </a:lnTo>
                  <a:lnTo>
                    <a:pt x="316" y="58"/>
                  </a:lnTo>
                  <a:lnTo>
                    <a:pt x="320" y="53"/>
                  </a:lnTo>
                  <a:lnTo>
                    <a:pt x="344" y="45"/>
                  </a:lnTo>
                  <a:lnTo>
                    <a:pt x="391" y="21"/>
                  </a:lnTo>
                  <a:lnTo>
                    <a:pt x="400" y="15"/>
                  </a:lnTo>
                  <a:lnTo>
                    <a:pt x="408" y="0"/>
                  </a:lnTo>
                  <a:lnTo>
                    <a:pt x="438" y="7"/>
                  </a:lnTo>
                  <a:lnTo>
                    <a:pt x="445" y="11"/>
                  </a:lnTo>
                  <a:lnTo>
                    <a:pt x="445" y="12"/>
                  </a:lnTo>
                  <a:lnTo>
                    <a:pt x="445" y="13"/>
                  </a:lnTo>
                  <a:lnTo>
                    <a:pt x="444" y="15"/>
                  </a:lnTo>
                  <a:lnTo>
                    <a:pt x="444" y="17"/>
                  </a:lnTo>
                  <a:lnTo>
                    <a:pt x="442" y="18"/>
                  </a:lnTo>
                  <a:lnTo>
                    <a:pt x="442" y="19"/>
                  </a:lnTo>
                  <a:lnTo>
                    <a:pt x="441" y="20"/>
                  </a:lnTo>
                  <a:lnTo>
                    <a:pt x="440" y="21"/>
                  </a:lnTo>
                  <a:lnTo>
                    <a:pt x="440" y="24"/>
                  </a:lnTo>
                  <a:lnTo>
                    <a:pt x="440" y="31"/>
                  </a:lnTo>
                  <a:lnTo>
                    <a:pt x="445" y="52"/>
                  </a:lnTo>
                  <a:lnTo>
                    <a:pt x="449" y="65"/>
                  </a:lnTo>
                  <a:lnTo>
                    <a:pt x="458" y="72"/>
                  </a:lnTo>
                  <a:lnTo>
                    <a:pt x="470" y="74"/>
                  </a:lnTo>
                  <a:lnTo>
                    <a:pt x="537" y="76"/>
                  </a:lnTo>
                  <a:lnTo>
                    <a:pt x="555" y="80"/>
                  </a:lnTo>
                  <a:lnTo>
                    <a:pt x="564" y="84"/>
                  </a:lnTo>
                  <a:lnTo>
                    <a:pt x="571" y="8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35E771FB-D24D-D73E-D169-A6FFDEF20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7476" y="3087751"/>
              <a:ext cx="2238707" cy="2101914"/>
            </a:xfrm>
            <a:custGeom>
              <a:avLst/>
              <a:gdLst>
                <a:gd name="T0" fmla="*/ 689 w 1522"/>
                <a:gd name="T1" fmla="*/ 147 h 1429"/>
                <a:gd name="T2" fmla="*/ 720 w 1522"/>
                <a:gd name="T3" fmla="*/ 247 h 1429"/>
                <a:gd name="T4" fmla="*/ 739 w 1522"/>
                <a:gd name="T5" fmla="*/ 312 h 1429"/>
                <a:gd name="T6" fmla="*/ 806 w 1522"/>
                <a:gd name="T7" fmla="*/ 345 h 1429"/>
                <a:gd name="T8" fmla="*/ 836 w 1522"/>
                <a:gd name="T9" fmla="*/ 389 h 1429"/>
                <a:gd name="T10" fmla="*/ 1218 w 1522"/>
                <a:gd name="T11" fmla="*/ 580 h 1429"/>
                <a:gd name="T12" fmla="*/ 1273 w 1522"/>
                <a:gd name="T13" fmla="*/ 653 h 1429"/>
                <a:gd name="T14" fmla="*/ 1305 w 1522"/>
                <a:gd name="T15" fmla="*/ 709 h 1429"/>
                <a:gd name="T16" fmla="*/ 1413 w 1522"/>
                <a:gd name="T17" fmla="*/ 725 h 1429"/>
                <a:gd name="T18" fmla="*/ 1499 w 1522"/>
                <a:gd name="T19" fmla="*/ 752 h 1429"/>
                <a:gd name="T20" fmla="*/ 1450 w 1522"/>
                <a:gd name="T21" fmla="*/ 775 h 1429"/>
                <a:gd name="T22" fmla="*/ 1029 w 1522"/>
                <a:gd name="T23" fmla="*/ 923 h 1429"/>
                <a:gd name="T24" fmla="*/ 732 w 1522"/>
                <a:gd name="T25" fmla="*/ 1027 h 1429"/>
                <a:gd name="T26" fmla="*/ 561 w 1522"/>
                <a:gd name="T27" fmla="*/ 1205 h 1429"/>
                <a:gd name="T28" fmla="*/ 500 w 1522"/>
                <a:gd name="T29" fmla="*/ 1299 h 1429"/>
                <a:gd name="T30" fmla="*/ 522 w 1522"/>
                <a:gd name="T31" fmla="*/ 1361 h 1429"/>
                <a:gd name="T32" fmla="*/ 473 w 1522"/>
                <a:gd name="T33" fmla="*/ 1368 h 1429"/>
                <a:gd name="T34" fmla="*/ 408 w 1522"/>
                <a:gd name="T35" fmla="*/ 1298 h 1429"/>
                <a:gd name="T36" fmla="*/ 393 w 1522"/>
                <a:gd name="T37" fmla="*/ 1339 h 1429"/>
                <a:gd name="T38" fmla="*/ 247 w 1522"/>
                <a:gd name="T39" fmla="*/ 1404 h 1429"/>
                <a:gd name="T40" fmla="*/ 189 w 1522"/>
                <a:gd name="T41" fmla="*/ 1406 h 1429"/>
                <a:gd name="T42" fmla="*/ 169 w 1522"/>
                <a:gd name="T43" fmla="*/ 1428 h 1429"/>
                <a:gd name="T44" fmla="*/ 81 w 1522"/>
                <a:gd name="T45" fmla="*/ 1407 h 1429"/>
                <a:gd name="T46" fmla="*/ 65 w 1522"/>
                <a:gd name="T47" fmla="*/ 1387 h 1429"/>
                <a:gd name="T48" fmla="*/ 50 w 1522"/>
                <a:gd name="T49" fmla="*/ 1363 h 1429"/>
                <a:gd name="T50" fmla="*/ 49 w 1522"/>
                <a:gd name="T51" fmla="*/ 1328 h 1429"/>
                <a:gd name="T52" fmla="*/ 65 w 1522"/>
                <a:gd name="T53" fmla="*/ 1306 h 1429"/>
                <a:gd name="T54" fmla="*/ 1 w 1522"/>
                <a:gd name="T55" fmla="*/ 1239 h 1429"/>
                <a:gd name="T56" fmla="*/ 148 w 1522"/>
                <a:gd name="T57" fmla="*/ 1133 h 1429"/>
                <a:gd name="T58" fmla="*/ 189 w 1522"/>
                <a:gd name="T59" fmla="*/ 1067 h 1429"/>
                <a:gd name="T60" fmla="*/ 214 w 1522"/>
                <a:gd name="T61" fmla="*/ 994 h 1429"/>
                <a:gd name="T62" fmla="*/ 242 w 1522"/>
                <a:gd name="T63" fmla="*/ 913 h 1429"/>
                <a:gd name="T64" fmla="*/ 252 w 1522"/>
                <a:gd name="T65" fmla="*/ 852 h 1429"/>
                <a:gd name="T66" fmla="*/ 349 w 1522"/>
                <a:gd name="T67" fmla="*/ 790 h 1429"/>
                <a:gd name="T68" fmla="*/ 319 w 1522"/>
                <a:gd name="T69" fmla="*/ 753 h 1429"/>
                <a:gd name="T70" fmla="*/ 290 w 1522"/>
                <a:gd name="T71" fmla="*/ 762 h 1429"/>
                <a:gd name="T72" fmla="*/ 274 w 1522"/>
                <a:gd name="T73" fmla="*/ 788 h 1429"/>
                <a:gd name="T74" fmla="*/ 264 w 1522"/>
                <a:gd name="T75" fmla="*/ 747 h 1429"/>
                <a:gd name="T76" fmla="*/ 278 w 1522"/>
                <a:gd name="T77" fmla="*/ 746 h 1429"/>
                <a:gd name="T78" fmla="*/ 304 w 1522"/>
                <a:gd name="T79" fmla="*/ 695 h 1429"/>
                <a:gd name="T80" fmla="*/ 309 w 1522"/>
                <a:gd name="T81" fmla="*/ 625 h 1429"/>
                <a:gd name="T82" fmla="*/ 243 w 1522"/>
                <a:gd name="T83" fmla="*/ 578 h 1429"/>
                <a:gd name="T84" fmla="*/ 276 w 1522"/>
                <a:gd name="T85" fmla="*/ 531 h 1429"/>
                <a:gd name="T86" fmla="*/ 295 w 1522"/>
                <a:gd name="T87" fmla="*/ 503 h 1429"/>
                <a:gd name="T88" fmla="*/ 313 w 1522"/>
                <a:gd name="T89" fmla="*/ 436 h 1429"/>
                <a:gd name="T90" fmla="*/ 323 w 1522"/>
                <a:gd name="T91" fmla="*/ 399 h 1429"/>
                <a:gd name="T92" fmla="*/ 306 w 1522"/>
                <a:gd name="T93" fmla="*/ 359 h 1429"/>
                <a:gd name="T94" fmla="*/ 352 w 1522"/>
                <a:gd name="T95" fmla="*/ 281 h 1429"/>
                <a:gd name="T96" fmla="*/ 340 w 1522"/>
                <a:gd name="T97" fmla="*/ 227 h 1429"/>
                <a:gd name="T98" fmla="*/ 330 w 1522"/>
                <a:gd name="T99" fmla="*/ 181 h 1429"/>
                <a:gd name="T100" fmla="*/ 347 w 1522"/>
                <a:gd name="T101" fmla="*/ 155 h 1429"/>
                <a:gd name="T102" fmla="*/ 385 w 1522"/>
                <a:gd name="T103" fmla="*/ 122 h 1429"/>
                <a:gd name="T104" fmla="*/ 386 w 1522"/>
                <a:gd name="T105" fmla="*/ 78 h 1429"/>
                <a:gd name="T106" fmla="*/ 413 w 1522"/>
                <a:gd name="T107" fmla="*/ 32 h 1429"/>
                <a:gd name="T108" fmla="*/ 485 w 1522"/>
                <a:gd name="T109" fmla="*/ 22 h 1429"/>
                <a:gd name="T110" fmla="*/ 561 w 1522"/>
                <a:gd name="T111" fmla="*/ 19 h 1429"/>
                <a:gd name="T112" fmla="*/ 611 w 1522"/>
                <a:gd name="T113" fmla="*/ 124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22" h="1429">
                  <a:moveTo>
                    <a:pt x="625" y="147"/>
                  </a:moveTo>
                  <a:lnTo>
                    <a:pt x="635" y="146"/>
                  </a:lnTo>
                  <a:lnTo>
                    <a:pt x="666" y="139"/>
                  </a:lnTo>
                  <a:lnTo>
                    <a:pt x="679" y="141"/>
                  </a:lnTo>
                  <a:lnTo>
                    <a:pt x="689" y="147"/>
                  </a:lnTo>
                  <a:lnTo>
                    <a:pt x="696" y="162"/>
                  </a:lnTo>
                  <a:lnTo>
                    <a:pt x="705" y="207"/>
                  </a:lnTo>
                  <a:lnTo>
                    <a:pt x="718" y="226"/>
                  </a:lnTo>
                  <a:lnTo>
                    <a:pt x="720" y="232"/>
                  </a:lnTo>
                  <a:lnTo>
                    <a:pt x="720" y="247"/>
                  </a:lnTo>
                  <a:lnTo>
                    <a:pt x="722" y="255"/>
                  </a:lnTo>
                  <a:lnTo>
                    <a:pt x="732" y="273"/>
                  </a:lnTo>
                  <a:lnTo>
                    <a:pt x="735" y="281"/>
                  </a:lnTo>
                  <a:lnTo>
                    <a:pt x="737" y="302"/>
                  </a:lnTo>
                  <a:lnTo>
                    <a:pt x="739" y="312"/>
                  </a:lnTo>
                  <a:lnTo>
                    <a:pt x="745" y="319"/>
                  </a:lnTo>
                  <a:lnTo>
                    <a:pt x="757" y="326"/>
                  </a:lnTo>
                  <a:lnTo>
                    <a:pt x="784" y="332"/>
                  </a:lnTo>
                  <a:lnTo>
                    <a:pt x="797" y="337"/>
                  </a:lnTo>
                  <a:lnTo>
                    <a:pt x="806" y="345"/>
                  </a:lnTo>
                  <a:lnTo>
                    <a:pt x="809" y="355"/>
                  </a:lnTo>
                  <a:lnTo>
                    <a:pt x="812" y="367"/>
                  </a:lnTo>
                  <a:lnTo>
                    <a:pt x="816" y="377"/>
                  </a:lnTo>
                  <a:lnTo>
                    <a:pt x="825" y="385"/>
                  </a:lnTo>
                  <a:lnTo>
                    <a:pt x="836" y="389"/>
                  </a:lnTo>
                  <a:lnTo>
                    <a:pt x="859" y="395"/>
                  </a:lnTo>
                  <a:lnTo>
                    <a:pt x="1043" y="473"/>
                  </a:lnTo>
                  <a:lnTo>
                    <a:pt x="1197" y="573"/>
                  </a:lnTo>
                  <a:lnTo>
                    <a:pt x="1209" y="576"/>
                  </a:lnTo>
                  <a:lnTo>
                    <a:pt x="1218" y="580"/>
                  </a:lnTo>
                  <a:lnTo>
                    <a:pt x="1226" y="590"/>
                  </a:lnTo>
                  <a:lnTo>
                    <a:pt x="1239" y="612"/>
                  </a:lnTo>
                  <a:lnTo>
                    <a:pt x="1262" y="640"/>
                  </a:lnTo>
                  <a:lnTo>
                    <a:pt x="1268" y="650"/>
                  </a:lnTo>
                  <a:lnTo>
                    <a:pt x="1273" y="653"/>
                  </a:lnTo>
                  <a:lnTo>
                    <a:pt x="1278" y="658"/>
                  </a:lnTo>
                  <a:lnTo>
                    <a:pt x="1280" y="664"/>
                  </a:lnTo>
                  <a:lnTo>
                    <a:pt x="1281" y="667"/>
                  </a:lnTo>
                  <a:lnTo>
                    <a:pt x="1289" y="690"/>
                  </a:lnTo>
                  <a:lnTo>
                    <a:pt x="1305" y="709"/>
                  </a:lnTo>
                  <a:lnTo>
                    <a:pt x="1328" y="723"/>
                  </a:lnTo>
                  <a:lnTo>
                    <a:pt x="1355" y="732"/>
                  </a:lnTo>
                  <a:lnTo>
                    <a:pt x="1385" y="731"/>
                  </a:lnTo>
                  <a:lnTo>
                    <a:pt x="1406" y="725"/>
                  </a:lnTo>
                  <a:lnTo>
                    <a:pt x="1413" y="725"/>
                  </a:lnTo>
                  <a:lnTo>
                    <a:pt x="1424" y="733"/>
                  </a:lnTo>
                  <a:lnTo>
                    <a:pt x="1433" y="738"/>
                  </a:lnTo>
                  <a:lnTo>
                    <a:pt x="1456" y="743"/>
                  </a:lnTo>
                  <a:lnTo>
                    <a:pt x="1484" y="757"/>
                  </a:lnTo>
                  <a:lnTo>
                    <a:pt x="1499" y="752"/>
                  </a:lnTo>
                  <a:lnTo>
                    <a:pt x="1512" y="746"/>
                  </a:lnTo>
                  <a:lnTo>
                    <a:pt x="1522" y="748"/>
                  </a:lnTo>
                  <a:lnTo>
                    <a:pt x="1522" y="748"/>
                  </a:lnTo>
                  <a:lnTo>
                    <a:pt x="1512" y="754"/>
                  </a:lnTo>
                  <a:lnTo>
                    <a:pt x="1450" y="775"/>
                  </a:lnTo>
                  <a:lnTo>
                    <a:pt x="1366" y="806"/>
                  </a:lnTo>
                  <a:lnTo>
                    <a:pt x="1282" y="835"/>
                  </a:lnTo>
                  <a:lnTo>
                    <a:pt x="1198" y="864"/>
                  </a:lnTo>
                  <a:lnTo>
                    <a:pt x="1113" y="894"/>
                  </a:lnTo>
                  <a:lnTo>
                    <a:pt x="1029" y="923"/>
                  </a:lnTo>
                  <a:lnTo>
                    <a:pt x="945" y="953"/>
                  </a:lnTo>
                  <a:lnTo>
                    <a:pt x="861" y="982"/>
                  </a:lnTo>
                  <a:lnTo>
                    <a:pt x="776" y="1012"/>
                  </a:lnTo>
                  <a:lnTo>
                    <a:pt x="758" y="1018"/>
                  </a:lnTo>
                  <a:lnTo>
                    <a:pt x="732" y="1027"/>
                  </a:lnTo>
                  <a:lnTo>
                    <a:pt x="720" y="1033"/>
                  </a:lnTo>
                  <a:lnTo>
                    <a:pt x="670" y="1077"/>
                  </a:lnTo>
                  <a:lnTo>
                    <a:pt x="603" y="1168"/>
                  </a:lnTo>
                  <a:lnTo>
                    <a:pt x="570" y="1195"/>
                  </a:lnTo>
                  <a:lnTo>
                    <a:pt x="561" y="1205"/>
                  </a:lnTo>
                  <a:lnTo>
                    <a:pt x="540" y="1245"/>
                  </a:lnTo>
                  <a:lnTo>
                    <a:pt x="531" y="1257"/>
                  </a:lnTo>
                  <a:lnTo>
                    <a:pt x="508" y="1274"/>
                  </a:lnTo>
                  <a:lnTo>
                    <a:pt x="500" y="1284"/>
                  </a:lnTo>
                  <a:lnTo>
                    <a:pt x="500" y="1299"/>
                  </a:lnTo>
                  <a:lnTo>
                    <a:pt x="508" y="1311"/>
                  </a:lnTo>
                  <a:lnTo>
                    <a:pt x="517" y="1318"/>
                  </a:lnTo>
                  <a:lnTo>
                    <a:pt x="526" y="1328"/>
                  </a:lnTo>
                  <a:lnTo>
                    <a:pt x="528" y="1346"/>
                  </a:lnTo>
                  <a:lnTo>
                    <a:pt x="522" y="1361"/>
                  </a:lnTo>
                  <a:lnTo>
                    <a:pt x="511" y="1365"/>
                  </a:lnTo>
                  <a:lnTo>
                    <a:pt x="499" y="1367"/>
                  </a:lnTo>
                  <a:lnTo>
                    <a:pt x="489" y="1376"/>
                  </a:lnTo>
                  <a:lnTo>
                    <a:pt x="479" y="1380"/>
                  </a:lnTo>
                  <a:lnTo>
                    <a:pt x="473" y="1368"/>
                  </a:lnTo>
                  <a:lnTo>
                    <a:pt x="464" y="1325"/>
                  </a:lnTo>
                  <a:lnTo>
                    <a:pt x="459" y="1315"/>
                  </a:lnTo>
                  <a:lnTo>
                    <a:pt x="450" y="1307"/>
                  </a:lnTo>
                  <a:lnTo>
                    <a:pt x="422" y="1300"/>
                  </a:lnTo>
                  <a:lnTo>
                    <a:pt x="408" y="1298"/>
                  </a:lnTo>
                  <a:lnTo>
                    <a:pt x="396" y="1301"/>
                  </a:lnTo>
                  <a:lnTo>
                    <a:pt x="388" y="1314"/>
                  </a:lnTo>
                  <a:lnTo>
                    <a:pt x="390" y="1318"/>
                  </a:lnTo>
                  <a:lnTo>
                    <a:pt x="394" y="1331"/>
                  </a:lnTo>
                  <a:lnTo>
                    <a:pt x="393" y="1339"/>
                  </a:lnTo>
                  <a:lnTo>
                    <a:pt x="388" y="1368"/>
                  </a:lnTo>
                  <a:lnTo>
                    <a:pt x="380" y="1395"/>
                  </a:lnTo>
                  <a:lnTo>
                    <a:pt x="379" y="1395"/>
                  </a:lnTo>
                  <a:lnTo>
                    <a:pt x="295" y="1394"/>
                  </a:lnTo>
                  <a:lnTo>
                    <a:pt x="247" y="1404"/>
                  </a:lnTo>
                  <a:lnTo>
                    <a:pt x="234" y="1404"/>
                  </a:lnTo>
                  <a:lnTo>
                    <a:pt x="208" y="1401"/>
                  </a:lnTo>
                  <a:lnTo>
                    <a:pt x="199" y="1402"/>
                  </a:lnTo>
                  <a:lnTo>
                    <a:pt x="193" y="1404"/>
                  </a:lnTo>
                  <a:lnTo>
                    <a:pt x="189" y="1406"/>
                  </a:lnTo>
                  <a:lnTo>
                    <a:pt x="187" y="1409"/>
                  </a:lnTo>
                  <a:lnTo>
                    <a:pt x="180" y="1421"/>
                  </a:lnTo>
                  <a:lnTo>
                    <a:pt x="177" y="1426"/>
                  </a:lnTo>
                  <a:lnTo>
                    <a:pt x="173" y="1429"/>
                  </a:lnTo>
                  <a:lnTo>
                    <a:pt x="169" y="1428"/>
                  </a:lnTo>
                  <a:lnTo>
                    <a:pt x="157" y="1422"/>
                  </a:lnTo>
                  <a:lnTo>
                    <a:pt x="150" y="1420"/>
                  </a:lnTo>
                  <a:lnTo>
                    <a:pt x="127" y="1417"/>
                  </a:lnTo>
                  <a:lnTo>
                    <a:pt x="99" y="1409"/>
                  </a:lnTo>
                  <a:lnTo>
                    <a:pt x="81" y="1407"/>
                  </a:lnTo>
                  <a:lnTo>
                    <a:pt x="73" y="1403"/>
                  </a:lnTo>
                  <a:lnTo>
                    <a:pt x="70" y="1400"/>
                  </a:lnTo>
                  <a:lnTo>
                    <a:pt x="69" y="1394"/>
                  </a:lnTo>
                  <a:lnTo>
                    <a:pt x="67" y="1391"/>
                  </a:lnTo>
                  <a:lnTo>
                    <a:pt x="65" y="1387"/>
                  </a:lnTo>
                  <a:lnTo>
                    <a:pt x="59" y="1382"/>
                  </a:lnTo>
                  <a:lnTo>
                    <a:pt x="56" y="1378"/>
                  </a:lnTo>
                  <a:lnTo>
                    <a:pt x="53" y="1374"/>
                  </a:lnTo>
                  <a:lnTo>
                    <a:pt x="52" y="1369"/>
                  </a:lnTo>
                  <a:lnTo>
                    <a:pt x="50" y="1363"/>
                  </a:lnTo>
                  <a:lnTo>
                    <a:pt x="49" y="1351"/>
                  </a:lnTo>
                  <a:lnTo>
                    <a:pt x="46" y="1341"/>
                  </a:lnTo>
                  <a:lnTo>
                    <a:pt x="46" y="1337"/>
                  </a:lnTo>
                  <a:lnTo>
                    <a:pt x="46" y="1332"/>
                  </a:lnTo>
                  <a:lnTo>
                    <a:pt x="49" y="1328"/>
                  </a:lnTo>
                  <a:lnTo>
                    <a:pt x="53" y="1325"/>
                  </a:lnTo>
                  <a:lnTo>
                    <a:pt x="60" y="1317"/>
                  </a:lnTo>
                  <a:lnTo>
                    <a:pt x="63" y="1314"/>
                  </a:lnTo>
                  <a:lnTo>
                    <a:pt x="65" y="1310"/>
                  </a:lnTo>
                  <a:lnTo>
                    <a:pt x="65" y="1306"/>
                  </a:lnTo>
                  <a:lnTo>
                    <a:pt x="62" y="1301"/>
                  </a:lnTo>
                  <a:lnTo>
                    <a:pt x="58" y="1296"/>
                  </a:lnTo>
                  <a:lnTo>
                    <a:pt x="3" y="1257"/>
                  </a:lnTo>
                  <a:lnTo>
                    <a:pt x="0" y="1245"/>
                  </a:lnTo>
                  <a:lnTo>
                    <a:pt x="1" y="1239"/>
                  </a:lnTo>
                  <a:lnTo>
                    <a:pt x="4" y="1233"/>
                  </a:lnTo>
                  <a:lnTo>
                    <a:pt x="86" y="1167"/>
                  </a:lnTo>
                  <a:lnTo>
                    <a:pt x="99" y="1154"/>
                  </a:lnTo>
                  <a:lnTo>
                    <a:pt x="125" y="1146"/>
                  </a:lnTo>
                  <a:lnTo>
                    <a:pt x="148" y="1133"/>
                  </a:lnTo>
                  <a:lnTo>
                    <a:pt x="164" y="1120"/>
                  </a:lnTo>
                  <a:lnTo>
                    <a:pt x="182" y="1101"/>
                  </a:lnTo>
                  <a:lnTo>
                    <a:pt x="188" y="1089"/>
                  </a:lnTo>
                  <a:lnTo>
                    <a:pt x="190" y="1077"/>
                  </a:lnTo>
                  <a:lnTo>
                    <a:pt x="189" y="1067"/>
                  </a:lnTo>
                  <a:lnTo>
                    <a:pt x="189" y="1056"/>
                  </a:lnTo>
                  <a:lnTo>
                    <a:pt x="192" y="1045"/>
                  </a:lnTo>
                  <a:lnTo>
                    <a:pt x="208" y="1012"/>
                  </a:lnTo>
                  <a:lnTo>
                    <a:pt x="210" y="1005"/>
                  </a:lnTo>
                  <a:lnTo>
                    <a:pt x="214" y="994"/>
                  </a:lnTo>
                  <a:lnTo>
                    <a:pt x="245" y="942"/>
                  </a:lnTo>
                  <a:lnTo>
                    <a:pt x="250" y="933"/>
                  </a:lnTo>
                  <a:lnTo>
                    <a:pt x="250" y="926"/>
                  </a:lnTo>
                  <a:lnTo>
                    <a:pt x="247" y="920"/>
                  </a:lnTo>
                  <a:lnTo>
                    <a:pt x="242" y="913"/>
                  </a:lnTo>
                  <a:lnTo>
                    <a:pt x="237" y="907"/>
                  </a:lnTo>
                  <a:lnTo>
                    <a:pt x="232" y="901"/>
                  </a:lnTo>
                  <a:lnTo>
                    <a:pt x="230" y="897"/>
                  </a:lnTo>
                  <a:lnTo>
                    <a:pt x="231" y="892"/>
                  </a:lnTo>
                  <a:lnTo>
                    <a:pt x="252" y="852"/>
                  </a:lnTo>
                  <a:lnTo>
                    <a:pt x="257" y="846"/>
                  </a:lnTo>
                  <a:lnTo>
                    <a:pt x="265" y="840"/>
                  </a:lnTo>
                  <a:lnTo>
                    <a:pt x="339" y="803"/>
                  </a:lnTo>
                  <a:lnTo>
                    <a:pt x="346" y="796"/>
                  </a:lnTo>
                  <a:lnTo>
                    <a:pt x="349" y="790"/>
                  </a:lnTo>
                  <a:lnTo>
                    <a:pt x="349" y="784"/>
                  </a:lnTo>
                  <a:lnTo>
                    <a:pt x="347" y="779"/>
                  </a:lnTo>
                  <a:lnTo>
                    <a:pt x="345" y="773"/>
                  </a:lnTo>
                  <a:lnTo>
                    <a:pt x="340" y="768"/>
                  </a:lnTo>
                  <a:lnTo>
                    <a:pt x="319" y="753"/>
                  </a:lnTo>
                  <a:lnTo>
                    <a:pt x="315" y="751"/>
                  </a:lnTo>
                  <a:lnTo>
                    <a:pt x="309" y="751"/>
                  </a:lnTo>
                  <a:lnTo>
                    <a:pt x="303" y="753"/>
                  </a:lnTo>
                  <a:lnTo>
                    <a:pt x="296" y="756"/>
                  </a:lnTo>
                  <a:lnTo>
                    <a:pt x="290" y="762"/>
                  </a:lnTo>
                  <a:lnTo>
                    <a:pt x="286" y="769"/>
                  </a:lnTo>
                  <a:lnTo>
                    <a:pt x="283" y="777"/>
                  </a:lnTo>
                  <a:lnTo>
                    <a:pt x="281" y="783"/>
                  </a:lnTo>
                  <a:lnTo>
                    <a:pt x="279" y="787"/>
                  </a:lnTo>
                  <a:lnTo>
                    <a:pt x="274" y="788"/>
                  </a:lnTo>
                  <a:lnTo>
                    <a:pt x="268" y="785"/>
                  </a:lnTo>
                  <a:lnTo>
                    <a:pt x="263" y="780"/>
                  </a:lnTo>
                  <a:lnTo>
                    <a:pt x="261" y="773"/>
                  </a:lnTo>
                  <a:lnTo>
                    <a:pt x="260" y="767"/>
                  </a:lnTo>
                  <a:lnTo>
                    <a:pt x="264" y="747"/>
                  </a:lnTo>
                  <a:lnTo>
                    <a:pt x="268" y="749"/>
                  </a:lnTo>
                  <a:lnTo>
                    <a:pt x="270" y="749"/>
                  </a:lnTo>
                  <a:lnTo>
                    <a:pt x="273" y="749"/>
                  </a:lnTo>
                  <a:lnTo>
                    <a:pt x="275" y="748"/>
                  </a:lnTo>
                  <a:lnTo>
                    <a:pt x="278" y="746"/>
                  </a:lnTo>
                  <a:lnTo>
                    <a:pt x="284" y="739"/>
                  </a:lnTo>
                  <a:lnTo>
                    <a:pt x="301" y="714"/>
                  </a:lnTo>
                  <a:lnTo>
                    <a:pt x="303" y="708"/>
                  </a:lnTo>
                  <a:lnTo>
                    <a:pt x="304" y="703"/>
                  </a:lnTo>
                  <a:lnTo>
                    <a:pt x="304" y="695"/>
                  </a:lnTo>
                  <a:lnTo>
                    <a:pt x="305" y="689"/>
                  </a:lnTo>
                  <a:lnTo>
                    <a:pt x="307" y="677"/>
                  </a:lnTo>
                  <a:lnTo>
                    <a:pt x="306" y="639"/>
                  </a:lnTo>
                  <a:lnTo>
                    <a:pt x="307" y="631"/>
                  </a:lnTo>
                  <a:lnTo>
                    <a:pt x="309" y="625"/>
                  </a:lnTo>
                  <a:lnTo>
                    <a:pt x="305" y="617"/>
                  </a:lnTo>
                  <a:lnTo>
                    <a:pt x="294" y="610"/>
                  </a:lnTo>
                  <a:lnTo>
                    <a:pt x="253" y="591"/>
                  </a:lnTo>
                  <a:lnTo>
                    <a:pt x="244" y="586"/>
                  </a:lnTo>
                  <a:lnTo>
                    <a:pt x="243" y="578"/>
                  </a:lnTo>
                  <a:lnTo>
                    <a:pt x="266" y="562"/>
                  </a:lnTo>
                  <a:lnTo>
                    <a:pt x="270" y="556"/>
                  </a:lnTo>
                  <a:lnTo>
                    <a:pt x="274" y="547"/>
                  </a:lnTo>
                  <a:lnTo>
                    <a:pt x="274" y="540"/>
                  </a:lnTo>
                  <a:lnTo>
                    <a:pt x="276" y="531"/>
                  </a:lnTo>
                  <a:lnTo>
                    <a:pt x="282" y="524"/>
                  </a:lnTo>
                  <a:lnTo>
                    <a:pt x="294" y="516"/>
                  </a:lnTo>
                  <a:lnTo>
                    <a:pt x="297" y="511"/>
                  </a:lnTo>
                  <a:lnTo>
                    <a:pt x="297" y="507"/>
                  </a:lnTo>
                  <a:lnTo>
                    <a:pt x="295" y="503"/>
                  </a:lnTo>
                  <a:lnTo>
                    <a:pt x="294" y="500"/>
                  </a:lnTo>
                  <a:lnTo>
                    <a:pt x="292" y="474"/>
                  </a:lnTo>
                  <a:lnTo>
                    <a:pt x="296" y="455"/>
                  </a:lnTo>
                  <a:lnTo>
                    <a:pt x="303" y="444"/>
                  </a:lnTo>
                  <a:lnTo>
                    <a:pt x="313" y="436"/>
                  </a:lnTo>
                  <a:lnTo>
                    <a:pt x="322" y="432"/>
                  </a:lnTo>
                  <a:lnTo>
                    <a:pt x="331" y="425"/>
                  </a:lnTo>
                  <a:lnTo>
                    <a:pt x="333" y="420"/>
                  </a:lnTo>
                  <a:lnTo>
                    <a:pt x="326" y="407"/>
                  </a:lnTo>
                  <a:lnTo>
                    <a:pt x="323" y="399"/>
                  </a:lnTo>
                  <a:lnTo>
                    <a:pt x="323" y="383"/>
                  </a:lnTo>
                  <a:lnTo>
                    <a:pt x="321" y="375"/>
                  </a:lnTo>
                  <a:lnTo>
                    <a:pt x="316" y="368"/>
                  </a:lnTo>
                  <a:lnTo>
                    <a:pt x="312" y="365"/>
                  </a:lnTo>
                  <a:lnTo>
                    <a:pt x="306" y="359"/>
                  </a:lnTo>
                  <a:lnTo>
                    <a:pt x="304" y="354"/>
                  </a:lnTo>
                  <a:lnTo>
                    <a:pt x="303" y="346"/>
                  </a:lnTo>
                  <a:lnTo>
                    <a:pt x="306" y="339"/>
                  </a:lnTo>
                  <a:lnTo>
                    <a:pt x="325" y="311"/>
                  </a:lnTo>
                  <a:lnTo>
                    <a:pt x="352" y="281"/>
                  </a:lnTo>
                  <a:lnTo>
                    <a:pt x="353" y="273"/>
                  </a:lnTo>
                  <a:lnTo>
                    <a:pt x="348" y="252"/>
                  </a:lnTo>
                  <a:lnTo>
                    <a:pt x="346" y="236"/>
                  </a:lnTo>
                  <a:lnTo>
                    <a:pt x="344" y="230"/>
                  </a:lnTo>
                  <a:lnTo>
                    <a:pt x="340" y="227"/>
                  </a:lnTo>
                  <a:lnTo>
                    <a:pt x="336" y="223"/>
                  </a:lnTo>
                  <a:lnTo>
                    <a:pt x="333" y="217"/>
                  </a:lnTo>
                  <a:lnTo>
                    <a:pt x="331" y="207"/>
                  </a:lnTo>
                  <a:lnTo>
                    <a:pt x="330" y="195"/>
                  </a:lnTo>
                  <a:lnTo>
                    <a:pt x="330" y="181"/>
                  </a:lnTo>
                  <a:lnTo>
                    <a:pt x="331" y="173"/>
                  </a:lnTo>
                  <a:lnTo>
                    <a:pt x="334" y="167"/>
                  </a:lnTo>
                  <a:lnTo>
                    <a:pt x="339" y="163"/>
                  </a:lnTo>
                  <a:lnTo>
                    <a:pt x="343" y="159"/>
                  </a:lnTo>
                  <a:lnTo>
                    <a:pt x="347" y="155"/>
                  </a:lnTo>
                  <a:lnTo>
                    <a:pt x="353" y="147"/>
                  </a:lnTo>
                  <a:lnTo>
                    <a:pt x="357" y="142"/>
                  </a:lnTo>
                  <a:lnTo>
                    <a:pt x="364" y="136"/>
                  </a:lnTo>
                  <a:lnTo>
                    <a:pt x="379" y="128"/>
                  </a:lnTo>
                  <a:lnTo>
                    <a:pt x="385" y="122"/>
                  </a:lnTo>
                  <a:lnTo>
                    <a:pt x="391" y="117"/>
                  </a:lnTo>
                  <a:lnTo>
                    <a:pt x="393" y="110"/>
                  </a:lnTo>
                  <a:lnTo>
                    <a:pt x="394" y="103"/>
                  </a:lnTo>
                  <a:lnTo>
                    <a:pt x="393" y="96"/>
                  </a:lnTo>
                  <a:lnTo>
                    <a:pt x="386" y="78"/>
                  </a:lnTo>
                  <a:lnTo>
                    <a:pt x="386" y="68"/>
                  </a:lnTo>
                  <a:lnTo>
                    <a:pt x="388" y="62"/>
                  </a:lnTo>
                  <a:lnTo>
                    <a:pt x="395" y="53"/>
                  </a:lnTo>
                  <a:lnTo>
                    <a:pt x="406" y="38"/>
                  </a:lnTo>
                  <a:lnTo>
                    <a:pt x="413" y="32"/>
                  </a:lnTo>
                  <a:lnTo>
                    <a:pt x="426" y="25"/>
                  </a:lnTo>
                  <a:lnTo>
                    <a:pt x="435" y="22"/>
                  </a:lnTo>
                  <a:lnTo>
                    <a:pt x="458" y="27"/>
                  </a:lnTo>
                  <a:lnTo>
                    <a:pt x="475" y="26"/>
                  </a:lnTo>
                  <a:lnTo>
                    <a:pt x="485" y="22"/>
                  </a:lnTo>
                  <a:lnTo>
                    <a:pt x="496" y="18"/>
                  </a:lnTo>
                  <a:lnTo>
                    <a:pt x="502" y="13"/>
                  </a:lnTo>
                  <a:lnTo>
                    <a:pt x="515" y="0"/>
                  </a:lnTo>
                  <a:lnTo>
                    <a:pt x="544" y="5"/>
                  </a:lnTo>
                  <a:lnTo>
                    <a:pt x="561" y="19"/>
                  </a:lnTo>
                  <a:lnTo>
                    <a:pt x="570" y="29"/>
                  </a:lnTo>
                  <a:lnTo>
                    <a:pt x="579" y="39"/>
                  </a:lnTo>
                  <a:lnTo>
                    <a:pt x="585" y="48"/>
                  </a:lnTo>
                  <a:lnTo>
                    <a:pt x="605" y="102"/>
                  </a:lnTo>
                  <a:lnTo>
                    <a:pt x="611" y="124"/>
                  </a:lnTo>
                  <a:lnTo>
                    <a:pt x="617" y="139"/>
                  </a:lnTo>
                  <a:lnTo>
                    <a:pt x="625" y="14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7D5F37BD-40E2-7E40-5E66-888C3C4EF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4420" y="1293255"/>
              <a:ext cx="1487078" cy="2182813"/>
            </a:xfrm>
            <a:custGeom>
              <a:avLst/>
              <a:gdLst>
                <a:gd name="T0" fmla="*/ 843 w 1011"/>
                <a:gd name="T1" fmla="*/ 134 h 1484"/>
                <a:gd name="T2" fmla="*/ 853 w 1011"/>
                <a:gd name="T3" fmla="*/ 152 h 1484"/>
                <a:gd name="T4" fmla="*/ 890 w 1011"/>
                <a:gd name="T5" fmla="*/ 170 h 1484"/>
                <a:gd name="T6" fmla="*/ 885 w 1011"/>
                <a:gd name="T7" fmla="*/ 194 h 1484"/>
                <a:gd name="T8" fmla="*/ 879 w 1011"/>
                <a:gd name="T9" fmla="*/ 210 h 1484"/>
                <a:gd name="T10" fmla="*/ 869 w 1011"/>
                <a:gd name="T11" fmla="*/ 220 h 1484"/>
                <a:gd name="T12" fmla="*/ 884 w 1011"/>
                <a:gd name="T13" fmla="*/ 260 h 1484"/>
                <a:gd name="T14" fmla="*/ 893 w 1011"/>
                <a:gd name="T15" fmla="*/ 304 h 1484"/>
                <a:gd name="T16" fmla="*/ 954 w 1011"/>
                <a:gd name="T17" fmla="*/ 361 h 1484"/>
                <a:gd name="T18" fmla="*/ 1006 w 1011"/>
                <a:gd name="T19" fmla="*/ 388 h 1484"/>
                <a:gd name="T20" fmla="*/ 973 w 1011"/>
                <a:gd name="T21" fmla="*/ 600 h 1484"/>
                <a:gd name="T22" fmla="*/ 915 w 1011"/>
                <a:gd name="T23" fmla="*/ 721 h 1484"/>
                <a:gd name="T24" fmla="*/ 824 w 1011"/>
                <a:gd name="T25" fmla="*/ 826 h 1484"/>
                <a:gd name="T26" fmla="*/ 765 w 1011"/>
                <a:gd name="T27" fmla="*/ 899 h 1484"/>
                <a:gd name="T28" fmla="*/ 744 w 1011"/>
                <a:gd name="T29" fmla="*/ 936 h 1484"/>
                <a:gd name="T30" fmla="*/ 655 w 1011"/>
                <a:gd name="T31" fmla="*/ 1016 h 1484"/>
                <a:gd name="T32" fmla="*/ 630 w 1011"/>
                <a:gd name="T33" fmla="*/ 999 h 1484"/>
                <a:gd name="T34" fmla="*/ 598 w 1011"/>
                <a:gd name="T35" fmla="*/ 1066 h 1484"/>
                <a:gd name="T36" fmla="*/ 524 w 1011"/>
                <a:gd name="T37" fmla="*/ 1167 h 1484"/>
                <a:gd name="T38" fmla="*/ 488 w 1011"/>
                <a:gd name="T39" fmla="*/ 1203 h 1484"/>
                <a:gd name="T40" fmla="*/ 491 w 1011"/>
                <a:gd name="T41" fmla="*/ 1268 h 1484"/>
                <a:gd name="T42" fmla="*/ 434 w 1011"/>
                <a:gd name="T43" fmla="*/ 1318 h 1484"/>
                <a:gd name="T44" fmla="*/ 460 w 1011"/>
                <a:gd name="T45" fmla="*/ 1343 h 1484"/>
                <a:gd name="T46" fmla="*/ 417 w 1011"/>
                <a:gd name="T47" fmla="*/ 1387 h 1484"/>
                <a:gd name="T48" fmla="*/ 381 w 1011"/>
                <a:gd name="T49" fmla="*/ 1396 h 1484"/>
                <a:gd name="T50" fmla="*/ 339 w 1011"/>
                <a:gd name="T51" fmla="*/ 1435 h 1484"/>
                <a:gd name="T52" fmla="*/ 324 w 1011"/>
                <a:gd name="T53" fmla="*/ 1476 h 1484"/>
                <a:gd name="T54" fmla="*/ 237 w 1011"/>
                <a:gd name="T55" fmla="*/ 1467 h 1484"/>
                <a:gd name="T56" fmla="*/ 252 w 1011"/>
                <a:gd name="T57" fmla="*/ 1407 h 1484"/>
                <a:gd name="T58" fmla="*/ 236 w 1011"/>
                <a:gd name="T59" fmla="*/ 1367 h 1484"/>
                <a:gd name="T60" fmla="*/ 101 w 1011"/>
                <a:gd name="T61" fmla="*/ 1370 h 1484"/>
                <a:gd name="T62" fmla="*/ 41 w 1011"/>
                <a:gd name="T63" fmla="*/ 1324 h 1484"/>
                <a:gd name="T64" fmla="*/ 78 w 1011"/>
                <a:gd name="T65" fmla="*/ 1242 h 1484"/>
                <a:gd name="T66" fmla="*/ 102 w 1011"/>
                <a:gd name="T67" fmla="*/ 1182 h 1484"/>
                <a:gd name="T68" fmla="*/ 9 w 1011"/>
                <a:gd name="T69" fmla="*/ 983 h 1484"/>
                <a:gd name="T70" fmla="*/ 41 w 1011"/>
                <a:gd name="T71" fmla="*/ 912 h 1484"/>
                <a:gd name="T72" fmla="*/ 95 w 1011"/>
                <a:gd name="T73" fmla="*/ 882 h 1484"/>
                <a:gd name="T74" fmla="*/ 150 w 1011"/>
                <a:gd name="T75" fmla="*/ 886 h 1484"/>
                <a:gd name="T76" fmla="*/ 200 w 1011"/>
                <a:gd name="T77" fmla="*/ 881 h 1484"/>
                <a:gd name="T78" fmla="*/ 280 w 1011"/>
                <a:gd name="T79" fmla="*/ 714 h 1484"/>
                <a:gd name="T80" fmla="*/ 332 w 1011"/>
                <a:gd name="T81" fmla="*/ 669 h 1484"/>
                <a:gd name="T82" fmla="*/ 374 w 1011"/>
                <a:gd name="T83" fmla="*/ 677 h 1484"/>
                <a:gd name="T84" fmla="*/ 319 w 1011"/>
                <a:gd name="T85" fmla="*/ 607 h 1484"/>
                <a:gd name="T86" fmla="*/ 302 w 1011"/>
                <a:gd name="T87" fmla="*/ 495 h 1484"/>
                <a:gd name="T88" fmla="*/ 379 w 1011"/>
                <a:gd name="T89" fmla="*/ 395 h 1484"/>
                <a:gd name="T90" fmla="*/ 498 w 1011"/>
                <a:gd name="T91" fmla="*/ 301 h 1484"/>
                <a:gd name="T92" fmla="*/ 569 w 1011"/>
                <a:gd name="T93" fmla="*/ 215 h 1484"/>
                <a:gd name="T94" fmla="*/ 587 w 1011"/>
                <a:gd name="T95" fmla="*/ 19 h 1484"/>
                <a:gd name="T96" fmla="*/ 610 w 1011"/>
                <a:gd name="T97" fmla="*/ 33 h 1484"/>
                <a:gd name="T98" fmla="*/ 649 w 1011"/>
                <a:gd name="T99" fmla="*/ 75 h 1484"/>
                <a:gd name="T100" fmla="*/ 673 w 1011"/>
                <a:gd name="T101" fmla="*/ 67 h 1484"/>
                <a:gd name="T102" fmla="*/ 686 w 1011"/>
                <a:gd name="T103" fmla="*/ 38 h 1484"/>
                <a:gd name="T104" fmla="*/ 746 w 1011"/>
                <a:gd name="T105" fmla="*/ 31 h 1484"/>
                <a:gd name="T106" fmla="*/ 792 w 1011"/>
                <a:gd name="T107" fmla="*/ 0 h 1484"/>
                <a:gd name="T108" fmla="*/ 817 w 1011"/>
                <a:gd name="T109" fmla="*/ 17 h 1484"/>
                <a:gd name="T110" fmla="*/ 805 w 1011"/>
                <a:gd name="T111" fmla="*/ 35 h 1484"/>
                <a:gd name="T112" fmla="*/ 810 w 1011"/>
                <a:gd name="T113" fmla="*/ 52 h 1484"/>
                <a:gd name="T114" fmla="*/ 844 w 1011"/>
                <a:gd name="T115" fmla="*/ 82 h 1484"/>
                <a:gd name="T116" fmla="*/ 811 w 1011"/>
                <a:gd name="T117" fmla="*/ 122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1" h="1484">
                  <a:moveTo>
                    <a:pt x="830" y="137"/>
                  </a:moveTo>
                  <a:lnTo>
                    <a:pt x="832" y="136"/>
                  </a:lnTo>
                  <a:lnTo>
                    <a:pt x="833" y="135"/>
                  </a:lnTo>
                  <a:lnTo>
                    <a:pt x="835" y="134"/>
                  </a:lnTo>
                  <a:lnTo>
                    <a:pt x="837" y="133"/>
                  </a:lnTo>
                  <a:lnTo>
                    <a:pt x="841" y="133"/>
                  </a:lnTo>
                  <a:lnTo>
                    <a:pt x="843" y="134"/>
                  </a:lnTo>
                  <a:lnTo>
                    <a:pt x="844" y="136"/>
                  </a:lnTo>
                  <a:lnTo>
                    <a:pt x="845" y="148"/>
                  </a:lnTo>
                  <a:lnTo>
                    <a:pt x="846" y="151"/>
                  </a:lnTo>
                  <a:lnTo>
                    <a:pt x="847" y="152"/>
                  </a:lnTo>
                  <a:lnTo>
                    <a:pt x="849" y="153"/>
                  </a:lnTo>
                  <a:lnTo>
                    <a:pt x="851" y="153"/>
                  </a:lnTo>
                  <a:lnTo>
                    <a:pt x="853" y="152"/>
                  </a:lnTo>
                  <a:lnTo>
                    <a:pt x="858" y="148"/>
                  </a:lnTo>
                  <a:lnTo>
                    <a:pt x="862" y="147"/>
                  </a:lnTo>
                  <a:lnTo>
                    <a:pt x="866" y="147"/>
                  </a:lnTo>
                  <a:lnTo>
                    <a:pt x="868" y="150"/>
                  </a:lnTo>
                  <a:lnTo>
                    <a:pt x="872" y="155"/>
                  </a:lnTo>
                  <a:lnTo>
                    <a:pt x="885" y="166"/>
                  </a:lnTo>
                  <a:lnTo>
                    <a:pt x="890" y="170"/>
                  </a:lnTo>
                  <a:lnTo>
                    <a:pt x="895" y="171"/>
                  </a:lnTo>
                  <a:lnTo>
                    <a:pt x="899" y="171"/>
                  </a:lnTo>
                  <a:lnTo>
                    <a:pt x="901" y="172"/>
                  </a:lnTo>
                  <a:lnTo>
                    <a:pt x="902" y="172"/>
                  </a:lnTo>
                  <a:lnTo>
                    <a:pt x="902" y="174"/>
                  </a:lnTo>
                  <a:lnTo>
                    <a:pt x="902" y="175"/>
                  </a:lnTo>
                  <a:lnTo>
                    <a:pt x="885" y="194"/>
                  </a:lnTo>
                  <a:lnTo>
                    <a:pt x="883" y="197"/>
                  </a:lnTo>
                  <a:lnTo>
                    <a:pt x="882" y="199"/>
                  </a:lnTo>
                  <a:lnTo>
                    <a:pt x="882" y="203"/>
                  </a:lnTo>
                  <a:lnTo>
                    <a:pt x="881" y="207"/>
                  </a:lnTo>
                  <a:lnTo>
                    <a:pt x="881" y="209"/>
                  </a:lnTo>
                  <a:lnTo>
                    <a:pt x="880" y="210"/>
                  </a:lnTo>
                  <a:lnTo>
                    <a:pt x="879" y="210"/>
                  </a:lnTo>
                  <a:lnTo>
                    <a:pt x="877" y="211"/>
                  </a:lnTo>
                  <a:lnTo>
                    <a:pt x="875" y="212"/>
                  </a:lnTo>
                  <a:lnTo>
                    <a:pt x="873" y="212"/>
                  </a:lnTo>
                  <a:lnTo>
                    <a:pt x="872" y="214"/>
                  </a:lnTo>
                  <a:lnTo>
                    <a:pt x="871" y="215"/>
                  </a:lnTo>
                  <a:lnTo>
                    <a:pt x="870" y="217"/>
                  </a:lnTo>
                  <a:lnTo>
                    <a:pt x="869" y="220"/>
                  </a:lnTo>
                  <a:lnTo>
                    <a:pt x="869" y="222"/>
                  </a:lnTo>
                  <a:lnTo>
                    <a:pt x="869" y="225"/>
                  </a:lnTo>
                  <a:lnTo>
                    <a:pt x="871" y="230"/>
                  </a:lnTo>
                  <a:lnTo>
                    <a:pt x="871" y="233"/>
                  </a:lnTo>
                  <a:lnTo>
                    <a:pt x="871" y="238"/>
                  </a:lnTo>
                  <a:lnTo>
                    <a:pt x="873" y="242"/>
                  </a:lnTo>
                  <a:lnTo>
                    <a:pt x="884" y="260"/>
                  </a:lnTo>
                  <a:lnTo>
                    <a:pt x="879" y="265"/>
                  </a:lnTo>
                  <a:lnTo>
                    <a:pt x="877" y="270"/>
                  </a:lnTo>
                  <a:lnTo>
                    <a:pt x="876" y="278"/>
                  </a:lnTo>
                  <a:lnTo>
                    <a:pt x="879" y="291"/>
                  </a:lnTo>
                  <a:lnTo>
                    <a:pt x="882" y="299"/>
                  </a:lnTo>
                  <a:lnTo>
                    <a:pt x="888" y="303"/>
                  </a:lnTo>
                  <a:lnTo>
                    <a:pt x="893" y="304"/>
                  </a:lnTo>
                  <a:lnTo>
                    <a:pt x="897" y="306"/>
                  </a:lnTo>
                  <a:lnTo>
                    <a:pt x="902" y="312"/>
                  </a:lnTo>
                  <a:lnTo>
                    <a:pt x="911" y="317"/>
                  </a:lnTo>
                  <a:lnTo>
                    <a:pt x="915" y="321"/>
                  </a:lnTo>
                  <a:lnTo>
                    <a:pt x="933" y="343"/>
                  </a:lnTo>
                  <a:lnTo>
                    <a:pt x="950" y="359"/>
                  </a:lnTo>
                  <a:lnTo>
                    <a:pt x="954" y="361"/>
                  </a:lnTo>
                  <a:lnTo>
                    <a:pt x="978" y="368"/>
                  </a:lnTo>
                  <a:lnTo>
                    <a:pt x="983" y="369"/>
                  </a:lnTo>
                  <a:lnTo>
                    <a:pt x="993" y="368"/>
                  </a:lnTo>
                  <a:lnTo>
                    <a:pt x="998" y="368"/>
                  </a:lnTo>
                  <a:lnTo>
                    <a:pt x="1004" y="370"/>
                  </a:lnTo>
                  <a:lnTo>
                    <a:pt x="1007" y="377"/>
                  </a:lnTo>
                  <a:lnTo>
                    <a:pt x="1006" y="388"/>
                  </a:lnTo>
                  <a:lnTo>
                    <a:pt x="1011" y="507"/>
                  </a:lnTo>
                  <a:lnTo>
                    <a:pt x="1009" y="518"/>
                  </a:lnTo>
                  <a:lnTo>
                    <a:pt x="1004" y="527"/>
                  </a:lnTo>
                  <a:lnTo>
                    <a:pt x="983" y="560"/>
                  </a:lnTo>
                  <a:lnTo>
                    <a:pt x="981" y="575"/>
                  </a:lnTo>
                  <a:lnTo>
                    <a:pt x="980" y="580"/>
                  </a:lnTo>
                  <a:lnTo>
                    <a:pt x="973" y="600"/>
                  </a:lnTo>
                  <a:lnTo>
                    <a:pt x="961" y="615"/>
                  </a:lnTo>
                  <a:lnTo>
                    <a:pt x="952" y="645"/>
                  </a:lnTo>
                  <a:lnTo>
                    <a:pt x="947" y="659"/>
                  </a:lnTo>
                  <a:lnTo>
                    <a:pt x="932" y="690"/>
                  </a:lnTo>
                  <a:lnTo>
                    <a:pt x="924" y="714"/>
                  </a:lnTo>
                  <a:lnTo>
                    <a:pt x="922" y="717"/>
                  </a:lnTo>
                  <a:lnTo>
                    <a:pt x="915" y="721"/>
                  </a:lnTo>
                  <a:lnTo>
                    <a:pt x="908" y="723"/>
                  </a:lnTo>
                  <a:lnTo>
                    <a:pt x="902" y="727"/>
                  </a:lnTo>
                  <a:lnTo>
                    <a:pt x="895" y="734"/>
                  </a:lnTo>
                  <a:lnTo>
                    <a:pt x="890" y="746"/>
                  </a:lnTo>
                  <a:lnTo>
                    <a:pt x="881" y="793"/>
                  </a:lnTo>
                  <a:lnTo>
                    <a:pt x="868" y="820"/>
                  </a:lnTo>
                  <a:lnTo>
                    <a:pt x="824" y="826"/>
                  </a:lnTo>
                  <a:lnTo>
                    <a:pt x="814" y="831"/>
                  </a:lnTo>
                  <a:lnTo>
                    <a:pt x="806" y="835"/>
                  </a:lnTo>
                  <a:lnTo>
                    <a:pt x="799" y="840"/>
                  </a:lnTo>
                  <a:lnTo>
                    <a:pt x="773" y="876"/>
                  </a:lnTo>
                  <a:lnTo>
                    <a:pt x="770" y="884"/>
                  </a:lnTo>
                  <a:lnTo>
                    <a:pt x="768" y="892"/>
                  </a:lnTo>
                  <a:lnTo>
                    <a:pt x="765" y="899"/>
                  </a:lnTo>
                  <a:lnTo>
                    <a:pt x="754" y="905"/>
                  </a:lnTo>
                  <a:lnTo>
                    <a:pt x="751" y="909"/>
                  </a:lnTo>
                  <a:lnTo>
                    <a:pt x="750" y="914"/>
                  </a:lnTo>
                  <a:lnTo>
                    <a:pt x="751" y="920"/>
                  </a:lnTo>
                  <a:lnTo>
                    <a:pt x="750" y="924"/>
                  </a:lnTo>
                  <a:lnTo>
                    <a:pt x="747" y="929"/>
                  </a:lnTo>
                  <a:lnTo>
                    <a:pt x="744" y="936"/>
                  </a:lnTo>
                  <a:lnTo>
                    <a:pt x="740" y="942"/>
                  </a:lnTo>
                  <a:lnTo>
                    <a:pt x="730" y="952"/>
                  </a:lnTo>
                  <a:lnTo>
                    <a:pt x="719" y="970"/>
                  </a:lnTo>
                  <a:lnTo>
                    <a:pt x="712" y="979"/>
                  </a:lnTo>
                  <a:lnTo>
                    <a:pt x="677" y="1007"/>
                  </a:lnTo>
                  <a:lnTo>
                    <a:pt x="667" y="1013"/>
                  </a:lnTo>
                  <a:lnTo>
                    <a:pt x="655" y="1016"/>
                  </a:lnTo>
                  <a:lnTo>
                    <a:pt x="649" y="1014"/>
                  </a:lnTo>
                  <a:lnTo>
                    <a:pt x="645" y="1013"/>
                  </a:lnTo>
                  <a:lnTo>
                    <a:pt x="634" y="1014"/>
                  </a:lnTo>
                  <a:lnTo>
                    <a:pt x="629" y="1013"/>
                  </a:lnTo>
                  <a:lnTo>
                    <a:pt x="628" y="1009"/>
                  </a:lnTo>
                  <a:lnTo>
                    <a:pt x="630" y="1003"/>
                  </a:lnTo>
                  <a:lnTo>
                    <a:pt x="630" y="999"/>
                  </a:lnTo>
                  <a:lnTo>
                    <a:pt x="628" y="996"/>
                  </a:lnTo>
                  <a:lnTo>
                    <a:pt x="624" y="1000"/>
                  </a:lnTo>
                  <a:lnTo>
                    <a:pt x="617" y="1006"/>
                  </a:lnTo>
                  <a:lnTo>
                    <a:pt x="613" y="1016"/>
                  </a:lnTo>
                  <a:lnTo>
                    <a:pt x="609" y="1031"/>
                  </a:lnTo>
                  <a:lnTo>
                    <a:pt x="603" y="1045"/>
                  </a:lnTo>
                  <a:lnTo>
                    <a:pt x="598" y="1066"/>
                  </a:lnTo>
                  <a:lnTo>
                    <a:pt x="584" y="1102"/>
                  </a:lnTo>
                  <a:lnTo>
                    <a:pt x="578" y="1110"/>
                  </a:lnTo>
                  <a:lnTo>
                    <a:pt x="552" y="1131"/>
                  </a:lnTo>
                  <a:lnTo>
                    <a:pt x="537" y="1137"/>
                  </a:lnTo>
                  <a:lnTo>
                    <a:pt x="530" y="1144"/>
                  </a:lnTo>
                  <a:lnTo>
                    <a:pt x="525" y="1154"/>
                  </a:lnTo>
                  <a:lnTo>
                    <a:pt x="524" y="1167"/>
                  </a:lnTo>
                  <a:lnTo>
                    <a:pt x="526" y="1183"/>
                  </a:lnTo>
                  <a:lnTo>
                    <a:pt x="525" y="1186"/>
                  </a:lnTo>
                  <a:lnTo>
                    <a:pt x="522" y="1189"/>
                  </a:lnTo>
                  <a:lnTo>
                    <a:pt x="507" y="1194"/>
                  </a:lnTo>
                  <a:lnTo>
                    <a:pt x="496" y="1200"/>
                  </a:lnTo>
                  <a:lnTo>
                    <a:pt x="492" y="1201"/>
                  </a:lnTo>
                  <a:lnTo>
                    <a:pt x="488" y="1203"/>
                  </a:lnTo>
                  <a:lnTo>
                    <a:pt x="485" y="1209"/>
                  </a:lnTo>
                  <a:lnTo>
                    <a:pt x="482" y="1216"/>
                  </a:lnTo>
                  <a:lnTo>
                    <a:pt x="479" y="1234"/>
                  </a:lnTo>
                  <a:lnTo>
                    <a:pt x="479" y="1242"/>
                  </a:lnTo>
                  <a:lnTo>
                    <a:pt x="480" y="1250"/>
                  </a:lnTo>
                  <a:lnTo>
                    <a:pt x="483" y="1258"/>
                  </a:lnTo>
                  <a:lnTo>
                    <a:pt x="491" y="1268"/>
                  </a:lnTo>
                  <a:lnTo>
                    <a:pt x="491" y="1274"/>
                  </a:lnTo>
                  <a:lnTo>
                    <a:pt x="487" y="1279"/>
                  </a:lnTo>
                  <a:lnTo>
                    <a:pt x="465" y="1294"/>
                  </a:lnTo>
                  <a:lnTo>
                    <a:pt x="423" y="1300"/>
                  </a:lnTo>
                  <a:lnTo>
                    <a:pt x="423" y="1305"/>
                  </a:lnTo>
                  <a:lnTo>
                    <a:pt x="427" y="1311"/>
                  </a:lnTo>
                  <a:lnTo>
                    <a:pt x="434" y="1318"/>
                  </a:lnTo>
                  <a:lnTo>
                    <a:pt x="443" y="1326"/>
                  </a:lnTo>
                  <a:lnTo>
                    <a:pt x="449" y="1329"/>
                  </a:lnTo>
                  <a:lnTo>
                    <a:pt x="456" y="1330"/>
                  </a:lnTo>
                  <a:lnTo>
                    <a:pt x="460" y="1332"/>
                  </a:lnTo>
                  <a:lnTo>
                    <a:pt x="461" y="1335"/>
                  </a:lnTo>
                  <a:lnTo>
                    <a:pt x="461" y="1338"/>
                  </a:lnTo>
                  <a:lnTo>
                    <a:pt x="460" y="1343"/>
                  </a:lnTo>
                  <a:lnTo>
                    <a:pt x="461" y="1350"/>
                  </a:lnTo>
                  <a:lnTo>
                    <a:pt x="468" y="1369"/>
                  </a:lnTo>
                  <a:lnTo>
                    <a:pt x="465" y="1376"/>
                  </a:lnTo>
                  <a:lnTo>
                    <a:pt x="456" y="1379"/>
                  </a:lnTo>
                  <a:lnTo>
                    <a:pt x="430" y="1377"/>
                  </a:lnTo>
                  <a:lnTo>
                    <a:pt x="420" y="1382"/>
                  </a:lnTo>
                  <a:lnTo>
                    <a:pt x="417" y="1387"/>
                  </a:lnTo>
                  <a:lnTo>
                    <a:pt x="413" y="1388"/>
                  </a:lnTo>
                  <a:lnTo>
                    <a:pt x="408" y="1384"/>
                  </a:lnTo>
                  <a:lnTo>
                    <a:pt x="403" y="1380"/>
                  </a:lnTo>
                  <a:lnTo>
                    <a:pt x="399" y="1378"/>
                  </a:lnTo>
                  <a:lnTo>
                    <a:pt x="393" y="1380"/>
                  </a:lnTo>
                  <a:lnTo>
                    <a:pt x="388" y="1385"/>
                  </a:lnTo>
                  <a:lnTo>
                    <a:pt x="381" y="1396"/>
                  </a:lnTo>
                  <a:lnTo>
                    <a:pt x="377" y="1401"/>
                  </a:lnTo>
                  <a:lnTo>
                    <a:pt x="367" y="1404"/>
                  </a:lnTo>
                  <a:lnTo>
                    <a:pt x="361" y="1407"/>
                  </a:lnTo>
                  <a:lnTo>
                    <a:pt x="353" y="1414"/>
                  </a:lnTo>
                  <a:lnTo>
                    <a:pt x="348" y="1420"/>
                  </a:lnTo>
                  <a:lnTo>
                    <a:pt x="344" y="1428"/>
                  </a:lnTo>
                  <a:lnTo>
                    <a:pt x="339" y="1435"/>
                  </a:lnTo>
                  <a:lnTo>
                    <a:pt x="334" y="1442"/>
                  </a:lnTo>
                  <a:lnTo>
                    <a:pt x="328" y="1449"/>
                  </a:lnTo>
                  <a:lnTo>
                    <a:pt x="327" y="1456"/>
                  </a:lnTo>
                  <a:lnTo>
                    <a:pt x="327" y="1462"/>
                  </a:lnTo>
                  <a:lnTo>
                    <a:pt x="326" y="1467"/>
                  </a:lnTo>
                  <a:lnTo>
                    <a:pt x="325" y="1471"/>
                  </a:lnTo>
                  <a:lnTo>
                    <a:pt x="324" y="1476"/>
                  </a:lnTo>
                  <a:lnTo>
                    <a:pt x="321" y="1480"/>
                  </a:lnTo>
                  <a:lnTo>
                    <a:pt x="315" y="1482"/>
                  </a:lnTo>
                  <a:lnTo>
                    <a:pt x="296" y="1484"/>
                  </a:lnTo>
                  <a:lnTo>
                    <a:pt x="267" y="1483"/>
                  </a:lnTo>
                  <a:lnTo>
                    <a:pt x="253" y="1480"/>
                  </a:lnTo>
                  <a:lnTo>
                    <a:pt x="244" y="1474"/>
                  </a:lnTo>
                  <a:lnTo>
                    <a:pt x="237" y="1467"/>
                  </a:lnTo>
                  <a:lnTo>
                    <a:pt x="236" y="1461"/>
                  </a:lnTo>
                  <a:lnTo>
                    <a:pt x="236" y="1455"/>
                  </a:lnTo>
                  <a:lnTo>
                    <a:pt x="238" y="1448"/>
                  </a:lnTo>
                  <a:lnTo>
                    <a:pt x="240" y="1443"/>
                  </a:lnTo>
                  <a:lnTo>
                    <a:pt x="248" y="1431"/>
                  </a:lnTo>
                  <a:lnTo>
                    <a:pt x="249" y="1427"/>
                  </a:lnTo>
                  <a:lnTo>
                    <a:pt x="252" y="1407"/>
                  </a:lnTo>
                  <a:lnTo>
                    <a:pt x="251" y="1401"/>
                  </a:lnTo>
                  <a:lnTo>
                    <a:pt x="248" y="1396"/>
                  </a:lnTo>
                  <a:lnTo>
                    <a:pt x="239" y="1388"/>
                  </a:lnTo>
                  <a:lnTo>
                    <a:pt x="238" y="1383"/>
                  </a:lnTo>
                  <a:lnTo>
                    <a:pt x="238" y="1379"/>
                  </a:lnTo>
                  <a:lnTo>
                    <a:pt x="239" y="1372"/>
                  </a:lnTo>
                  <a:lnTo>
                    <a:pt x="236" y="1367"/>
                  </a:lnTo>
                  <a:lnTo>
                    <a:pt x="226" y="1362"/>
                  </a:lnTo>
                  <a:lnTo>
                    <a:pt x="207" y="1359"/>
                  </a:lnTo>
                  <a:lnTo>
                    <a:pt x="195" y="1359"/>
                  </a:lnTo>
                  <a:lnTo>
                    <a:pt x="171" y="1367"/>
                  </a:lnTo>
                  <a:lnTo>
                    <a:pt x="158" y="1370"/>
                  </a:lnTo>
                  <a:lnTo>
                    <a:pt x="110" y="1367"/>
                  </a:lnTo>
                  <a:lnTo>
                    <a:pt x="101" y="1370"/>
                  </a:lnTo>
                  <a:lnTo>
                    <a:pt x="96" y="1371"/>
                  </a:lnTo>
                  <a:lnTo>
                    <a:pt x="83" y="1369"/>
                  </a:lnTo>
                  <a:lnTo>
                    <a:pt x="66" y="1374"/>
                  </a:lnTo>
                  <a:lnTo>
                    <a:pt x="66" y="1374"/>
                  </a:lnTo>
                  <a:lnTo>
                    <a:pt x="54" y="1344"/>
                  </a:lnTo>
                  <a:lnTo>
                    <a:pt x="44" y="1332"/>
                  </a:lnTo>
                  <a:lnTo>
                    <a:pt x="41" y="1324"/>
                  </a:lnTo>
                  <a:lnTo>
                    <a:pt x="40" y="1314"/>
                  </a:lnTo>
                  <a:lnTo>
                    <a:pt x="43" y="1306"/>
                  </a:lnTo>
                  <a:lnTo>
                    <a:pt x="67" y="1290"/>
                  </a:lnTo>
                  <a:lnTo>
                    <a:pt x="64" y="1274"/>
                  </a:lnTo>
                  <a:lnTo>
                    <a:pt x="64" y="1254"/>
                  </a:lnTo>
                  <a:lnTo>
                    <a:pt x="70" y="1249"/>
                  </a:lnTo>
                  <a:lnTo>
                    <a:pt x="78" y="1242"/>
                  </a:lnTo>
                  <a:lnTo>
                    <a:pt x="87" y="1240"/>
                  </a:lnTo>
                  <a:lnTo>
                    <a:pt x="97" y="1240"/>
                  </a:lnTo>
                  <a:lnTo>
                    <a:pt x="100" y="1232"/>
                  </a:lnTo>
                  <a:lnTo>
                    <a:pt x="100" y="1222"/>
                  </a:lnTo>
                  <a:lnTo>
                    <a:pt x="101" y="1209"/>
                  </a:lnTo>
                  <a:lnTo>
                    <a:pt x="105" y="1197"/>
                  </a:lnTo>
                  <a:lnTo>
                    <a:pt x="102" y="1182"/>
                  </a:lnTo>
                  <a:lnTo>
                    <a:pt x="104" y="1172"/>
                  </a:lnTo>
                  <a:lnTo>
                    <a:pt x="116" y="1167"/>
                  </a:lnTo>
                  <a:lnTo>
                    <a:pt x="115" y="1150"/>
                  </a:lnTo>
                  <a:lnTo>
                    <a:pt x="95" y="1122"/>
                  </a:lnTo>
                  <a:lnTo>
                    <a:pt x="55" y="1074"/>
                  </a:lnTo>
                  <a:lnTo>
                    <a:pt x="23" y="1018"/>
                  </a:lnTo>
                  <a:lnTo>
                    <a:pt x="9" y="983"/>
                  </a:lnTo>
                  <a:lnTo>
                    <a:pt x="0" y="964"/>
                  </a:lnTo>
                  <a:lnTo>
                    <a:pt x="4" y="950"/>
                  </a:lnTo>
                  <a:lnTo>
                    <a:pt x="13" y="942"/>
                  </a:lnTo>
                  <a:lnTo>
                    <a:pt x="22" y="934"/>
                  </a:lnTo>
                  <a:lnTo>
                    <a:pt x="30" y="925"/>
                  </a:lnTo>
                  <a:lnTo>
                    <a:pt x="36" y="918"/>
                  </a:lnTo>
                  <a:lnTo>
                    <a:pt x="41" y="912"/>
                  </a:lnTo>
                  <a:lnTo>
                    <a:pt x="50" y="902"/>
                  </a:lnTo>
                  <a:lnTo>
                    <a:pt x="57" y="892"/>
                  </a:lnTo>
                  <a:lnTo>
                    <a:pt x="59" y="887"/>
                  </a:lnTo>
                  <a:lnTo>
                    <a:pt x="67" y="884"/>
                  </a:lnTo>
                  <a:lnTo>
                    <a:pt x="76" y="887"/>
                  </a:lnTo>
                  <a:lnTo>
                    <a:pt x="85" y="887"/>
                  </a:lnTo>
                  <a:lnTo>
                    <a:pt x="95" y="882"/>
                  </a:lnTo>
                  <a:lnTo>
                    <a:pt x="104" y="877"/>
                  </a:lnTo>
                  <a:lnTo>
                    <a:pt x="114" y="879"/>
                  </a:lnTo>
                  <a:lnTo>
                    <a:pt x="121" y="877"/>
                  </a:lnTo>
                  <a:lnTo>
                    <a:pt x="130" y="874"/>
                  </a:lnTo>
                  <a:lnTo>
                    <a:pt x="129" y="879"/>
                  </a:lnTo>
                  <a:lnTo>
                    <a:pt x="141" y="886"/>
                  </a:lnTo>
                  <a:lnTo>
                    <a:pt x="150" y="886"/>
                  </a:lnTo>
                  <a:lnTo>
                    <a:pt x="159" y="879"/>
                  </a:lnTo>
                  <a:lnTo>
                    <a:pt x="163" y="877"/>
                  </a:lnTo>
                  <a:lnTo>
                    <a:pt x="169" y="871"/>
                  </a:lnTo>
                  <a:lnTo>
                    <a:pt x="176" y="869"/>
                  </a:lnTo>
                  <a:lnTo>
                    <a:pt x="183" y="878"/>
                  </a:lnTo>
                  <a:lnTo>
                    <a:pt x="188" y="879"/>
                  </a:lnTo>
                  <a:lnTo>
                    <a:pt x="200" y="881"/>
                  </a:lnTo>
                  <a:lnTo>
                    <a:pt x="218" y="874"/>
                  </a:lnTo>
                  <a:lnTo>
                    <a:pt x="232" y="861"/>
                  </a:lnTo>
                  <a:lnTo>
                    <a:pt x="247" y="846"/>
                  </a:lnTo>
                  <a:lnTo>
                    <a:pt x="257" y="804"/>
                  </a:lnTo>
                  <a:lnTo>
                    <a:pt x="259" y="791"/>
                  </a:lnTo>
                  <a:lnTo>
                    <a:pt x="267" y="747"/>
                  </a:lnTo>
                  <a:lnTo>
                    <a:pt x="280" y="714"/>
                  </a:lnTo>
                  <a:lnTo>
                    <a:pt x="296" y="683"/>
                  </a:lnTo>
                  <a:lnTo>
                    <a:pt x="303" y="664"/>
                  </a:lnTo>
                  <a:lnTo>
                    <a:pt x="306" y="661"/>
                  </a:lnTo>
                  <a:lnTo>
                    <a:pt x="313" y="656"/>
                  </a:lnTo>
                  <a:lnTo>
                    <a:pt x="322" y="655"/>
                  </a:lnTo>
                  <a:lnTo>
                    <a:pt x="330" y="652"/>
                  </a:lnTo>
                  <a:lnTo>
                    <a:pt x="332" y="669"/>
                  </a:lnTo>
                  <a:lnTo>
                    <a:pt x="341" y="683"/>
                  </a:lnTo>
                  <a:lnTo>
                    <a:pt x="360" y="691"/>
                  </a:lnTo>
                  <a:lnTo>
                    <a:pt x="377" y="693"/>
                  </a:lnTo>
                  <a:lnTo>
                    <a:pt x="413" y="694"/>
                  </a:lnTo>
                  <a:lnTo>
                    <a:pt x="413" y="685"/>
                  </a:lnTo>
                  <a:lnTo>
                    <a:pt x="394" y="681"/>
                  </a:lnTo>
                  <a:lnTo>
                    <a:pt x="374" y="677"/>
                  </a:lnTo>
                  <a:lnTo>
                    <a:pt x="361" y="677"/>
                  </a:lnTo>
                  <a:lnTo>
                    <a:pt x="351" y="669"/>
                  </a:lnTo>
                  <a:lnTo>
                    <a:pt x="343" y="651"/>
                  </a:lnTo>
                  <a:lnTo>
                    <a:pt x="335" y="635"/>
                  </a:lnTo>
                  <a:lnTo>
                    <a:pt x="326" y="631"/>
                  </a:lnTo>
                  <a:lnTo>
                    <a:pt x="321" y="624"/>
                  </a:lnTo>
                  <a:lnTo>
                    <a:pt x="319" y="607"/>
                  </a:lnTo>
                  <a:lnTo>
                    <a:pt x="313" y="589"/>
                  </a:lnTo>
                  <a:lnTo>
                    <a:pt x="311" y="570"/>
                  </a:lnTo>
                  <a:lnTo>
                    <a:pt x="301" y="549"/>
                  </a:lnTo>
                  <a:lnTo>
                    <a:pt x="289" y="534"/>
                  </a:lnTo>
                  <a:lnTo>
                    <a:pt x="280" y="506"/>
                  </a:lnTo>
                  <a:lnTo>
                    <a:pt x="288" y="496"/>
                  </a:lnTo>
                  <a:lnTo>
                    <a:pt x="302" y="495"/>
                  </a:lnTo>
                  <a:lnTo>
                    <a:pt x="324" y="477"/>
                  </a:lnTo>
                  <a:lnTo>
                    <a:pt x="344" y="446"/>
                  </a:lnTo>
                  <a:lnTo>
                    <a:pt x="351" y="434"/>
                  </a:lnTo>
                  <a:lnTo>
                    <a:pt x="353" y="425"/>
                  </a:lnTo>
                  <a:lnTo>
                    <a:pt x="358" y="410"/>
                  </a:lnTo>
                  <a:lnTo>
                    <a:pt x="365" y="399"/>
                  </a:lnTo>
                  <a:lnTo>
                    <a:pt x="379" y="395"/>
                  </a:lnTo>
                  <a:lnTo>
                    <a:pt x="388" y="381"/>
                  </a:lnTo>
                  <a:lnTo>
                    <a:pt x="396" y="367"/>
                  </a:lnTo>
                  <a:lnTo>
                    <a:pt x="408" y="378"/>
                  </a:lnTo>
                  <a:lnTo>
                    <a:pt x="423" y="370"/>
                  </a:lnTo>
                  <a:lnTo>
                    <a:pt x="440" y="358"/>
                  </a:lnTo>
                  <a:lnTo>
                    <a:pt x="458" y="344"/>
                  </a:lnTo>
                  <a:lnTo>
                    <a:pt x="498" y="301"/>
                  </a:lnTo>
                  <a:lnTo>
                    <a:pt x="530" y="260"/>
                  </a:lnTo>
                  <a:lnTo>
                    <a:pt x="541" y="246"/>
                  </a:lnTo>
                  <a:lnTo>
                    <a:pt x="546" y="233"/>
                  </a:lnTo>
                  <a:lnTo>
                    <a:pt x="547" y="224"/>
                  </a:lnTo>
                  <a:lnTo>
                    <a:pt x="550" y="222"/>
                  </a:lnTo>
                  <a:lnTo>
                    <a:pt x="555" y="220"/>
                  </a:lnTo>
                  <a:lnTo>
                    <a:pt x="569" y="215"/>
                  </a:lnTo>
                  <a:lnTo>
                    <a:pt x="578" y="190"/>
                  </a:lnTo>
                  <a:lnTo>
                    <a:pt x="585" y="168"/>
                  </a:lnTo>
                  <a:lnTo>
                    <a:pt x="588" y="133"/>
                  </a:lnTo>
                  <a:lnTo>
                    <a:pt x="587" y="117"/>
                  </a:lnTo>
                  <a:lnTo>
                    <a:pt x="583" y="88"/>
                  </a:lnTo>
                  <a:lnTo>
                    <a:pt x="581" y="38"/>
                  </a:lnTo>
                  <a:lnTo>
                    <a:pt x="587" y="19"/>
                  </a:lnTo>
                  <a:lnTo>
                    <a:pt x="587" y="14"/>
                  </a:lnTo>
                  <a:lnTo>
                    <a:pt x="589" y="12"/>
                  </a:lnTo>
                  <a:lnTo>
                    <a:pt x="596" y="15"/>
                  </a:lnTo>
                  <a:lnTo>
                    <a:pt x="599" y="18"/>
                  </a:lnTo>
                  <a:lnTo>
                    <a:pt x="601" y="23"/>
                  </a:lnTo>
                  <a:lnTo>
                    <a:pt x="604" y="33"/>
                  </a:lnTo>
                  <a:lnTo>
                    <a:pt x="610" y="33"/>
                  </a:lnTo>
                  <a:lnTo>
                    <a:pt x="611" y="25"/>
                  </a:lnTo>
                  <a:lnTo>
                    <a:pt x="613" y="19"/>
                  </a:lnTo>
                  <a:lnTo>
                    <a:pt x="613" y="19"/>
                  </a:lnTo>
                  <a:lnTo>
                    <a:pt x="630" y="60"/>
                  </a:lnTo>
                  <a:lnTo>
                    <a:pt x="639" y="72"/>
                  </a:lnTo>
                  <a:lnTo>
                    <a:pt x="643" y="74"/>
                  </a:lnTo>
                  <a:lnTo>
                    <a:pt x="649" y="75"/>
                  </a:lnTo>
                  <a:lnTo>
                    <a:pt x="653" y="77"/>
                  </a:lnTo>
                  <a:lnTo>
                    <a:pt x="658" y="77"/>
                  </a:lnTo>
                  <a:lnTo>
                    <a:pt x="661" y="77"/>
                  </a:lnTo>
                  <a:lnTo>
                    <a:pt x="663" y="75"/>
                  </a:lnTo>
                  <a:lnTo>
                    <a:pt x="667" y="71"/>
                  </a:lnTo>
                  <a:lnTo>
                    <a:pt x="669" y="69"/>
                  </a:lnTo>
                  <a:lnTo>
                    <a:pt x="673" y="67"/>
                  </a:lnTo>
                  <a:lnTo>
                    <a:pt x="675" y="65"/>
                  </a:lnTo>
                  <a:lnTo>
                    <a:pt x="677" y="61"/>
                  </a:lnTo>
                  <a:lnTo>
                    <a:pt x="679" y="56"/>
                  </a:lnTo>
                  <a:lnTo>
                    <a:pt x="682" y="48"/>
                  </a:lnTo>
                  <a:lnTo>
                    <a:pt x="685" y="41"/>
                  </a:lnTo>
                  <a:lnTo>
                    <a:pt x="685" y="40"/>
                  </a:lnTo>
                  <a:lnTo>
                    <a:pt x="686" y="38"/>
                  </a:lnTo>
                  <a:lnTo>
                    <a:pt x="687" y="38"/>
                  </a:lnTo>
                  <a:lnTo>
                    <a:pt x="689" y="36"/>
                  </a:lnTo>
                  <a:lnTo>
                    <a:pt x="691" y="36"/>
                  </a:lnTo>
                  <a:lnTo>
                    <a:pt x="714" y="38"/>
                  </a:lnTo>
                  <a:lnTo>
                    <a:pt x="725" y="36"/>
                  </a:lnTo>
                  <a:lnTo>
                    <a:pt x="738" y="34"/>
                  </a:lnTo>
                  <a:lnTo>
                    <a:pt x="746" y="31"/>
                  </a:lnTo>
                  <a:lnTo>
                    <a:pt x="750" y="29"/>
                  </a:lnTo>
                  <a:lnTo>
                    <a:pt x="757" y="23"/>
                  </a:lnTo>
                  <a:lnTo>
                    <a:pt x="771" y="8"/>
                  </a:lnTo>
                  <a:lnTo>
                    <a:pt x="775" y="6"/>
                  </a:lnTo>
                  <a:lnTo>
                    <a:pt x="779" y="3"/>
                  </a:lnTo>
                  <a:lnTo>
                    <a:pt x="786" y="0"/>
                  </a:lnTo>
                  <a:lnTo>
                    <a:pt x="792" y="0"/>
                  </a:lnTo>
                  <a:lnTo>
                    <a:pt x="796" y="0"/>
                  </a:lnTo>
                  <a:lnTo>
                    <a:pt x="799" y="1"/>
                  </a:lnTo>
                  <a:lnTo>
                    <a:pt x="803" y="2"/>
                  </a:lnTo>
                  <a:lnTo>
                    <a:pt x="809" y="7"/>
                  </a:lnTo>
                  <a:lnTo>
                    <a:pt x="815" y="13"/>
                  </a:lnTo>
                  <a:lnTo>
                    <a:pt x="816" y="15"/>
                  </a:lnTo>
                  <a:lnTo>
                    <a:pt x="817" y="17"/>
                  </a:lnTo>
                  <a:lnTo>
                    <a:pt x="817" y="18"/>
                  </a:lnTo>
                  <a:lnTo>
                    <a:pt x="817" y="19"/>
                  </a:lnTo>
                  <a:lnTo>
                    <a:pt x="817" y="20"/>
                  </a:lnTo>
                  <a:lnTo>
                    <a:pt x="816" y="21"/>
                  </a:lnTo>
                  <a:lnTo>
                    <a:pt x="809" y="29"/>
                  </a:lnTo>
                  <a:lnTo>
                    <a:pt x="807" y="33"/>
                  </a:lnTo>
                  <a:lnTo>
                    <a:pt x="805" y="35"/>
                  </a:lnTo>
                  <a:lnTo>
                    <a:pt x="805" y="38"/>
                  </a:lnTo>
                  <a:lnTo>
                    <a:pt x="804" y="40"/>
                  </a:lnTo>
                  <a:lnTo>
                    <a:pt x="804" y="42"/>
                  </a:lnTo>
                  <a:lnTo>
                    <a:pt x="805" y="45"/>
                  </a:lnTo>
                  <a:lnTo>
                    <a:pt x="806" y="47"/>
                  </a:lnTo>
                  <a:lnTo>
                    <a:pt x="808" y="49"/>
                  </a:lnTo>
                  <a:lnTo>
                    <a:pt x="810" y="52"/>
                  </a:lnTo>
                  <a:lnTo>
                    <a:pt x="842" y="71"/>
                  </a:lnTo>
                  <a:lnTo>
                    <a:pt x="844" y="73"/>
                  </a:lnTo>
                  <a:lnTo>
                    <a:pt x="846" y="75"/>
                  </a:lnTo>
                  <a:lnTo>
                    <a:pt x="846" y="77"/>
                  </a:lnTo>
                  <a:lnTo>
                    <a:pt x="846" y="79"/>
                  </a:lnTo>
                  <a:lnTo>
                    <a:pt x="845" y="80"/>
                  </a:lnTo>
                  <a:lnTo>
                    <a:pt x="844" y="82"/>
                  </a:lnTo>
                  <a:lnTo>
                    <a:pt x="840" y="86"/>
                  </a:lnTo>
                  <a:lnTo>
                    <a:pt x="835" y="90"/>
                  </a:lnTo>
                  <a:lnTo>
                    <a:pt x="832" y="93"/>
                  </a:lnTo>
                  <a:lnTo>
                    <a:pt x="828" y="98"/>
                  </a:lnTo>
                  <a:lnTo>
                    <a:pt x="825" y="103"/>
                  </a:lnTo>
                  <a:lnTo>
                    <a:pt x="812" y="121"/>
                  </a:lnTo>
                  <a:lnTo>
                    <a:pt x="811" y="122"/>
                  </a:lnTo>
                  <a:lnTo>
                    <a:pt x="812" y="125"/>
                  </a:lnTo>
                  <a:lnTo>
                    <a:pt x="815" y="127"/>
                  </a:lnTo>
                  <a:lnTo>
                    <a:pt x="822" y="134"/>
                  </a:lnTo>
                  <a:lnTo>
                    <a:pt x="827" y="136"/>
                  </a:lnTo>
                  <a:lnTo>
                    <a:pt x="830" y="137"/>
                  </a:lnTo>
                  <a:close/>
                </a:path>
              </a:pathLst>
            </a:custGeom>
            <a:solidFill>
              <a:srgbClr val="004B8E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04B43B8C-7909-1198-20D2-6BEA5437D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048" y="2197857"/>
              <a:ext cx="770751" cy="1585628"/>
            </a:xfrm>
            <a:custGeom>
              <a:avLst/>
              <a:gdLst>
                <a:gd name="T0" fmla="*/ 354 w 524"/>
                <a:gd name="T1" fmla="*/ 7 h 1078"/>
                <a:gd name="T2" fmla="*/ 345 w 524"/>
                <a:gd name="T3" fmla="*/ 31 h 1078"/>
                <a:gd name="T4" fmla="*/ 343 w 524"/>
                <a:gd name="T5" fmla="*/ 68 h 1078"/>
                <a:gd name="T6" fmla="*/ 348 w 524"/>
                <a:gd name="T7" fmla="*/ 92 h 1078"/>
                <a:gd name="T8" fmla="*/ 380 w 524"/>
                <a:gd name="T9" fmla="*/ 101 h 1078"/>
                <a:gd name="T10" fmla="*/ 411 w 524"/>
                <a:gd name="T11" fmla="*/ 77 h 1078"/>
                <a:gd name="T12" fmla="*/ 495 w 524"/>
                <a:gd name="T13" fmla="*/ 8 h 1078"/>
                <a:gd name="T14" fmla="*/ 518 w 524"/>
                <a:gd name="T15" fmla="*/ 35 h 1078"/>
                <a:gd name="T16" fmla="*/ 452 w 524"/>
                <a:gd name="T17" fmla="*/ 170 h 1078"/>
                <a:gd name="T18" fmla="*/ 417 w 524"/>
                <a:gd name="T19" fmla="*/ 218 h 1078"/>
                <a:gd name="T20" fmla="*/ 388 w 524"/>
                <a:gd name="T21" fmla="*/ 247 h 1078"/>
                <a:gd name="T22" fmla="*/ 379 w 524"/>
                <a:gd name="T23" fmla="*/ 307 h 1078"/>
                <a:gd name="T24" fmla="*/ 372 w 524"/>
                <a:gd name="T25" fmla="*/ 397 h 1078"/>
                <a:gd name="T26" fmla="*/ 351 w 524"/>
                <a:gd name="T27" fmla="*/ 472 h 1078"/>
                <a:gd name="T28" fmla="*/ 325 w 524"/>
                <a:gd name="T29" fmla="*/ 522 h 1078"/>
                <a:gd name="T30" fmla="*/ 349 w 524"/>
                <a:gd name="T31" fmla="*/ 504 h 1078"/>
                <a:gd name="T32" fmla="*/ 368 w 524"/>
                <a:gd name="T33" fmla="*/ 515 h 1078"/>
                <a:gd name="T34" fmla="*/ 382 w 524"/>
                <a:gd name="T35" fmla="*/ 539 h 1078"/>
                <a:gd name="T36" fmla="*/ 369 w 524"/>
                <a:gd name="T37" fmla="*/ 546 h 1078"/>
                <a:gd name="T38" fmla="*/ 376 w 524"/>
                <a:gd name="T39" fmla="*/ 630 h 1078"/>
                <a:gd name="T40" fmla="*/ 416 w 524"/>
                <a:gd name="T41" fmla="*/ 667 h 1078"/>
                <a:gd name="T42" fmla="*/ 404 w 524"/>
                <a:gd name="T43" fmla="*/ 698 h 1078"/>
                <a:gd name="T44" fmla="*/ 391 w 524"/>
                <a:gd name="T45" fmla="*/ 696 h 1078"/>
                <a:gd name="T46" fmla="*/ 358 w 524"/>
                <a:gd name="T47" fmla="*/ 726 h 1078"/>
                <a:gd name="T48" fmla="*/ 358 w 524"/>
                <a:gd name="T49" fmla="*/ 737 h 1078"/>
                <a:gd name="T50" fmla="*/ 374 w 524"/>
                <a:gd name="T51" fmla="*/ 746 h 1078"/>
                <a:gd name="T52" fmla="*/ 395 w 524"/>
                <a:gd name="T53" fmla="*/ 768 h 1078"/>
                <a:gd name="T54" fmla="*/ 414 w 524"/>
                <a:gd name="T55" fmla="*/ 824 h 1078"/>
                <a:gd name="T56" fmla="*/ 429 w 524"/>
                <a:gd name="T57" fmla="*/ 856 h 1078"/>
                <a:gd name="T58" fmla="*/ 407 w 524"/>
                <a:gd name="T59" fmla="*/ 926 h 1078"/>
                <a:gd name="T60" fmla="*/ 418 w 524"/>
                <a:gd name="T61" fmla="*/ 972 h 1078"/>
                <a:gd name="T62" fmla="*/ 441 w 524"/>
                <a:gd name="T63" fmla="*/ 1035 h 1078"/>
                <a:gd name="T64" fmla="*/ 341 w 524"/>
                <a:gd name="T65" fmla="*/ 963 h 1078"/>
                <a:gd name="T66" fmla="*/ 290 w 524"/>
                <a:gd name="T67" fmla="*/ 926 h 1078"/>
                <a:gd name="T68" fmla="*/ 220 w 524"/>
                <a:gd name="T69" fmla="*/ 899 h 1078"/>
                <a:gd name="T70" fmla="*/ 143 w 524"/>
                <a:gd name="T71" fmla="*/ 907 h 1078"/>
                <a:gd name="T72" fmla="*/ 110 w 524"/>
                <a:gd name="T73" fmla="*/ 833 h 1078"/>
                <a:gd name="T74" fmla="*/ 75 w 524"/>
                <a:gd name="T75" fmla="*/ 772 h 1078"/>
                <a:gd name="T76" fmla="*/ 5 w 524"/>
                <a:gd name="T77" fmla="*/ 723 h 1078"/>
                <a:gd name="T78" fmla="*/ 10 w 524"/>
                <a:gd name="T79" fmla="*/ 689 h 1078"/>
                <a:gd name="T80" fmla="*/ 5 w 524"/>
                <a:gd name="T81" fmla="*/ 602 h 1078"/>
                <a:gd name="T82" fmla="*/ 39 w 524"/>
                <a:gd name="T83" fmla="*/ 541 h 1078"/>
                <a:gd name="T84" fmla="*/ 85 w 524"/>
                <a:gd name="T85" fmla="*/ 450 h 1078"/>
                <a:gd name="T86" fmla="*/ 91 w 524"/>
                <a:gd name="T87" fmla="*/ 427 h 1078"/>
                <a:gd name="T88" fmla="*/ 107 w 524"/>
                <a:gd name="T89" fmla="*/ 419 h 1078"/>
                <a:gd name="T90" fmla="*/ 115 w 524"/>
                <a:gd name="T91" fmla="*/ 406 h 1078"/>
                <a:gd name="T92" fmla="*/ 128 w 524"/>
                <a:gd name="T93" fmla="*/ 394 h 1078"/>
                <a:gd name="T94" fmla="*/ 146 w 524"/>
                <a:gd name="T95" fmla="*/ 378 h 1078"/>
                <a:gd name="T96" fmla="*/ 167 w 524"/>
                <a:gd name="T97" fmla="*/ 353 h 1078"/>
                <a:gd name="T98" fmla="*/ 189 w 524"/>
                <a:gd name="T99" fmla="*/ 344 h 1078"/>
                <a:gd name="T100" fmla="*/ 203 w 524"/>
                <a:gd name="T101" fmla="*/ 303 h 1078"/>
                <a:gd name="T102" fmla="*/ 222 w 524"/>
                <a:gd name="T103" fmla="*/ 284 h 1078"/>
                <a:gd name="T104" fmla="*/ 223 w 524"/>
                <a:gd name="T105" fmla="*/ 262 h 1078"/>
                <a:gd name="T106" fmla="*/ 224 w 524"/>
                <a:gd name="T107" fmla="*/ 196 h 1078"/>
                <a:gd name="T108" fmla="*/ 181 w 524"/>
                <a:gd name="T109" fmla="*/ 178 h 1078"/>
                <a:gd name="T110" fmla="*/ 208 w 524"/>
                <a:gd name="T111" fmla="*/ 108 h 1078"/>
                <a:gd name="T112" fmla="*/ 232 w 524"/>
                <a:gd name="T113" fmla="*/ 75 h 1078"/>
                <a:gd name="T114" fmla="*/ 281 w 524"/>
                <a:gd name="T11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4" h="1078">
                  <a:moveTo>
                    <a:pt x="296" y="2"/>
                  </a:moveTo>
                  <a:lnTo>
                    <a:pt x="332" y="1"/>
                  </a:lnTo>
                  <a:lnTo>
                    <a:pt x="348" y="3"/>
                  </a:lnTo>
                  <a:lnTo>
                    <a:pt x="354" y="7"/>
                  </a:lnTo>
                  <a:lnTo>
                    <a:pt x="351" y="11"/>
                  </a:lnTo>
                  <a:lnTo>
                    <a:pt x="346" y="15"/>
                  </a:lnTo>
                  <a:lnTo>
                    <a:pt x="343" y="22"/>
                  </a:lnTo>
                  <a:lnTo>
                    <a:pt x="345" y="31"/>
                  </a:lnTo>
                  <a:lnTo>
                    <a:pt x="349" y="42"/>
                  </a:lnTo>
                  <a:lnTo>
                    <a:pt x="351" y="52"/>
                  </a:lnTo>
                  <a:lnTo>
                    <a:pt x="348" y="60"/>
                  </a:lnTo>
                  <a:lnTo>
                    <a:pt x="343" y="68"/>
                  </a:lnTo>
                  <a:lnTo>
                    <a:pt x="341" y="75"/>
                  </a:lnTo>
                  <a:lnTo>
                    <a:pt x="343" y="81"/>
                  </a:lnTo>
                  <a:lnTo>
                    <a:pt x="344" y="87"/>
                  </a:lnTo>
                  <a:lnTo>
                    <a:pt x="348" y="92"/>
                  </a:lnTo>
                  <a:lnTo>
                    <a:pt x="354" y="96"/>
                  </a:lnTo>
                  <a:lnTo>
                    <a:pt x="363" y="100"/>
                  </a:lnTo>
                  <a:lnTo>
                    <a:pt x="371" y="102"/>
                  </a:lnTo>
                  <a:lnTo>
                    <a:pt x="380" y="101"/>
                  </a:lnTo>
                  <a:lnTo>
                    <a:pt x="389" y="99"/>
                  </a:lnTo>
                  <a:lnTo>
                    <a:pt x="395" y="94"/>
                  </a:lnTo>
                  <a:lnTo>
                    <a:pt x="403" y="86"/>
                  </a:lnTo>
                  <a:lnTo>
                    <a:pt x="411" y="77"/>
                  </a:lnTo>
                  <a:lnTo>
                    <a:pt x="420" y="70"/>
                  </a:lnTo>
                  <a:lnTo>
                    <a:pt x="437" y="62"/>
                  </a:lnTo>
                  <a:lnTo>
                    <a:pt x="445" y="56"/>
                  </a:lnTo>
                  <a:lnTo>
                    <a:pt x="495" y="8"/>
                  </a:lnTo>
                  <a:lnTo>
                    <a:pt x="506" y="1"/>
                  </a:lnTo>
                  <a:lnTo>
                    <a:pt x="512" y="1"/>
                  </a:lnTo>
                  <a:lnTo>
                    <a:pt x="524" y="5"/>
                  </a:lnTo>
                  <a:lnTo>
                    <a:pt x="518" y="35"/>
                  </a:lnTo>
                  <a:lnTo>
                    <a:pt x="471" y="143"/>
                  </a:lnTo>
                  <a:lnTo>
                    <a:pt x="461" y="161"/>
                  </a:lnTo>
                  <a:lnTo>
                    <a:pt x="457" y="167"/>
                  </a:lnTo>
                  <a:lnTo>
                    <a:pt x="452" y="170"/>
                  </a:lnTo>
                  <a:lnTo>
                    <a:pt x="446" y="173"/>
                  </a:lnTo>
                  <a:lnTo>
                    <a:pt x="440" y="179"/>
                  </a:lnTo>
                  <a:lnTo>
                    <a:pt x="434" y="184"/>
                  </a:lnTo>
                  <a:lnTo>
                    <a:pt x="417" y="218"/>
                  </a:lnTo>
                  <a:lnTo>
                    <a:pt x="409" y="224"/>
                  </a:lnTo>
                  <a:lnTo>
                    <a:pt x="401" y="231"/>
                  </a:lnTo>
                  <a:lnTo>
                    <a:pt x="394" y="237"/>
                  </a:lnTo>
                  <a:lnTo>
                    <a:pt x="388" y="247"/>
                  </a:lnTo>
                  <a:lnTo>
                    <a:pt x="379" y="271"/>
                  </a:lnTo>
                  <a:lnTo>
                    <a:pt x="378" y="283"/>
                  </a:lnTo>
                  <a:lnTo>
                    <a:pt x="377" y="295"/>
                  </a:lnTo>
                  <a:lnTo>
                    <a:pt x="379" y="307"/>
                  </a:lnTo>
                  <a:lnTo>
                    <a:pt x="368" y="353"/>
                  </a:lnTo>
                  <a:lnTo>
                    <a:pt x="367" y="371"/>
                  </a:lnTo>
                  <a:lnTo>
                    <a:pt x="366" y="386"/>
                  </a:lnTo>
                  <a:lnTo>
                    <a:pt x="372" y="397"/>
                  </a:lnTo>
                  <a:lnTo>
                    <a:pt x="390" y="419"/>
                  </a:lnTo>
                  <a:lnTo>
                    <a:pt x="395" y="441"/>
                  </a:lnTo>
                  <a:lnTo>
                    <a:pt x="363" y="456"/>
                  </a:lnTo>
                  <a:lnTo>
                    <a:pt x="351" y="472"/>
                  </a:lnTo>
                  <a:lnTo>
                    <a:pt x="335" y="498"/>
                  </a:lnTo>
                  <a:lnTo>
                    <a:pt x="325" y="509"/>
                  </a:lnTo>
                  <a:lnTo>
                    <a:pt x="323" y="518"/>
                  </a:lnTo>
                  <a:lnTo>
                    <a:pt x="325" y="522"/>
                  </a:lnTo>
                  <a:lnTo>
                    <a:pt x="330" y="523"/>
                  </a:lnTo>
                  <a:lnTo>
                    <a:pt x="336" y="521"/>
                  </a:lnTo>
                  <a:lnTo>
                    <a:pt x="340" y="517"/>
                  </a:lnTo>
                  <a:lnTo>
                    <a:pt x="349" y="504"/>
                  </a:lnTo>
                  <a:lnTo>
                    <a:pt x="353" y="500"/>
                  </a:lnTo>
                  <a:lnTo>
                    <a:pt x="357" y="500"/>
                  </a:lnTo>
                  <a:lnTo>
                    <a:pt x="362" y="503"/>
                  </a:lnTo>
                  <a:lnTo>
                    <a:pt x="368" y="515"/>
                  </a:lnTo>
                  <a:lnTo>
                    <a:pt x="388" y="529"/>
                  </a:lnTo>
                  <a:lnTo>
                    <a:pt x="388" y="532"/>
                  </a:lnTo>
                  <a:lnTo>
                    <a:pt x="385" y="536"/>
                  </a:lnTo>
                  <a:lnTo>
                    <a:pt x="382" y="539"/>
                  </a:lnTo>
                  <a:lnTo>
                    <a:pt x="379" y="541"/>
                  </a:lnTo>
                  <a:lnTo>
                    <a:pt x="375" y="541"/>
                  </a:lnTo>
                  <a:lnTo>
                    <a:pt x="372" y="542"/>
                  </a:lnTo>
                  <a:lnTo>
                    <a:pt x="369" y="546"/>
                  </a:lnTo>
                  <a:lnTo>
                    <a:pt x="368" y="553"/>
                  </a:lnTo>
                  <a:lnTo>
                    <a:pt x="367" y="605"/>
                  </a:lnTo>
                  <a:lnTo>
                    <a:pt x="369" y="619"/>
                  </a:lnTo>
                  <a:lnTo>
                    <a:pt x="376" y="630"/>
                  </a:lnTo>
                  <a:lnTo>
                    <a:pt x="384" y="639"/>
                  </a:lnTo>
                  <a:lnTo>
                    <a:pt x="406" y="653"/>
                  </a:lnTo>
                  <a:lnTo>
                    <a:pt x="411" y="659"/>
                  </a:lnTo>
                  <a:lnTo>
                    <a:pt x="416" y="667"/>
                  </a:lnTo>
                  <a:lnTo>
                    <a:pt x="415" y="676"/>
                  </a:lnTo>
                  <a:lnTo>
                    <a:pt x="411" y="686"/>
                  </a:lnTo>
                  <a:lnTo>
                    <a:pt x="408" y="691"/>
                  </a:lnTo>
                  <a:lnTo>
                    <a:pt x="404" y="698"/>
                  </a:lnTo>
                  <a:lnTo>
                    <a:pt x="402" y="700"/>
                  </a:lnTo>
                  <a:lnTo>
                    <a:pt x="398" y="700"/>
                  </a:lnTo>
                  <a:lnTo>
                    <a:pt x="394" y="697"/>
                  </a:lnTo>
                  <a:lnTo>
                    <a:pt x="391" y="696"/>
                  </a:lnTo>
                  <a:lnTo>
                    <a:pt x="387" y="697"/>
                  </a:lnTo>
                  <a:lnTo>
                    <a:pt x="368" y="718"/>
                  </a:lnTo>
                  <a:lnTo>
                    <a:pt x="364" y="723"/>
                  </a:lnTo>
                  <a:lnTo>
                    <a:pt x="358" y="726"/>
                  </a:lnTo>
                  <a:lnTo>
                    <a:pt x="354" y="728"/>
                  </a:lnTo>
                  <a:lnTo>
                    <a:pt x="353" y="733"/>
                  </a:lnTo>
                  <a:lnTo>
                    <a:pt x="355" y="736"/>
                  </a:lnTo>
                  <a:lnTo>
                    <a:pt x="358" y="737"/>
                  </a:lnTo>
                  <a:lnTo>
                    <a:pt x="364" y="738"/>
                  </a:lnTo>
                  <a:lnTo>
                    <a:pt x="367" y="740"/>
                  </a:lnTo>
                  <a:lnTo>
                    <a:pt x="370" y="743"/>
                  </a:lnTo>
                  <a:lnTo>
                    <a:pt x="374" y="746"/>
                  </a:lnTo>
                  <a:lnTo>
                    <a:pt x="378" y="744"/>
                  </a:lnTo>
                  <a:lnTo>
                    <a:pt x="382" y="747"/>
                  </a:lnTo>
                  <a:lnTo>
                    <a:pt x="388" y="754"/>
                  </a:lnTo>
                  <a:lnTo>
                    <a:pt x="395" y="768"/>
                  </a:lnTo>
                  <a:lnTo>
                    <a:pt x="415" y="799"/>
                  </a:lnTo>
                  <a:lnTo>
                    <a:pt x="416" y="804"/>
                  </a:lnTo>
                  <a:lnTo>
                    <a:pt x="413" y="817"/>
                  </a:lnTo>
                  <a:lnTo>
                    <a:pt x="414" y="824"/>
                  </a:lnTo>
                  <a:lnTo>
                    <a:pt x="416" y="832"/>
                  </a:lnTo>
                  <a:lnTo>
                    <a:pt x="421" y="842"/>
                  </a:lnTo>
                  <a:lnTo>
                    <a:pt x="426" y="848"/>
                  </a:lnTo>
                  <a:lnTo>
                    <a:pt x="429" y="856"/>
                  </a:lnTo>
                  <a:lnTo>
                    <a:pt x="428" y="866"/>
                  </a:lnTo>
                  <a:lnTo>
                    <a:pt x="421" y="879"/>
                  </a:lnTo>
                  <a:lnTo>
                    <a:pt x="409" y="923"/>
                  </a:lnTo>
                  <a:lnTo>
                    <a:pt x="407" y="926"/>
                  </a:lnTo>
                  <a:lnTo>
                    <a:pt x="398" y="932"/>
                  </a:lnTo>
                  <a:lnTo>
                    <a:pt x="395" y="938"/>
                  </a:lnTo>
                  <a:lnTo>
                    <a:pt x="396" y="944"/>
                  </a:lnTo>
                  <a:lnTo>
                    <a:pt x="418" y="972"/>
                  </a:lnTo>
                  <a:lnTo>
                    <a:pt x="441" y="1009"/>
                  </a:lnTo>
                  <a:lnTo>
                    <a:pt x="445" y="1019"/>
                  </a:lnTo>
                  <a:lnTo>
                    <a:pt x="445" y="1024"/>
                  </a:lnTo>
                  <a:lnTo>
                    <a:pt x="441" y="1035"/>
                  </a:lnTo>
                  <a:lnTo>
                    <a:pt x="435" y="1058"/>
                  </a:lnTo>
                  <a:lnTo>
                    <a:pt x="426" y="1078"/>
                  </a:lnTo>
                  <a:lnTo>
                    <a:pt x="391" y="1047"/>
                  </a:lnTo>
                  <a:lnTo>
                    <a:pt x="341" y="963"/>
                  </a:lnTo>
                  <a:lnTo>
                    <a:pt x="333" y="955"/>
                  </a:lnTo>
                  <a:lnTo>
                    <a:pt x="313" y="939"/>
                  </a:lnTo>
                  <a:lnTo>
                    <a:pt x="305" y="934"/>
                  </a:lnTo>
                  <a:lnTo>
                    <a:pt x="290" y="926"/>
                  </a:lnTo>
                  <a:lnTo>
                    <a:pt x="260" y="906"/>
                  </a:lnTo>
                  <a:lnTo>
                    <a:pt x="247" y="899"/>
                  </a:lnTo>
                  <a:lnTo>
                    <a:pt x="233" y="898"/>
                  </a:lnTo>
                  <a:lnTo>
                    <a:pt x="220" y="899"/>
                  </a:lnTo>
                  <a:lnTo>
                    <a:pt x="186" y="911"/>
                  </a:lnTo>
                  <a:lnTo>
                    <a:pt x="163" y="916"/>
                  </a:lnTo>
                  <a:lnTo>
                    <a:pt x="148" y="912"/>
                  </a:lnTo>
                  <a:lnTo>
                    <a:pt x="143" y="907"/>
                  </a:lnTo>
                  <a:lnTo>
                    <a:pt x="138" y="892"/>
                  </a:lnTo>
                  <a:lnTo>
                    <a:pt x="123" y="864"/>
                  </a:lnTo>
                  <a:lnTo>
                    <a:pt x="115" y="841"/>
                  </a:lnTo>
                  <a:lnTo>
                    <a:pt x="110" y="833"/>
                  </a:lnTo>
                  <a:lnTo>
                    <a:pt x="93" y="811"/>
                  </a:lnTo>
                  <a:lnTo>
                    <a:pt x="86" y="800"/>
                  </a:lnTo>
                  <a:lnTo>
                    <a:pt x="82" y="786"/>
                  </a:lnTo>
                  <a:lnTo>
                    <a:pt x="75" y="772"/>
                  </a:lnTo>
                  <a:lnTo>
                    <a:pt x="65" y="763"/>
                  </a:lnTo>
                  <a:lnTo>
                    <a:pt x="11" y="735"/>
                  </a:lnTo>
                  <a:lnTo>
                    <a:pt x="7" y="729"/>
                  </a:lnTo>
                  <a:lnTo>
                    <a:pt x="5" y="723"/>
                  </a:lnTo>
                  <a:lnTo>
                    <a:pt x="4" y="713"/>
                  </a:lnTo>
                  <a:lnTo>
                    <a:pt x="5" y="705"/>
                  </a:lnTo>
                  <a:lnTo>
                    <a:pt x="8" y="693"/>
                  </a:lnTo>
                  <a:lnTo>
                    <a:pt x="10" y="689"/>
                  </a:lnTo>
                  <a:lnTo>
                    <a:pt x="1" y="660"/>
                  </a:lnTo>
                  <a:lnTo>
                    <a:pt x="0" y="652"/>
                  </a:lnTo>
                  <a:lnTo>
                    <a:pt x="3" y="610"/>
                  </a:lnTo>
                  <a:lnTo>
                    <a:pt x="5" y="602"/>
                  </a:lnTo>
                  <a:lnTo>
                    <a:pt x="15" y="572"/>
                  </a:lnTo>
                  <a:lnTo>
                    <a:pt x="18" y="566"/>
                  </a:lnTo>
                  <a:lnTo>
                    <a:pt x="27" y="554"/>
                  </a:lnTo>
                  <a:lnTo>
                    <a:pt x="39" y="541"/>
                  </a:lnTo>
                  <a:lnTo>
                    <a:pt x="44" y="533"/>
                  </a:lnTo>
                  <a:lnTo>
                    <a:pt x="82" y="463"/>
                  </a:lnTo>
                  <a:lnTo>
                    <a:pt x="84" y="456"/>
                  </a:lnTo>
                  <a:lnTo>
                    <a:pt x="85" y="450"/>
                  </a:lnTo>
                  <a:lnTo>
                    <a:pt x="85" y="436"/>
                  </a:lnTo>
                  <a:lnTo>
                    <a:pt x="86" y="431"/>
                  </a:lnTo>
                  <a:lnTo>
                    <a:pt x="89" y="429"/>
                  </a:lnTo>
                  <a:lnTo>
                    <a:pt x="91" y="427"/>
                  </a:lnTo>
                  <a:lnTo>
                    <a:pt x="94" y="426"/>
                  </a:lnTo>
                  <a:lnTo>
                    <a:pt x="102" y="424"/>
                  </a:lnTo>
                  <a:lnTo>
                    <a:pt x="105" y="423"/>
                  </a:lnTo>
                  <a:lnTo>
                    <a:pt x="107" y="419"/>
                  </a:lnTo>
                  <a:lnTo>
                    <a:pt x="108" y="412"/>
                  </a:lnTo>
                  <a:lnTo>
                    <a:pt x="109" y="409"/>
                  </a:lnTo>
                  <a:lnTo>
                    <a:pt x="112" y="406"/>
                  </a:lnTo>
                  <a:lnTo>
                    <a:pt x="115" y="406"/>
                  </a:lnTo>
                  <a:lnTo>
                    <a:pt x="119" y="405"/>
                  </a:lnTo>
                  <a:lnTo>
                    <a:pt x="123" y="403"/>
                  </a:lnTo>
                  <a:lnTo>
                    <a:pt x="125" y="399"/>
                  </a:lnTo>
                  <a:lnTo>
                    <a:pt x="128" y="394"/>
                  </a:lnTo>
                  <a:lnTo>
                    <a:pt x="129" y="386"/>
                  </a:lnTo>
                  <a:lnTo>
                    <a:pt x="132" y="381"/>
                  </a:lnTo>
                  <a:lnTo>
                    <a:pt x="136" y="379"/>
                  </a:lnTo>
                  <a:lnTo>
                    <a:pt x="146" y="378"/>
                  </a:lnTo>
                  <a:lnTo>
                    <a:pt x="150" y="375"/>
                  </a:lnTo>
                  <a:lnTo>
                    <a:pt x="157" y="365"/>
                  </a:lnTo>
                  <a:lnTo>
                    <a:pt x="164" y="357"/>
                  </a:lnTo>
                  <a:lnTo>
                    <a:pt x="167" y="353"/>
                  </a:lnTo>
                  <a:lnTo>
                    <a:pt x="171" y="349"/>
                  </a:lnTo>
                  <a:lnTo>
                    <a:pt x="177" y="347"/>
                  </a:lnTo>
                  <a:lnTo>
                    <a:pt x="184" y="346"/>
                  </a:lnTo>
                  <a:lnTo>
                    <a:pt x="189" y="344"/>
                  </a:lnTo>
                  <a:lnTo>
                    <a:pt x="194" y="339"/>
                  </a:lnTo>
                  <a:lnTo>
                    <a:pt x="197" y="332"/>
                  </a:lnTo>
                  <a:lnTo>
                    <a:pt x="201" y="309"/>
                  </a:lnTo>
                  <a:lnTo>
                    <a:pt x="203" y="303"/>
                  </a:lnTo>
                  <a:lnTo>
                    <a:pt x="207" y="296"/>
                  </a:lnTo>
                  <a:lnTo>
                    <a:pt x="211" y="290"/>
                  </a:lnTo>
                  <a:lnTo>
                    <a:pt x="216" y="287"/>
                  </a:lnTo>
                  <a:lnTo>
                    <a:pt x="222" y="284"/>
                  </a:lnTo>
                  <a:lnTo>
                    <a:pt x="226" y="277"/>
                  </a:lnTo>
                  <a:lnTo>
                    <a:pt x="225" y="274"/>
                  </a:lnTo>
                  <a:lnTo>
                    <a:pt x="223" y="269"/>
                  </a:lnTo>
                  <a:lnTo>
                    <a:pt x="223" y="262"/>
                  </a:lnTo>
                  <a:lnTo>
                    <a:pt x="234" y="233"/>
                  </a:lnTo>
                  <a:lnTo>
                    <a:pt x="237" y="211"/>
                  </a:lnTo>
                  <a:lnTo>
                    <a:pt x="233" y="202"/>
                  </a:lnTo>
                  <a:lnTo>
                    <a:pt x="224" y="196"/>
                  </a:lnTo>
                  <a:lnTo>
                    <a:pt x="213" y="196"/>
                  </a:lnTo>
                  <a:lnTo>
                    <a:pt x="189" y="198"/>
                  </a:lnTo>
                  <a:lnTo>
                    <a:pt x="168" y="205"/>
                  </a:lnTo>
                  <a:lnTo>
                    <a:pt x="181" y="178"/>
                  </a:lnTo>
                  <a:lnTo>
                    <a:pt x="190" y="131"/>
                  </a:lnTo>
                  <a:lnTo>
                    <a:pt x="195" y="119"/>
                  </a:lnTo>
                  <a:lnTo>
                    <a:pt x="202" y="112"/>
                  </a:lnTo>
                  <a:lnTo>
                    <a:pt x="208" y="108"/>
                  </a:lnTo>
                  <a:lnTo>
                    <a:pt x="215" y="106"/>
                  </a:lnTo>
                  <a:lnTo>
                    <a:pt x="222" y="102"/>
                  </a:lnTo>
                  <a:lnTo>
                    <a:pt x="224" y="99"/>
                  </a:lnTo>
                  <a:lnTo>
                    <a:pt x="232" y="75"/>
                  </a:lnTo>
                  <a:lnTo>
                    <a:pt x="247" y="44"/>
                  </a:lnTo>
                  <a:lnTo>
                    <a:pt x="252" y="30"/>
                  </a:lnTo>
                  <a:lnTo>
                    <a:pt x="261" y="0"/>
                  </a:lnTo>
                  <a:lnTo>
                    <a:pt x="281" y="0"/>
                  </a:lnTo>
                  <a:lnTo>
                    <a:pt x="296" y="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EFC6C5C7-5B6D-AACB-D301-5E2EFF93C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091" y="4941083"/>
              <a:ext cx="1391470" cy="1423830"/>
            </a:xfrm>
            <a:custGeom>
              <a:avLst/>
              <a:gdLst>
                <a:gd name="T0" fmla="*/ 808 w 946"/>
                <a:gd name="T1" fmla="*/ 19 h 968"/>
                <a:gd name="T2" fmla="*/ 818 w 946"/>
                <a:gd name="T3" fmla="*/ 73 h 968"/>
                <a:gd name="T4" fmla="*/ 884 w 946"/>
                <a:gd name="T5" fmla="*/ 78 h 968"/>
                <a:gd name="T6" fmla="*/ 926 w 946"/>
                <a:gd name="T7" fmla="*/ 141 h 968"/>
                <a:gd name="T8" fmla="*/ 932 w 946"/>
                <a:gd name="T9" fmla="*/ 223 h 968"/>
                <a:gd name="T10" fmla="*/ 915 w 946"/>
                <a:gd name="T11" fmla="*/ 252 h 968"/>
                <a:gd name="T12" fmla="*/ 894 w 946"/>
                <a:gd name="T13" fmla="*/ 260 h 968"/>
                <a:gd name="T14" fmla="*/ 886 w 946"/>
                <a:gd name="T15" fmla="*/ 276 h 968"/>
                <a:gd name="T16" fmla="*/ 923 w 946"/>
                <a:gd name="T17" fmla="*/ 341 h 968"/>
                <a:gd name="T18" fmla="*/ 930 w 946"/>
                <a:gd name="T19" fmla="*/ 387 h 968"/>
                <a:gd name="T20" fmla="*/ 923 w 946"/>
                <a:gd name="T21" fmla="*/ 472 h 968"/>
                <a:gd name="T22" fmla="*/ 912 w 946"/>
                <a:gd name="T23" fmla="*/ 549 h 968"/>
                <a:gd name="T24" fmla="*/ 927 w 946"/>
                <a:gd name="T25" fmla="*/ 561 h 968"/>
                <a:gd name="T26" fmla="*/ 944 w 946"/>
                <a:gd name="T27" fmla="*/ 584 h 968"/>
                <a:gd name="T28" fmla="*/ 941 w 946"/>
                <a:gd name="T29" fmla="*/ 665 h 968"/>
                <a:gd name="T30" fmla="*/ 936 w 946"/>
                <a:gd name="T31" fmla="*/ 730 h 968"/>
                <a:gd name="T32" fmla="*/ 905 w 946"/>
                <a:gd name="T33" fmla="*/ 770 h 968"/>
                <a:gd name="T34" fmla="*/ 880 w 946"/>
                <a:gd name="T35" fmla="*/ 784 h 968"/>
                <a:gd name="T36" fmla="*/ 852 w 946"/>
                <a:gd name="T37" fmla="*/ 776 h 968"/>
                <a:gd name="T38" fmla="*/ 819 w 946"/>
                <a:gd name="T39" fmla="*/ 775 h 968"/>
                <a:gd name="T40" fmla="*/ 797 w 946"/>
                <a:gd name="T41" fmla="*/ 822 h 968"/>
                <a:gd name="T42" fmla="*/ 771 w 946"/>
                <a:gd name="T43" fmla="*/ 889 h 968"/>
                <a:gd name="T44" fmla="*/ 705 w 946"/>
                <a:gd name="T45" fmla="*/ 967 h 968"/>
                <a:gd name="T46" fmla="*/ 677 w 946"/>
                <a:gd name="T47" fmla="*/ 824 h 968"/>
                <a:gd name="T48" fmla="*/ 640 w 946"/>
                <a:gd name="T49" fmla="*/ 797 h 968"/>
                <a:gd name="T50" fmla="*/ 549 w 946"/>
                <a:gd name="T51" fmla="*/ 749 h 968"/>
                <a:gd name="T52" fmla="*/ 425 w 946"/>
                <a:gd name="T53" fmla="*/ 734 h 968"/>
                <a:gd name="T54" fmla="*/ 339 w 946"/>
                <a:gd name="T55" fmla="*/ 702 h 968"/>
                <a:gd name="T56" fmla="*/ 266 w 946"/>
                <a:gd name="T57" fmla="*/ 652 h 968"/>
                <a:gd name="T58" fmla="*/ 214 w 946"/>
                <a:gd name="T59" fmla="*/ 648 h 968"/>
                <a:gd name="T60" fmla="*/ 184 w 946"/>
                <a:gd name="T61" fmla="*/ 699 h 968"/>
                <a:gd name="T62" fmla="*/ 83 w 946"/>
                <a:gd name="T63" fmla="*/ 771 h 968"/>
                <a:gd name="T64" fmla="*/ 15 w 946"/>
                <a:gd name="T65" fmla="*/ 728 h 968"/>
                <a:gd name="T66" fmla="*/ 53 w 946"/>
                <a:gd name="T67" fmla="*/ 597 h 968"/>
                <a:gd name="T68" fmla="*/ 18 w 946"/>
                <a:gd name="T69" fmla="*/ 539 h 968"/>
                <a:gd name="T70" fmla="*/ 2 w 946"/>
                <a:gd name="T71" fmla="*/ 494 h 968"/>
                <a:gd name="T72" fmla="*/ 44 w 946"/>
                <a:gd name="T73" fmla="*/ 440 h 968"/>
                <a:gd name="T74" fmla="*/ 126 w 946"/>
                <a:gd name="T75" fmla="*/ 461 h 968"/>
                <a:gd name="T76" fmla="*/ 223 w 946"/>
                <a:gd name="T77" fmla="*/ 389 h 968"/>
                <a:gd name="T78" fmla="*/ 335 w 946"/>
                <a:gd name="T79" fmla="*/ 358 h 968"/>
                <a:gd name="T80" fmla="*/ 449 w 946"/>
                <a:gd name="T81" fmla="*/ 335 h 968"/>
                <a:gd name="T82" fmla="*/ 541 w 946"/>
                <a:gd name="T83" fmla="*/ 330 h 968"/>
                <a:gd name="T84" fmla="*/ 602 w 946"/>
                <a:gd name="T85" fmla="*/ 285 h 968"/>
                <a:gd name="T86" fmla="*/ 631 w 946"/>
                <a:gd name="T87" fmla="*/ 310 h 968"/>
                <a:gd name="T88" fmla="*/ 694 w 946"/>
                <a:gd name="T89" fmla="*/ 317 h 968"/>
                <a:gd name="T90" fmla="*/ 741 w 946"/>
                <a:gd name="T91" fmla="*/ 306 h 968"/>
                <a:gd name="T92" fmla="*/ 744 w 946"/>
                <a:gd name="T93" fmla="*/ 264 h 968"/>
                <a:gd name="T94" fmla="*/ 767 w 946"/>
                <a:gd name="T95" fmla="*/ 228 h 968"/>
                <a:gd name="T96" fmla="*/ 755 w 946"/>
                <a:gd name="T97" fmla="*/ 193 h 968"/>
                <a:gd name="T98" fmla="*/ 721 w 946"/>
                <a:gd name="T99" fmla="*/ 177 h 968"/>
                <a:gd name="T100" fmla="*/ 692 w 946"/>
                <a:gd name="T101" fmla="*/ 206 h 968"/>
                <a:gd name="T102" fmla="*/ 697 w 946"/>
                <a:gd name="T103" fmla="*/ 147 h 968"/>
                <a:gd name="T104" fmla="*/ 730 w 946"/>
                <a:gd name="T105" fmla="*/ 85 h 968"/>
                <a:gd name="T106" fmla="*/ 720 w 946"/>
                <a:gd name="T107" fmla="*/ 69 h 968"/>
                <a:gd name="T108" fmla="*/ 704 w 946"/>
                <a:gd name="T109" fmla="*/ 36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6" h="968">
                  <a:moveTo>
                    <a:pt x="766" y="10"/>
                  </a:moveTo>
                  <a:lnTo>
                    <a:pt x="784" y="8"/>
                  </a:lnTo>
                  <a:lnTo>
                    <a:pt x="793" y="8"/>
                  </a:lnTo>
                  <a:lnTo>
                    <a:pt x="801" y="13"/>
                  </a:lnTo>
                  <a:lnTo>
                    <a:pt x="808" y="19"/>
                  </a:lnTo>
                  <a:lnTo>
                    <a:pt x="812" y="30"/>
                  </a:lnTo>
                  <a:lnTo>
                    <a:pt x="813" y="37"/>
                  </a:lnTo>
                  <a:lnTo>
                    <a:pt x="812" y="50"/>
                  </a:lnTo>
                  <a:lnTo>
                    <a:pt x="813" y="65"/>
                  </a:lnTo>
                  <a:lnTo>
                    <a:pt x="818" y="73"/>
                  </a:lnTo>
                  <a:lnTo>
                    <a:pt x="825" y="82"/>
                  </a:lnTo>
                  <a:lnTo>
                    <a:pt x="842" y="89"/>
                  </a:lnTo>
                  <a:lnTo>
                    <a:pt x="855" y="89"/>
                  </a:lnTo>
                  <a:lnTo>
                    <a:pt x="865" y="88"/>
                  </a:lnTo>
                  <a:lnTo>
                    <a:pt x="884" y="78"/>
                  </a:lnTo>
                  <a:lnTo>
                    <a:pt x="890" y="77"/>
                  </a:lnTo>
                  <a:lnTo>
                    <a:pt x="894" y="81"/>
                  </a:lnTo>
                  <a:lnTo>
                    <a:pt x="899" y="94"/>
                  </a:lnTo>
                  <a:lnTo>
                    <a:pt x="906" y="108"/>
                  </a:lnTo>
                  <a:lnTo>
                    <a:pt x="926" y="141"/>
                  </a:lnTo>
                  <a:lnTo>
                    <a:pt x="931" y="154"/>
                  </a:lnTo>
                  <a:lnTo>
                    <a:pt x="931" y="169"/>
                  </a:lnTo>
                  <a:lnTo>
                    <a:pt x="933" y="189"/>
                  </a:lnTo>
                  <a:lnTo>
                    <a:pt x="945" y="207"/>
                  </a:lnTo>
                  <a:lnTo>
                    <a:pt x="932" y="223"/>
                  </a:lnTo>
                  <a:lnTo>
                    <a:pt x="927" y="225"/>
                  </a:lnTo>
                  <a:lnTo>
                    <a:pt x="917" y="234"/>
                  </a:lnTo>
                  <a:lnTo>
                    <a:pt x="915" y="238"/>
                  </a:lnTo>
                  <a:lnTo>
                    <a:pt x="915" y="248"/>
                  </a:lnTo>
                  <a:lnTo>
                    <a:pt x="915" y="252"/>
                  </a:lnTo>
                  <a:lnTo>
                    <a:pt x="912" y="257"/>
                  </a:lnTo>
                  <a:lnTo>
                    <a:pt x="909" y="259"/>
                  </a:lnTo>
                  <a:lnTo>
                    <a:pt x="905" y="260"/>
                  </a:lnTo>
                  <a:lnTo>
                    <a:pt x="898" y="261"/>
                  </a:lnTo>
                  <a:lnTo>
                    <a:pt x="894" y="260"/>
                  </a:lnTo>
                  <a:lnTo>
                    <a:pt x="890" y="261"/>
                  </a:lnTo>
                  <a:lnTo>
                    <a:pt x="887" y="262"/>
                  </a:lnTo>
                  <a:lnTo>
                    <a:pt x="885" y="265"/>
                  </a:lnTo>
                  <a:lnTo>
                    <a:pt x="884" y="271"/>
                  </a:lnTo>
                  <a:lnTo>
                    <a:pt x="886" y="276"/>
                  </a:lnTo>
                  <a:lnTo>
                    <a:pt x="887" y="282"/>
                  </a:lnTo>
                  <a:lnTo>
                    <a:pt x="893" y="293"/>
                  </a:lnTo>
                  <a:lnTo>
                    <a:pt x="903" y="316"/>
                  </a:lnTo>
                  <a:lnTo>
                    <a:pt x="910" y="326"/>
                  </a:lnTo>
                  <a:lnTo>
                    <a:pt x="923" y="341"/>
                  </a:lnTo>
                  <a:lnTo>
                    <a:pt x="930" y="355"/>
                  </a:lnTo>
                  <a:lnTo>
                    <a:pt x="932" y="362"/>
                  </a:lnTo>
                  <a:lnTo>
                    <a:pt x="933" y="373"/>
                  </a:lnTo>
                  <a:lnTo>
                    <a:pt x="933" y="379"/>
                  </a:lnTo>
                  <a:lnTo>
                    <a:pt x="930" y="387"/>
                  </a:lnTo>
                  <a:lnTo>
                    <a:pt x="925" y="401"/>
                  </a:lnTo>
                  <a:lnTo>
                    <a:pt x="920" y="416"/>
                  </a:lnTo>
                  <a:lnTo>
                    <a:pt x="918" y="436"/>
                  </a:lnTo>
                  <a:lnTo>
                    <a:pt x="919" y="452"/>
                  </a:lnTo>
                  <a:lnTo>
                    <a:pt x="923" y="472"/>
                  </a:lnTo>
                  <a:lnTo>
                    <a:pt x="922" y="482"/>
                  </a:lnTo>
                  <a:lnTo>
                    <a:pt x="912" y="520"/>
                  </a:lnTo>
                  <a:lnTo>
                    <a:pt x="911" y="534"/>
                  </a:lnTo>
                  <a:lnTo>
                    <a:pt x="910" y="544"/>
                  </a:lnTo>
                  <a:lnTo>
                    <a:pt x="912" y="549"/>
                  </a:lnTo>
                  <a:lnTo>
                    <a:pt x="914" y="552"/>
                  </a:lnTo>
                  <a:lnTo>
                    <a:pt x="915" y="555"/>
                  </a:lnTo>
                  <a:lnTo>
                    <a:pt x="917" y="557"/>
                  </a:lnTo>
                  <a:lnTo>
                    <a:pt x="920" y="558"/>
                  </a:lnTo>
                  <a:lnTo>
                    <a:pt x="927" y="561"/>
                  </a:lnTo>
                  <a:lnTo>
                    <a:pt x="930" y="563"/>
                  </a:lnTo>
                  <a:lnTo>
                    <a:pt x="933" y="566"/>
                  </a:lnTo>
                  <a:lnTo>
                    <a:pt x="936" y="570"/>
                  </a:lnTo>
                  <a:lnTo>
                    <a:pt x="942" y="578"/>
                  </a:lnTo>
                  <a:lnTo>
                    <a:pt x="944" y="584"/>
                  </a:lnTo>
                  <a:lnTo>
                    <a:pt x="945" y="589"/>
                  </a:lnTo>
                  <a:lnTo>
                    <a:pt x="945" y="601"/>
                  </a:lnTo>
                  <a:lnTo>
                    <a:pt x="944" y="610"/>
                  </a:lnTo>
                  <a:lnTo>
                    <a:pt x="946" y="627"/>
                  </a:lnTo>
                  <a:lnTo>
                    <a:pt x="941" y="665"/>
                  </a:lnTo>
                  <a:lnTo>
                    <a:pt x="942" y="673"/>
                  </a:lnTo>
                  <a:lnTo>
                    <a:pt x="943" y="689"/>
                  </a:lnTo>
                  <a:lnTo>
                    <a:pt x="942" y="703"/>
                  </a:lnTo>
                  <a:lnTo>
                    <a:pt x="938" y="725"/>
                  </a:lnTo>
                  <a:lnTo>
                    <a:pt x="936" y="730"/>
                  </a:lnTo>
                  <a:lnTo>
                    <a:pt x="932" y="734"/>
                  </a:lnTo>
                  <a:lnTo>
                    <a:pt x="925" y="742"/>
                  </a:lnTo>
                  <a:lnTo>
                    <a:pt x="915" y="756"/>
                  </a:lnTo>
                  <a:lnTo>
                    <a:pt x="910" y="766"/>
                  </a:lnTo>
                  <a:lnTo>
                    <a:pt x="905" y="770"/>
                  </a:lnTo>
                  <a:lnTo>
                    <a:pt x="899" y="772"/>
                  </a:lnTo>
                  <a:lnTo>
                    <a:pt x="893" y="773"/>
                  </a:lnTo>
                  <a:lnTo>
                    <a:pt x="888" y="776"/>
                  </a:lnTo>
                  <a:lnTo>
                    <a:pt x="884" y="779"/>
                  </a:lnTo>
                  <a:lnTo>
                    <a:pt x="880" y="784"/>
                  </a:lnTo>
                  <a:lnTo>
                    <a:pt x="876" y="789"/>
                  </a:lnTo>
                  <a:lnTo>
                    <a:pt x="871" y="789"/>
                  </a:lnTo>
                  <a:lnTo>
                    <a:pt x="864" y="783"/>
                  </a:lnTo>
                  <a:lnTo>
                    <a:pt x="858" y="779"/>
                  </a:lnTo>
                  <a:lnTo>
                    <a:pt x="852" y="776"/>
                  </a:lnTo>
                  <a:lnTo>
                    <a:pt x="844" y="775"/>
                  </a:lnTo>
                  <a:lnTo>
                    <a:pt x="835" y="771"/>
                  </a:lnTo>
                  <a:lnTo>
                    <a:pt x="828" y="770"/>
                  </a:lnTo>
                  <a:lnTo>
                    <a:pt x="823" y="770"/>
                  </a:lnTo>
                  <a:lnTo>
                    <a:pt x="819" y="775"/>
                  </a:lnTo>
                  <a:lnTo>
                    <a:pt x="814" y="782"/>
                  </a:lnTo>
                  <a:lnTo>
                    <a:pt x="811" y="788"/>
                  </a:lnTo>
                  <a:lnTo>
                    <a:pt x="800" y="795"/>
                  </a:lnTo>
                  <a:lnTo>
                    <a:pt x="797" y="816"/>
                  </a:lnTo>
                  <a:lnTo>
                    <a:pt x="797" y="822"/>
                  </a:lnTo>
                  <a:lnTo>
                    <a:pt x="800" y="835"/>
                  </a:lnTo>
                  <a:lnTo>
                    <a:pt x="799" y="842"/>
                  </a:lnTo>
                  <a:lnTo>
                    <a:pt x="796" y="851"/>
                  </a:lnTo>
                  <a:lnTo>
                    <a:pt x="792" y="859"/>
                  </a:lnTo>
                  <a:lnTo>
                    <a:pt x="771" y="889"/>
                  </a:lnTo>
                  <a:lnTo>
                    <a:pt x="762" y="898"/>
                  </a:lnTo>
                  <a:lnTo>
                    <a:pt x="740" y="934"/>
                  </a:lnTo>
                  <a:lnTo>
                    <a:pt x="711" y="965"/>
                  </a:lnTo>
                  <a:lnTo>
                    <a:pt x="705" y="968"/>
                  </a:lnTo>
                  <a:lnTo>
                    <a:pt x="705" y="967"/>
                  </a:lnTo>
                  <a:lnTo>
                    <a:pt x="688" y="934"/>
                  </a:lnTo>
                  <a:lnTo>
                    <a:pt x="680" y="895"/>
                  </a:lnTo>
                  <a:lnTo>
                    <a:pt x="660" y="866"/>
                  </a:lnTo>
                  <a:lnTo>
                    <a:pt x="660" y="851"/>
                  </a:lnTo>
                  <a:lnTo>
                    <a:pt x="677" y="824"/>
                  </a:lnTo>
                  <a:lnTo>
                    <a:pt x="678" y="814"/>
                  </a:lnTo>
                  <a:lnTo>
                    <a:pt x="675" y="808"/>
                  </a:lnTo>
                  <a:lnTo>
                    <a:pt x="660" y="799"/>
                  </a:lnTo>
                  <a:lnTo>
                    <a:pt x="644" y="799"/>
                  </a:lnTo>
                  <a:lnTo>
                    <a:pt x="640" y="797"/>
                  </a:lnTo>
                  <a:lnTo>
                    <a:pt x="631" y="791"/>
                  </a:lnTo>
                  <a:lnTo>
                    <a:pt x="626" y="789"/>
                  </a:lnTo>
                  <a:lnTo>
                    <a:pt x="592" y="755"/>
                  </a:lnTo>
                  <a:lnTo>
                    <a:pt x="573" y="745"/>
                  </a:lnTo>
                  <a:lnTo>
                    <a:pt x="549" y="749"/>
                  </a:lnTo>
                  <a:lnTo>
                    <a:pt x="526" y="763"/>
                  </a:lnTo>
                  <a:lnTo>
                    <a:pt x="481" y="777"/>
                  </a:lnTo>
                  <a:lnTo>
                    <a:pt x="456" y="772"/>
                  </a:lnTo>
                  <a:lnTo>
                    <a:pt x="439" y="755"/>
                  </a:lnTo>
                  <a:lnTo>
                    <a:pt x="425" y="734"/>
                  </a:lnTo>
                  <a:lnTo>
                    <a:pt x="408" y="718"/>
                  </a:lnTo>
                  <a:lnTo>
                    <a:pt x="391" y="714"/>
                  </a:lnTo>
                  <a:lnTo>
                    <a:pt x="373" y="714"/>
                  </a:lnTo>
                  <a:lnTo>
                    <a:pt x="356" y="712"/>
                  </a:lnTo>
                  <a:lnTo>
                    <a:pt x="339" y="702"/>
                  </a:lnTo>
                  <a:lnTo>
                    <a:pt x="325" y="692"/>
                  </a:lnTo>
                  <a:lnTo>
                    <a:pt x="303" y="668"/>
                  </a:lnTo>
                  <a:lnTo>
                    <a:pt x="291" y="659"/>
                  </a:lnTo>
                  <a:lnTo>
                    <a:pt x="279" y="654"/>
                  </a:lnTo>
                  <a:lnTo>
                    <a:pt x="266" y="652"/>
                  </a:lnTo>
                  <a:lnTo>
                    <a:pt x="254" y="648"/>
                  </a:lnTo>
                  <a:lnTo>
                    <a:pt x="250" y="641"/>
                  </a:lnTo>
                  <a:lnTo>
                    <a:pt x="249" y="641"/>
                  </a:lnTo>
                  <a:lnTo>
                    <a:pt x="222" y="646"/>
                  </a:lnTo>
                  <a:lnTo>
                    <a:pt x="214" y="648"/>
                  </a:lnTo>
                  <a:lnTo>
                    <a:pt x="206" y="651"/>
                  </a:lnTo>
                  <a:lnTo>
                    <a:pt x="201" y="655"/>
                  </a:lnTo>
                  <a:lnTo>
                    <a:pt x="196" y="665"/>
                  </a:lnTo>
                  <a:lnTo>
                    <a:pt x="189" y="689"/>
                  </a:lnTo>
                  <a:lnTo>
                    <a:pt x="184" y="699"/>
                  </a:lnTo>
                  <a:lnTo>
                    <a:pt x="173" y="711"/>
                  </a:lnTo>
                  <a:lnTo>
                    <a:pt x="122" y="750"/>
                  </a:lnTo>
                  <a:lnTo>
                    <a:pt x="94" y="765"/>
                  </a:lnTo>
                  <a:lnTo>
                    <a:pt x="88" y="770"/>
                  </a:lnTo>
                  <a:lnTo>
                    <a:pt x="83" y="771"/>
                  </a:lnTo>
                  <a:lnTo>
                    <a:pt x="71" y="771"/>
                  </a:lnTo>
                  <a:lnTo>
                    <a:pt x="59" y="767"/>
                  </a:lnTo>
                  <a:lnTo>
                    <a:pt x="30" y="751"/>
                  </a:lnTo>
                  <a:lnTo>
                    <a:pt x="20" y="742"/>
                  </a:lnTo>
                  <a:lnTo>
                    <a:pt x="15" y="728"/>
                  </a:lnTo>
                  <a:lnTo>
                    <a:pt x="17" y="717"/>
                  </a:lnTo>
                  <a:lnTo>
                    <a:pt x="106" y="599"/>
                  </a:lnTo>
                  <a:lnTo>
                    <a:pt x="113" y="584"/>
                  </a:lnTo>
                  <a:lnTo>
                    <a:pt x="82" y="588"/>
                  </a:lnTo>
                  <a:lnTo>
                    <a:pt x="53" y="597"/>
                  </a:lnTo>
                  <a:lnTo>
                    <a:pt x="30" y="594"/>
                  </a:lnTo>
                  <a:lnTo>
                    <a:pt x="16" y="564"/>
                  </a:lnTo>
                  <a:lnTo>
                    <a:pt x="16" y="558"/>
                  </a:lnTo>
                  <a:lnTo>
                    <a:pt x="18" y="545"/>
                  </a:lnTo>
                  <a:lnTo>
                    <a:pt x="18" y="539"/>
                  </a:lnTo>
                  <a:lnTo>
                    <a:pt x="15" y="531"/>
                  </a:lnTo>
                  <a:lnTo>
                    <a:pt x="4" y="516"/>
                  </a:lnTo>
                  <a:lnTo>
                    <a:pt x="0" y="507"/>
                  </a:lnTo>
                  <a:lnTo>
                    <a:pt x="2" y="495"/>
                  </a:lnTo>
                  <a:lnTo>
                    <a:pt x="2" y="494"/>
                  </a:lnTo>
                  <a:lnTo>
                    <a:pt x="7" y="477"/>
                  </a:lnTo>
                  <a:lnTo>
                    <a:pt x="15" y="460"/>
                  </a:lnTo>
                  <a:lnTo>
                    <a:pt x="22" y="451"/>
                  </a:lnTo>
                  <a:lnTo>
                    <a:pt x="32" y="443"/>
                  </a:lnTo>
                  <a:lnTo>
                    <a:pt x="44" y="440"/>
                  </a:lnTo>
                  <a:lnTo>
                    <a:pt x="58" y="439"/>
                  </a:lnTo>
                  <a:lnTo>
                    <a:pt x="72" y="439"/>
                  </a:lnTo>
                  <a:lnTo>
                    <a:pt x="85" y="443"/>
                  </a:lnTo>
                  <a:lnTo>
                    <a:pt x="113" y="458"/>
                  </a:lnTo>
                  <a:lnTo>
                    <a:pt x="126" y="461"/>
                  </a:lnTo>
                  <a:lnTo>
                    <a:pt x="140" y="454"/>
                  </a:lnTo>
                  <a:lnTo>
                    <a:pt x="151" y="441"/>
                  </a:lnTo>
                  <a:lnTo>
                    <a:pt x="161" y="425"/>
                  </a:lnTo>
                  <a:lnTo>
                    <a:pt x="171" y="413"/>
                  </a:lnTo>
                  <a:lnTo>
                    <a:pt x="223" y="389"/>
                  </a:lnTo>
                  <a:lnTo>
                    <a:pt x="234" y="377"/>
                  </a:lnTo>
                  <a:lnTo>
                    <a:pt x="234" y="370"/>
                  </a:lnTo>
                  <a:lnTo>
                    <a:pt x="243" y="370"/>
                  </a:lnTo>
                  <a:lnTo>
                    <a:pt x="293" y="367"/>
                  </a:lnTo>
                  <a:lnTo>
                    <a:pt x="335" y="358"/>
                  </a:lnTo>
                  <a:lnTo>
                    <a:pt x="374" y="339"/>
                  </a:lnTo>
                  <a:lnTo>
                    <a:pt x="387" y="337"/>
                  </a:lnTo>
                  <a:lnTo>
                    <a:pt x="426" y="332"/>
                  </a:lnTo>
                  <a:lnTo>
                    <a:pt x="438" y="332"/>
                  </a:lnTo>
                  <a:lnTo>
                    <a:pt x="449" y="335"/>
                  </a:lnTo>
                  <a:lnTo>
                    <a:pt x="462" y="340"/>
                  </a:lnTo>
                  <a:lnTo>
                    <a:pt x="474" y="341"/>
                  </a:lnTo>
                  <a:lnTo>
                    <a:pt x="517" y="339"/>
                  </a:lnTo>
                  <a:lnTo>
                    <a:pt x="532" y="336"/>
                  </a:lnTo>
                  <a:lnTo>
                    <a:pt x="541" y="330"/>
                  </a:lnTo>
                  <a:lnTo>
                    <a:pt x="559" y="311"/>
                  </a:lnTo>
                  <a:lnTo>
                    <a:pt x="565" y="304"/>
                  </a:lnTo>
                  <a:lnTo>
                    <a:pt x="586" y="293"/>
                  </a:lnTo>
                  <a:lnTo>
                    <a:pt x="595" y="289"/>
                  </a:lnTo>
                  <a:lnTo>
                    <a:pt x="602" y="285"/>
                  </a:lnTo>
                  <a:lnTo>
                    <a:pt x="607" y="285"/>
                  </a:lnTo>
                  <a:lnTo>
                    <a:pt x="612" y="286"/>
                  </a:lnTo>
                  <a:lnTo>
                    <a:pt x="616" y="295"/>
                  </a:lnTo>
                  <a:lnTo>
                    <a:pt x="620" y="300"/>
                  </a:lnTo>
                  <a:lnTo>
                    <a:pt x="631" y="310"/>
                  </a:lnTo>
                  <a:lnTo>
                    <a:pt x="639" y="313"/>
                  </a:lnTo>
                  <a:lnTo>
                    <a:pt x="650" y="314"/>
                  </a:lnTo>
                  <a:lnTo>
                    <a:pt x="673" y="311"/>
                  </a:lnTo>
                  <a:lnTo>
                    <a:pt x="682" y="313"/>
                  </a:lnTo>
                  <a:lnTo>
                    <a:pt x="694" y="317"/>
                  </a:lnTo>
                  <a:lnTo>
                    <a:pt x="703" y="319"/>
                  </a:lnTo>
                  <a:lnTo>
                    <a:pt x="715" y="321"/>
                  </a:lnTo>
                  <a:lnTo>
                    <a:pt x="727" y="317"/>
                  </a:lnTo>
                  <a:lnTo>
                    <a:pt x="735" y="312"/>
                  </a:lnTo>
                  <a:lnTo>
                    <a:pt x="741" y="306"/>
                  </a:lnTo>
                  <a:lnTo>
                    <a:pt x="746" y="300"/>
                  </a:lnTo>
                  <a:lnTo>
                    <a:pt x="748" y="293"/>
                  </a:lnTo>
                  <a:lnTo>
                    <a:pt x="748" y="287"/>
                  </a:lnTo>
                  <a:lnTo>
                    <a:pt x="744" y="269"/>
                  </a:lnTo>
                  <a:lnTo>
                    <a:pt x="744" y="264"/>
                  </a:lnTo>
                  <a:lnTo>
                    <a:pt x="747" y="260"/>
                  </a:lnTo>
                  <a:lnTo>
                    <a:pt x="758" y="250"/>
                  </a:lnTo>
                  <a:lnTo>
                    <a:pt x="761" y="246"/>
                  </a:lnTo>
                  <a:lnTo>
                    <a:pt x="764" y="239"/>
                  </a:lnTo>
                  <a:lnTo>
                    <a:pt x="767" y="228"/>
                  </a:lnTo>
                  <a:lnTo>
                    <a:pt x="769" y="219"/>
                  </a:lnTo>
                  <a:lnTo>
                    <a:pt x="767" y="209"/>
                  </a:lnTo>
                  <a:lnTo>
                    <a:pt x="764" y="201"/>
                  </a:lnTo>
                  <a:lnTo>
                    <a:pt x="759" y="196"/>
                  </a:lnTo>
                  <a:lnTo>
                    <a:pt x="755" y="193"/>
                  </a:lnTo>
                  <a:lnTo>
                    <a:pt x="747" y="187"/>
                  </a:lnTo>
                  <a:lnTo>
                    <a:pt x="740" y="181"/>
                  </a:lnTo>
                  <a:lnTo>
                    <a:pt x="734" y="177"/>
                  </a:lnTo>
                  <a:lnTo>
                    <a:pt x="728" y="175"/>
                  </a:lnTo>
                  <a:lnTo>
                    <a:pt x="721" y="177"/>
                  </a:lnTo>
                  <a:lnTo>
                    <a:pt x="717" y="182"/>
                  </a:lnTo>
                  <a:lnTo>
                    <a:pt x="709" y="192"/>
                  </a:lnTo>
                  <a:lnTo>
                    <a:pt x="701" y="200"/>
                  </a:lnTo>
                  <a:lnTo>
                    <a:pt x="696" y="205"/>
                  </a:lnTo>
                  <a:lnTo>
                    <a:pt x="692" y="206"/>
                  </a:lnTo>
                  <a:lnTo>
                    <a:pt x="689" y="201"/>
                  </a:lnTo>
                  <a:lnTo>
                    <a:pt x="688" y="195"/>
                  </a:lnTo>
                  <a:lnTo>
                    <a:pt x="689" y="186"/>
                  </a:lnTo>
                  <a:lnTo>
                    <a:pt x="698" y="156"/>
                  </a:lnTo>
                  <a:lnTo>
                    <a:pt x="697" y="147"/>
                  </a:lnTo>
                  <a:lnTo>
                    <a:pt x="698" y="131"/>
                  </a:lnTo>
                  <a:lnTo>
                    <a:pt x="701" y="123"/>
                  </a:lnTo>
                  <a:lnTo>
                    <a:pt x="705" y="116"/>
                  </a:lnTo>
                  <a:lnTo>
                    <a:pt x="728" y="90"/>
                  </a:lnTo>
                  <a:lnTo>
                    <a:pt x="730" y="85"/>
                  </a:lnTo>
                  <a:lnTo>
                    <a:pt x="731" y="81"/>
                  </a:lnTo>
                  <a:lnTo>
                    <a:pt x="731" y="78"/>
                  </a:lnTo>
                  <a:lnTo>
                    <a:pt x="728" y="73"/>
                  </a:lnTo>
                  <a:lnTo>
                    <a:pt x="724" y="70"/>
                  </a:lnTo>
                  <a:lnTo>
                    <a:pt x="720" y="69"/>
                  </a:lnTo>
                  <a:lnTo>
                    <a:pt x="715" y="68"/>
                  </a:lnTo>
                  <a:lnTo>
                    <a:pt x="711" y="65"/>
                  </a:lnTo>
                  <a:lnTo>
                    <a:pt x="708" y="58"/>
                  </a:lnTo>
                  <a:lnTo>
                    <a:pt x="705" y="47"/>
                  </a:lnTo>
                  <a:lnTo>
                    <a:pt x="704" y="36"/>
                  </a:lnTo>
                  <a:lnTo>
                    <a:pt x="707" y="0"/>
                  </a:lnTo>
                  <a:lnTo>
                    <a:pt x="724" y="6"/>
                  </a:lnTo>
                  <a:lnTo>
                    <a:pt x="743" y="10"/>
                  </a:lnTo>
                  <a:lnTo>
                    <a:pt x="766" y="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CC9DD8BD-551F-7494-7B72-B9BD7C081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9815" y="803446"/>
              <a:ext cx="1179660" cy="726624"/>
            </a:xfrm>
            <a:custGeom>
              <a:avLst/>
              <a:gdLst>
                <a:gd name="T0" fmla="*/ 776 w 802"/>
                <a:gd name="T1" fmla="*/ 388 h 494"/>
                <a:gd name="T2" fmla="*/ 778 w 802"/>
                <a:gd name="T3" fmla="*/ 394 h 494"/>
                <a:gd name="T4" fmla="*/ 781 w 802"/>
                <a:gd name="T5" fmla="*/ 397 h 494"/>
                <a:gd name="T6" fmla="*/ 787 w 802"/>
                <a:gd name="T7" fmla="*/ 399 h 494"/>
                <a:gd name="T8" fmla="*/ 785 w 802"/>
                <a:gd name="T9" fmla="*/ 405 h 494"/>
                <a:gd name="T10" fmla="*/ 762 w 802"/>
                <a:gd name="T11" fmla="*/ 434 h 494"/>
                <a:gd name="T12" fmla="*/ 753 w 802"/>
                <a:gd name="T13" fmla="*/ 442 h 494"/>
                <a:gd name="T14" fmla="*/ 737 w 802"/>
                <a:gd name="T15" fmla="*/ 451 h 494"/>
                <a:gd name="T16" fmla="*/ 625 w 802"/>
                <a:gd name="T17" fmla="*/ 451 h 494"/>
                <a:gd name="T18" fmla="*/ 589 w 802"/>
                <a:gd name="T19" fmla="*/ 476 h 494"/>
                <a:gd name="T20" fmla="*/ 525 w 802"/>
                <a:gd name="T21" fmla="*/ 494 h 494"/>
                <a:gd name="T22" fmla="*/ 484 w 802"/>
                <a:gd name="T23" fmla="*/ 475 h 494"/>
                <a:gd name="T24" fmla="*/ 456 w 802"/>
                <a:gd name="T25" fmla="*/ 456 h 494"/>
                <a:gd name="T26" fmla="*/ 432 w 802"/>
                <a:gd name="T27" fmla="*/ 472 h 494"/>
                <a:gd name="T28" fmla="*/ 436 w 802"/>
                <a:gd name="T29" fmla="*/ 452 h 494"/>
                <a:gd name="T30" fmla="*/ 433 w 802"/>
                <a:gd name="T31" fmla="*/ 431 h 494"/>
                <a:gd name="T32" fmla="*/ 400 w 802"/>
                <a:gd name="T33" fmla="*/ 419 h 494"/>
                <a:gd name="T34" fmla="*/ 320 w 802"/>
                <a:gd name="T35" fmla="*/ 427 h 494"/>
                <a:gd name="T36" fmla="*/ 263 w 802"/>
                <a:gd name="T37" fmla="*/ 438 h 494"/>
                <a:gd name="T38" fmla="*/ 172 w 802"/>
                <a:gd name="T39" fmla="*/ 425 h 494"/>
                <a:gd name="T40" fmla="*/ 73 w 802"/>
                <a:gd name="T41" fmla="*/ 438 h 494"/>
                <a:gd name="T42" fmla="*/ 40 w 802"/>
                <a:gd name="T43" fmla="*/ 442 h 494"/>
                <a:gd name="T44" fmla="*/ 12 w 802"/>
                <a:gd name="T45" fmla="*/ 430 h 494"/>
                <a:gd name="T46" fmla="*/ 16 w 802"/>
                <a:gd name="T47" fmla="*/ 404 h 494"/>
                <a:gd name="T48" fmla="*/ 44 w 802"/>
                <a:gd name="T49" fmla="*/ 363 h 494"/>
                <a:gd name="T50" fmla="*/ 67 w 802"/>
                <a:gd name="T51" fmla="*/ 341 h 494"/>
                <a:gd name="T52" fmla="*/ 69 w 802"/>
                <a:gd name="T53" fmla="*/ 329 h 494"/>
                <a:gd name="T54" fmla="*/ 89 w 802"/>
                <a:gd name="T55" fmla="*/ 309 h 494"/>
                <a:gd name="T56" fmla="*/ 117 w 802"/>
                <a:gd name="T57" fmla="*/ 298 h 494"/>
                <a:gd name="T58" fmla="*/ 169 w 802"/>
                <a:gd name="T59" fmla="*/ 310 h 494"/>
                <a:gd name="T60" fmla="*/ 195 w 802"/>
                <a:gd name="T61" fmla="*/ 314 h 494"/>
                <a:gd name="T62" fmla="*/ 216 w 802"/>
                <a:gd name="T63" fmla="*/ 329 h 494"/>
                <a:gd name="T64" fmla="*/ 231 w 802"/>
                <a:gd name="T65" fmla="*/ 334 h 494"/>
                <a:gd name="T66" fmla="*/ 257 w 802"/>
                <a:gd name="T67" fmla="*/ 311 h 494"/>
                <a:gd name="T68" fmla="*/ 311 w 802"/>
                <a:gd name="T69" fmla="*/ 244 h 494"/>
                <a:gd name="T70" fmla="*/ 345 w 802"/>
                <a:gd name="T71" fmla="*/ 221 h 494"/>
                <a:gd name="T72" fmla="*/ 367 w 802"/>
                <a:gd name="T73" fmla="*/ 222 h 494"/>
                <a:gd name="T74" fmla="*/ 389 w 802"/>
                <a:gd name="T75" fmla="*/ 214 h 494"/>
                <a:gd name="T76" fmla="*/ 393 w 802"/>
                <a:gd name="T77" fmla="*/ 191 h 494"/>
                <a:gd name="T78" fmla="*/ 366 w 802"/>
                <a:gd name="T79" fmla="*/ 152 h 494"/>
                <a:gd name="T80" fmla="*/ 355 w 802"/>
                <a:gd name="T81" fmla="*/ 117 h 494"/>
                <a:gd name="T82" fmla="*/ 335 w 802"/>
                <a:gd name="T83" fmla="*/ 70 h 494"/>
                <a:gd name="T84" fmla="*/ 360 w 802"/>
                <a:gd name="T85" fmla="*/ 65 h 494"/>
                <a:gd name="T86" fmla="*/ 376 w 802"/>
                <a:gd name="T87" fmla="*/ 55 h 494"/>
                <a:gd name="T88" fmla="*/ 380 w 802"/>
                <a:gd name="T89" fmla="*/ 25 h 494"/>
                <a:gd name="T90" fmla="*/ 403 w 802"/>
                <a:gd name="T91" fmla="*/ 9 h 494"/>
                <a:gd name="T92" fmla="*/ 442 w 802"/>
                <a:gd name="T93" fmla="*/ 16 h 494"/>
                <a:gd name="T94" fmla="*/ 504 w 802"/>
                <a:gd name="T95" fmla="*/ 64 h 494"/>
                <a:gd name="T96" fmla="*/ 564 w 802"/>
                <a:gd name="T97" fmla="*/ 147 h 494"/>
                <a:gd name="T98" fmla="*/ 577 w 802"/>
                <a:gd name="T99" fmla="*/ 211 h 494"/>
                <a:gd name="T100" fmla="*/ 589 w 802"/>
                <a:gd name="T101" fmla="*/ 245 h 494"/>
                <a:gd name="T102" fmla="*/ 628 w 802"/>
                <a:gd name="T103" fmla="*/ 260 h 494"/>
                <a:gd name="T104" fmla="*/ 677 w 802"/>
                <a:gd name="T105" fmla="*/ 270 h 494"/>
                <a:gd name="T106" fmla="*/ 766 w 802"/>
                <a:gd name="T107" fmla="*/ 323 h 494"/>
                <a:gd name="T108" fmla="*/ 802 w 802"/>
                <a:gd name="T109" fmla="*/ 35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2" h="494">
                  <a:moveTo>
                    <a:pt x="802" y="352"/>
                  </a:moveTo>
                  <a:lnTo>
                    <a:pt x="780" y="379"/>
                  </a:lnTo>
                  <a:lnTo>
                    <a:pt x="776" y="388"/>
                  </a:lnTo>
                  <a:lnTo>
                    <a:pt x="776" y="392"/>
                  </a:lnTo>
                  <a:lnTo>
                    <a:pt x="777" y="393"/>
                  </a:lnTo>
                  <a:lnTo>
                    <a:pt x="778" y="394"/>
                  </a:lnTo>
                  <a:lnTo>
                    <a:pt x="779" y="395"/>
                  </a:lnTo>
                  <a:lnTo>
                    <a:pt x="780" y="397"/>
                  </a:lnTo>
                  <a:lnTo>
                    <a:pt x="781" y="397"/>
                  </a:lnTo>
                  <a:lnTo>
                    <a:pt x="783" y="397"/>
                  </a:lnTo>
                  <a:lnTo>
                    <a:pt x="784" y="398"/>
                  </a:lnTo>
                  <a:lnTo>
                    <a:pt x="787" y="399"/>
                  </a:lnTo>
                  <a:lnTo>
                    <a:pt x="788" y="401"/>
                  </a:lnTo>
                  <a:lnTo>
                    <a:pt x="788" y="403"/>
                  </a:lnTo>
                  <a:lnTo>
                    <a:pt x="785" y="405"/>
                  </a:lnTo>
                  <a:lnTo>
                    <a:pt x="782" y="407"/>
                  </a:lnTo>
                  <a:lnTo>
                    <a:pt x="775" y="417"/>
                  </a:lnTo>
                  <a:lnTo>
                    <a:pt x="762" y="434"/>
                  </a:lnTo>
                  <a:lnTo>
                    <a:pt x="758" y="439"/>
                  </a:lnTo>
                  <a:lnTo>
                    <a:pt x="756" y="440"/>
                  </a:lnTo>
                  <a:lnTo>
                    <a:pt x="753" y="442"/>
                  </a:lnTo>
                  <a:lnTo>
                    <a:pt x="750" y="443"/>
                  </a:lnTo>
                  <a:lnTo>
                    <a:pt x="746" y="444"/>
                  </a:lnTo>
                  <a:lnTo>
                    <a:pt x="737" y="451"/>
                  </a:lnTo>
                  <a:lnTo>
                    <a:pt x="714" y="476"/>
                  </a:lnTo>
                  <a:lnTo>
                    <a:pt x="637" y="452"/>
                  </a:lnTo>
                  <a:lnTo>
                    <a:pt x="625" y="451"/>
                  </a:lnTo>
                  <a:lnTo>
                    <a:pt x="616" y="456"/>
                  </a:lnTo>
                  <a:lnTo>
                    <a:pt x="601" y="468"/>
                  </a:lnTo>
                  <a:lnTo>
                    <a:pt x="589" y="476"/>
                  </a:lnTo>
                  <a:lnTo>
                    <a:pt x="560" y="490"/>
                  </a:lnTo>
                  <a:lnTo>
                    <a:pt x="542" y="493"/>
                  </a:lnTo>
                  <a:lnTo>
                    <a:pt x="525" y="494"/>
                  </a:lnTo>
                  <a:lnTo>
                    <a:pt x="507" y="489"/>
                  </a:lnTo>
                  <a:lnTo>
                    <a:pt x="495" y="482"/>
                  </a:lnTo>
                  <a:lnTo>
                    <a:pt x="484" y="475"/>
                  </a:lnTo>
                  <a:lnTo>
                    <a:pt x="470" y="463"/>
                  </a:lnTo>
                  <a:lnTo>
                    <a:pt x="463" y="457"/>
                  </a:lnTo>
                  <a:lnTo>
                    <a:pt x="456" y="456"/>
                  </a:lnTo>
                  <a:lnTo>
                    <a:pt x="449" y="459"/>
                  </a:lnTo>
                  <a:lnTo>
                    <a:pt x="437" y="470"/>
                  </a:lnTo>
                  <a:lnTo>
                    <a:pt x="432" y="472"/>
                  </a:lnTo>
                  <a:lnTo>
                    <a:pt x="431" y="468"/>
                  </a:lnTo>
                  <a:lnTo>
                    <a:pt x="432" y="464"/>
                  </a:lnTo>
                  <a:lnTo>
                    <a:pt x="436" y="452"/>
                  </a:lnTo>
                  <a:lnTo>
                    <a:pt x="437" y="445"/>
                  </a:lnTo>
                  <a:lnTo>
                    <a:pt x="436" y="438"/>
                  </a:lnTo>
                  <a:lnTo>
                    <a:pt x="433" y="431"/>
                  </a:lnTo>
                  <a:lnTo>
                    <a:pt x="429" y="426"/>
                  </a:lnTo>
                  <a:lnTo>
                    <a:pt x="418" y="421"/>
                  </a:lnTo>
                  <a:lnTo>
                    <a:pt x="400" y="419"/>
                  </a:lnTo>
                  <a:lnTo>
                    <a:pt x="364" y="421"/>
                  </a:lnTo>
                  <a:lnTo>
                    <a:pt x="329" y="428"/>
                  </a:lnTo>
                  <a:lnTo>
                    <a:pt x="320" y="427"/>
                  </a:lnTo>
                  <a:lnTo>
                    <a:pt x="306" y="431"/>
                  </a:lnTo>
                  <a:lnTo>
                    <a:pt x="271" y="436"/>
                  </a:lnTo>
                  <a:lnTo>
                    <a:pt x="263" y="438"/>
                  </a:lnTo>
                  <a:lnTo>
                    <a:pt x="255" y="440"/>
                  </a:lnTo>
                  <a:lnTo>
                    <a:pt x="241" y="439"/>
                  </a:lnTo>
                  <a:lnTo>
                    <a:pt x="172" y="425"/>
                  </a:lnTo>
                  <a:lnTo>
                    <a:pt x="156" y="424"/>
                  </a:lnTo>
                  <a:lnTo>
                    <a:pt x="99" y="429"/>
                  </a:lnTo>
                  <a:lnTo>
                    <a:pt x="73" y="438"/>
                  </a:lnTo>
                  <a:lnTo>
                    <a:pt x="59" y="440"/>
                  </a:lnTo>
                  <a:lnTo>
                    <a:pt x="50" y="442"/>
                  </a:lnTo>
                  <a:lnTo>
                    <a:pt x="40" y="442"/>
                  </a:lnTo>
                  <a:lnTo>
                    <a:pt x="28" y="439"/>
                  </a:lnTo>
                  <a:lnTo>
                    <a:pt x="18" y="434"/>
                  </a:lnTo>
                  <a:lnTo>
                    <a:pt x="12" y="430"/>
                  </a:lnTo>
                  <a:lnTo>
                    <a:pt x="0" y="404"/>
                  </a:lnTo>
                  <a:lnTo>
                    <a:pt x="12" y="405"/>
                  </a:lnTo>
                  <a:lnTo>
                    <a:pt x="16" y="404"/>
                  </a:lnTo>
                  <a:lnTo>
                    <a:pt x="20" y="402"/>
                  </a:lnTo>
                  <a:lnTo>
                    <a:pt x="23" y="398"/>
                  </a:lnTo>
                  <a:lnTo>
                    <a:pt x="44" y="363"/>
                  </a:lnTo>
                  <a:lnTo>
                    <a:pt x="59" y="348"/>
                  </a:lnTo>
                  <a:lnTo>
                    <a:pt x="66" y="343"/>
                  </a:lnTo>
                  <a:lnTo>
                    <a:pt x="67" y="341"/>
                  </a:lnTo>
                  <a:lnTo>
                    <a:pt x="67" y="337"/>
                  </a:lnTo>
                  <a:lnTo>
                    <a:pt x="67" y="334"/>
                  </a:lnTo>
                  <a:lnTo>
                    <a:pt x="69" y="329"/>
                  </a:lnTo>
                  <a:lnTo>
                    <a:pt x="73" y="325"/>
                  </a:lnTo>
                  <a:lnTo>
                    <a:pt x="81" y="315"/>
                  </a:lnTo>
                  <a:lnTo>
                    <a:pt x="89" y="309"/>
                  </a:lnTo>
                  <a:lnTo>
                    <a:pt x="102" y="300"/>
                  </a:lnTo>
                  <a:lnTo>
                    <a:pt x="109" y="298"/>
                  </a:lnTo>
                  <a:lnTo>
                    <a:pt x="117" y="298"/>
                  </a:lnTo>
                  <a:lnTo>
                    <a:pt x="138" y="304"/>
                  </a:lnTo>
                  <a:lnTo>
                    <a:pt x="160" y="307"/>
                  </a:lnTo>
                  <a:lnTo>
                    <a:pt x="169" y="310"/>
                  </a:lnTo>
                  <a:lnTo>
                    <a:pt x="182" y="313"/>
                  </a:lnTo>
                  <a:lnTo>
                    <a:pt x="190" y="313"/>
                  </a:lnTo>
                  <a:lnTo>
                    <a:pt x="195" y="314"/>
                  </a:lnTo>
                  <a:lnTo>
                    <a:pt x="202" y="316"/>
                  </a:lnTo>
                  <a:lnTo>
                    <a:pt x="206" y="320"/>
                  </a:lnTo>
                  <a:lnTo>
                    <a:pt x="216" y="329"/>
                  </a:lnTo>
                  <a:lnTo>
                    <a:pt x="221" y="333"/>
                  </a:lnTo>
                  <a:lnTo>
                    <a:pt x="225" y="335"/>
                  </a:lnTo>
                  <a:lnTo>
                    <a:pt x="231" y="334"/>
                  </a:lnTo>
                  <a:lnTo>
                    <a:pt x="235" y="332"/>
                  </a:lnTo>
                  <a:lnTo>
                    <a:pt x="246" y="323"/>
                  </a:lnTo>
                  <a:lnTo>
                    <a:pt x="257" y="311"/>
                  </a:lnTo>
                  <a:lnTo>
                    <a:pt x="280" y="282"/>
                  </a:lnTo>
                  <a:lnTo>
                    <a:pt x="301" y="258"/>
                  </a:lnTo>
                  <a:lnTo>
                    <a:pt x="311" y="244"/>
                  </a:lnTo>
                  <a:lnTo>
                    <a:pt x="316" y="238"/>
                  </a:lnTo>
                  <a:lnTo>
                    <a:pt x="338" y="223"/>
                  </a:lnTo>
                  <a:lnTo>
                    <a:pt x="345" y="221"/>
                  </a:lnTo>
                  <a:lnTo>
                    <a:pt x="350" y="220"/>
                  </a:lnTo>
                  <a:lnTo>
                    <a:pt x="361" y="222"/>
                  </a:lnTo>
                  <a:lnTo>
                    <a:pt x="367" y="222"/>
                  </a:lnTo>
                  <a:lnTo>
                    <a:pt x="377" y="221"/>
                  </a:lnTo>
                  <a:lnTo>
                    <a:pt x="384" y="218"/>
                  </a:lnTo>
                  <a:lnTo>
                    <a:pt x="389" y="214"/>
                  </a:lnTo>
                  <a:lnTo>
                    <a:pt x="392" y="209"/>
                  </a:lnTo>
                  <a:lnTo>
                    <a:pt x="393" y="200"/>
                  </a:lnTo>
                  <a:lnTo>
                    <a:pt x="393" y="191"/>
                  </a:lnTo>
                  <a:lnTo>
                    <a:pt x="388" y="180"/>
                  </a:lnTo>
                  <a:lnTo>
                    <a:pt x="369" y="158"/>
                  </a:lnTo>
                  <a:lnTo>
                    <a:pt x="366" y="152"/>
                  </a:lnTo>
                  <a:lnTo>
                    <a:pt x="363" y="144"/>
                  </a:lnTo>
                  <a:lnTo>
                    <a:pt x="358" y="123"/>
                  </a:lnTo>
                  <a:lnTo>
                    <a:pt x="355" y="117"/>
                  </a:lnTo>
                  <a:lnTo>
                    <a:pt x="335" y="81"/>
                  </a:lnTo>
                  <a:lnTo>
                    <a:pt x="334" y="75"/>
                  </a:lnTo>
                  <a:lnTo>
                    <a:pt x="335" y="70"/>
                  </a:lnTo>
                  <a:lnTo>
                    <a:pt x="341" y="67"/>
                  </a:lnTo>
                  <a:lnTo>
                    <a:pt x="348" y="65"/>
                  </a:lnTo>
                  <a:lnTo>
                    <a:pt x="360" y="65"/>
                  </a:lnTo>
                  <a:lnTo>
                    <a:pt x="365" y="63"/>
                  </a:lnTo>
                  <a:lnTo>
                    <a:pt x="369" y="61"/>
                  </a:lnTo>
                  <a:lnTo>
                    <a:pt x="376" y="55"/>
                  </a:lnTo>
                  <a:lnTo>
                    <a:pt x="379" y="47"/>
                  </a:lnTo>
                  <a:lnTo>
                    <a:pt x="381" y="37"/>
                  </a:lnTo>
                  <a:lnTo>
                    <a:pt x="380" y="25"/>
                  </a:lnTo>
                  <a:lnTo>
                    <a:pt x="381" y="0"/>
                  </a:lnTo>
                  <a:lnTo>
                    <a:pt x="390" y="4"/>
                  </a:lnTo>
                  <a:lnTo>
                    <a:pt x="403" y="9"/>
                  </a:lnTo>
                  <a:lnTo>
                    <a:pt x="428" y="11"/>
                  </a:lnTo>
                  <a:lnTo>
                    <a:pt x="436" y="12"/>
                  </a:lnTo>
                  <a:lnTo>
                    <a:pt x="442" y="16"/>
                  </a:lnTo>
                  <a:lnTo>
                    <a:pt x="453" y="27"/>
                  </a:lnTo>
                  <a:lnTo>
                    <a:pt x="483" y="47"/>
                  </a:lnTo>
                  <a:lnTo>
                    <a:pt x="504" y="64"/>
                  </a:lnTo>
                  <a:lnTo>
                    <a:pt x="520" y="83"/>
                  </a:lnTo>
                  <a:lnTo>
                    <a:pt x="537" y="114"/>
                  </a:lnTo>
                  <a:lnTo>
                    <a:pt x="564" y="147"/>
                  </a:lnTo>
                  <a:lnTo>
                    <a:pt x="579" y="186"/>
                  </a:lnTo>
                  <a:lnTo>
                    <a:pt x="579" y="192"/>
                  </a:lnTo>
                  <a:lnTo>
                    <a:pt x="577" y="211"/>
                  </a:lnTo>
                  <a:lnTo>
                    <a:pt x="579" y="223"/>
                  </a:lnTo>
                  <a:lnTo>
                    <a:pt x="582" y="235"/>
                  </a:lnTo>
                  <a:lnTo>
                    <a:pt x="589" y="245"/>
                  </a:lnTo>
                  <a:lnTo>
                    <a:pt x="615" y="249"/>
                  </a:lnTo>
                  <a:lnTo>
                    <a:pt x="620" y="255"/>
                  </a:lnTo>
                  <a:lnTo>
                    <a:pt x="628" y="260"/>
                  </a:lnTo>
                  <a:lnTo>
                    <a:pt x="641" y="263"/>
                  </a:lnTo>
                  <a:lnTo>
                    <a:pt x="653" y="264"/>
                  </a:lnTo>
                  <a:lnTo>
                    <a:pt x="677" y="270"/>
                  </a:lnTo>
                  <a:lnTo>
                    <a:pt x="707" y="287"/>
                  </a:lnTo>
                  <a:lnTo>
                    <a:pt x="735" y="306"/>
                  </a:lnTo>
                  <a:lnTo>
                    <a:pt x="766" y="323"/>
                  </a:lnTo>
                  <a:lnTo>
                    <a:pt x="774" y="329"/>
                  </a:lnTo>
                  <a:lnTo>
                    <a:pt x="785" y="343"/>
                  </a:lnTo>
                  <a:lnTo>
                    <a:pt x="802" y="35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F1F1A317-15ED-48C8-33DE-579D342A9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2144" y="2486154"/>
              <a:ext cx="1392941" cy="2194580"/>
            </a:xfrm>
            <a:custGeom>
              <a:avLst/>
              <a:gdLst>
                <a:gd name="T0" fmla="*/ 190 w 947"/>
                <a:gd name="T1" fmla="*/ 1333 h 1492"/>
                <a:gd name="T2" fmla="*/ 238 w 947"/>
                <a:gd name="T3" fmla="*/ 1468 h 1492"/>
                <a:gd name="T4" fmla="*/ 320 w 947"/>
                <a:gd name="T5" fmla="*/ 1398 h 1492"/>
                <a:gd name="T6" fmla="*/ 364 w 947"/>
                <a:gd name="T7" fmla="*/ 1318 h 1492"/>
                <a:gd name="T8" fmla="*/ 427 w 947"/>
                <a:gd name="T9" fmla="*/ 1265 h 1492"/>
                <a:gd name="T10" fmla="*/ 516 w 947"/>
                <a:gd name="T11" fmla="*/ 1142 h 1492"/>
                <a:gd name="T12" fmla="*/ 458 w 947"/>
                <a:gd name="T13" fmla="*/ 1215 h 1492"/>
                <a:gd name="T14" fmla="*/ 903 w 947"/>
                <a:gd name="T15" fmla="*/ 888 h 1492"/>
                <a:gd name="T16" fmla="*/ 710 w 947"/>
                <a:gd name="T17" fmla="*/ 710 h 1492"/>
                <a:gd name="T18" fmla="*/ 588 w 947"/>
                <a:gd name="T19" fmla="*/ 696 h 1492"/>
                <a:gd name="T20" fmla="*/ 515 w 947"/>
                <a:gd name="T21" fmla="*/ 567 h 1492"/>
                <a:gd name="T22" fmla="*/ 451 w 947"/>
                <a:gd name="T23" fmla="*/ 464 h 1492"/>
                <a:gd name="T24" fmla="*/ 494 w 947"/>
                <a:gd name="T25" fmla="*/ 337 h 1492"/>
                <a:gd name="T26" fmla="*/ 544 w 947"/>
                <a:gd name="T27" fmla="*/ 230 h 1492"/>
                <a:gd name="T28" fmla="*/ 569 w 947"/>
                <a:gd name="T29" fmla="*/ 209 h 1492"/>
                <a:gd name="T30" fmla="*/ 600 w 947"/>
                <a:gd name="T31" fmla="*/ 179 h 1492"/>
                <a:gd name="T32" fmla="*/ 644 w 947"/>
                <a:gd name="T33" fmla="*/ 143 h 1492"/>
                <a:gd name="T34" fmla="*/ 676 w 947"/>
                <a:gd name="T35" fmla="*/ 81 h 1492"/>
                <a:gd name="T36" fmla="*/ 663 w 947"/>
                <a:gd name="T37" fmla="*/ 0 h 1492"/>
                <a:gd name="T38" fmla="*/ 520 w 947"/>
                <a:gd name="T39" fmla="*/ 73 h 1492"/>
                <a:gd name="T40" fmla="*/ 497 w 947"/>
                <a:gd name="T41" fmla="*/ 118 h 1492"/>
                <a:gd name="T42" fmla="*/ 405 w 947"/>
                <a:gd name="T43" fmla="*/ 205 h 1492"/>
                <a:gd name="T44" fmla="*/ 378 w 947"/>
                <a:gd name="T45" fmla="*/ 185 h 1492"/>
                <a:gd name="T46" fmla="*/ 328 w 947"/>
                <a:gd name="T47" fmla="*/ 299 h 1492"/>
                <a:gd name="T48" fmla="*/ 272 w 947"/>
                <a:gd name="T49" fmla="*/ 378 h 1492"/>
                <a:gd name="T50" fmla="*/ 229 w 947"/>
                <a:gd name="T51" fmla="*/ 431 h 1492"/>
                <a:gd name="T52" fmla="*/ 173 w 947"/>
                <a:gd name="T53" fmla="*/ 494 h 1492"/>
                <a:gd name="T54" fmla="*/ 211 w 947"/>
                <a:gd name="T55" fmla="*/ 527 h 1492"/>
                <a:gd name="T56" fmla="*/ 167 w 947"/>
                <a:gd name="T57" fmla="*/ 576 h 1492"/>
                <a:gd name="T58" fmla="*/ 127 w 947"/>
                <a:gd name="T59" fmla="*/ 590 h 1492"/>
                <a:gd name="T60" fmla="*/ 78 w 947"/>
                <a:gd name="T61" fmla="*/ 638 h 1492"/>
                <a:gd name="T62" fmla="*/ 46 w 947"/>
                <a:gd name="T63" fmla="*/ 673 h 1492"/>
                <a:gd name="T64" fmla="*/ 220 w 947"/>
                <a:gd name="T65" fmla="*/ 853 h 1492"/>
                <a:gd name="T66" fmla="*/ 50 w 947"/>
                <a:gd name="T67" fmla="*/ 1193 h 1492"/>
                <a:gd name="T68" fmla="*/ 149 w 947"/>
                <a:gd name="T69" fmla="*/ 1255 h 1492"/>
                <a:gd name="T70" fmla="*/ 176 w 947"/>
                <a:gd name="T71" fmla="*/ 1214 h 1492"/>
                <a:gd name="T72" fmla="*/ 208 w 947"/>
                <a:gd name="T73" fmla="*/ 1200 h 1492"/>
                <a:gd name="T74" fmla="*/ 347 w 947"/>
                <a:gd name="T75" fmla="*/ 1002 h 1492"/>
                <a:gd name="T76" fmla="*/ 383 w 947"/>
                <a:gd name="T77" fmla="*/ 1007 h 1492"/>
                <a:gd name="T78" fmla="*/ 336 w 947"/>
                <a:gd name="T79" fmla="*/ 1087 h 1492"/>
                <a:gd name="T80" fmla="*/ 410 w 947"/>
                <a:gd name="T81" fmla="*/ 1097 h 1492"/>
                <a:gd name="T82" fmla="*/ 362 w 947"/>
                <a:gd name="T83" fmla="*/ 1101 h 1492"/>
                <a:gd name="T84" fmla="*/ 334 w 947"/>
                <a:gd name="T85" fmla="*/ 1174 h 1492"/>
                <a:gd name="T86" fmla="*/ 414 w 947"/>
                <a:gd name="T87" fmla="*/ 1164 h 1492"/>
                <a:gd name="T88" fmla="*/ 430 w 947"/>
                <a:gd name="T89" fmla="*/ 883 h 1492"/>
                <a:gd name="T90" fmla="*/ 476 w 947"/>
                <a:gd name="T91" fmla="*/ 808 h 1492"/>
                <a:gd name="T92" fmla="*/ 477 w 947"/>
                <a:gd name="T93" fmla="*/ 837 h 1492"/>
                <a:gd name="T94" fmla="*/ 453 w 947"/>
                <a:gd name="T95" fmla="*/ 891 h 1492"/>
                <a:gd name="T96" fmla="*/ 465 w 947"/>
                <a:gd name="T97" fmla="*/ 943 h 1492"/>
                <a:gd name="T98" fmla="*/ 504 w 947"/>
                <a:gd name="T99" fmla="*/ 1101 h 1492"/>
                <a:gd name="T100" fmla="*/ 541 w 947"/>
                <a:gd name="T101" fmla="*/ 1189 h 1492"/>
                <a:gd name="T102" fmla="*/ 453 w 947"/>
                <a:gd name="T103" fmla="*/ 1388 h 1492"/>
                <a:gd name="T104" fmla="*/ 438 w 947"/>
                <a:gd name="T105" fmla="*/ 1480 h 1492"/>
                <a:gd name="T106" fmla="*/ 568 w 947"/>
                <a:gd name="T107" fmla="*/ 1415 h 1492"/>
                <a:gd name="T108" fmla="*/ 724 w 947"/>
                <a:gd name="T109" fmla="*/ 1175 h 1492"/>
                <a:gd name="T110" fmla="*/ 721 w 947"/>
                <a:gd name="T111" fmla="*/ 1117 h 1492"/>
                <a:gd name="T112" fmla="*/ 747 w 947"/>
                <a:gd name="T113" fmla="*/ 1053 h 1492"/>
                <a:gd name="T114" fmla="*/ 789 w 947"/>
                <a:gd name="T115" fmla="*/ 985 h 1492"/>
                <a:gd name="T116" fmla="*/ 939 w 947"/>
                <a:gd name="T117" fmla="*/ 929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7" h="1492">
                  <a:moveTo>
                    <a:pt x="353" y="1223"/>
                  </a:moveTo>
                  <a:lnTo>
                    <a:pt x="323" y="1223"/>
                  </a:lnTo>
                  <a:lnTo>
                    <a:pt x="309" y="1228"/>
                  </a:lnTo>
                  <a:lnTo>
                    <a:pt x="272" y="1246"/>
                  </a:lnTo>
                  <a:lnTo>
                    <a:pt x="232" y="1258"/>
                  </a:lnTo>
                  <a:lnTo>
                    <a:pt x="222" y="1265"/>
                  </a:lnTo>
                  <a:lnTo>
                    <a:pt x="212" y="1292"/>
                  </a:lnTo>
                  <a:lnTo>
                    <a:pt x="190" y="1333"/>
                  </a:lnTo>
                  <a:lnTo>
                    <a:pt x="188" y="1343"/>
                  </a:lnTo>
                  <a:lnTo>
                    <a:pt x="185" y="1423"/>
                  </a:lnTo>
                  <a:lnTo>
                    <a:pt x="181" y="1447"/>
                  </a:lnTo>
                  <a:lnTo>
                    <a:pt x="185" y="1462"/>
                  </a:lnTo>
                  <a:lnTo>
                    <a:pt x="195" y="1466"/>
                  </a:lnTo>
                  <a:lnTo>
                    <a:pt x="210" y="1471"/>
                  </a:lnTo>
                  <a:lnTo>
                    <a:pt x="227" y="1472"/>
                  </a:lnTo>
                  <a:lnTo>
                    <a:pt x="238" y="1468"/>
                  </a:lnTo>
                  <a:lnTo>
                    <a:pt x="252" y="1461"/>
                  </a:lnTo>
                  <a:lnTo>
                    <a:pt x="275" y="1463"/>
                  </a:lnTo>
                  <a:lnTo>
                    <a:pt x="286" y="1448"/>
                  </a:lnTo>
                  <a:lnTo>
                    <a:pt x="291" y="1438"/>
                  </a:lnTo>
                  <a:lnTo>
                    <a:pt x="300" y="1428"/>
                  </a:lnTo>
                  <a:lnTo>
                    <a:pt x="300" y="1413"/>
                  </a:lnTo>
                  <a:lnTo>
                    <a:pt x="309" y="1402"/>
                  </a:lnTo>
                  <a:lnTo>
                    <a:pt x="320" y="1398"/>
                  </a:lnTo>
                  <a:lnTo>
                    <a:pt x="324" y="1387"/>
                  </a:lnTo>
                  <a:lnTo>
                    <a:pt x="333" y="1372"/>
                  </a:lnTo>
                  <a:lnTo>
                    <a:pt x="340" y="1356"/>
                  </a:lnTo>
                  <a:lnTo>
                    <a:pt x="348" y="1344"/>
                  </a:lnTo>
                  <a:lnTo>
                    <a:pt x="349" y="1344"/>
                  </a:lnTo>
                  <a:lnTo>
                    <a:pt x="354" y="1338"/>
                  </a:lnTo>
                  <a:lnTo>
                    <a:pt x="360" y="1327"/>
                  </a:lnTo>
                  <a:lnTo>
                    <a:pt x="364" y="1318"/>
                  </a:lnTo>
                  <a:lnTo>
                    <a:pt x="366" y="1313"/>
                  </a:lnTo>
                  <a:lnTo>
                    <a:pt x="376" y="1305"/>
                  </a:lnTo>
                  <a:lnTo>
                    <a:pt x="378" y="1298"/>
                  </a:lnTo>
                  <a:lnTo>
                    <a:pt x="412" y="1284"/>
                  </a:lnTo>
                  <a:lnTo>
                    <a:pt x="419" y="1278"/>
                  </a:lnTo>
                  <a:lnTo>
                    <a:pt x="423" y="1274"/>
                  </a:lnTo>
                  <a:lnTo>
                    <a:pt x="425" y="1270"/>
                  </a:lnTo>
                  <a:lnTo>
                    <a:pt x="427" y="1265"/>
                  </a:lnTo>
                  <a:lnTo>
                    <a:pt x="428" y="1259"/>
                  </a:lnTo>
                  <a:lnTo>
                    <a:pt x="400" y="1253"/>
                  </a:lnTo>
                  <a:lnTo>
                    <a:pt x="353" y="1223"/>
                  </a:lnTo>
                  <a:close/>
                  <a:moveTo>
                    <a:pt x="458" y="1215"/>
                  </a:moveTo>
                  <a:lnTo>
                    <a:pt x="475" y="1205"/>
                  </a:lnTo>
                  <a:lnTo>
                    <a:pt x="478" y="1176"/>
                  </a:lnTo>
                  <a:lnTo>
                    <a:pt x="502" y="1164"/>
                  </a:lnTo>
                  <a:lnTo>
                    <a:pt x="516" y="1142"/>
                  </a:lnTo>
                  <a:lnTo>
                    <a:pt x="507" y="1128"/>
                  </a:lnTo>
                  <a:lnTo>
                    <a:pt x="491" y="1122"/>
                  </a:lnTo>
                  <a:lnTo>
                    <a:pt x="484" y="1104"/>
                  </a:lnTo>
                  <a:lnTo>
                    <a:pt x="466" y="1137"/>
                  </a:lnTo>
                  <a:lnTo>
                    <a:pt x="452" y="1174"/>
                  </a:lnTo>
                  <a:lnTo>
                    <a:pt x="442" y="1199"/>
                  </a:lnTo>
                  <a:lnTo>
                    <a:pt x="445" y="1214"/>
                  </a:lnTo>
                  <a:lnTo>
                    <a:pt x="458" y="1215"/>
                  </a:lnTo>
                  <a:close/>
                  <a:moveTo>
                    <a:pt x="945" y="882"/>
                  </a:moveTo>
                  <a:lnTo>
                    <a:pt x="939" y="877"/>
                  </a:lnTo>
                  <a:lnTo>
                    <a:pt x="933" y="877"/>
                  </a:lnTo>
                  <a:lnTo>
                    <a:pt x="926" y="881"/>
                  </a:lnTo>
                  <a:lnTo>
                    <a:pt x="922" y="884"/>
                  </a:lnTo>
                  <a:lnTo>
                    <a:pt x="918" y="888"/>
                  </a:lnTo>
                  <a:lnTo>
                    <a:pt x="910" y="888"/>
                  </a:lnTo>
                  <a:lnTo>
                    <a:pt x="903" y="888"/>
                  </a:lnTo>
                  <a:lnTo>
                    <a:pt x="876" y="882"/>
                  </a:lnTo>
                  <a:lnTo>
                    <a:pt x="841" y="851"/>
                  </a:lnTo>
                  <a:lnTo>
                    <a:pt x="791" y="767"/>
                  </a:lnTo>
                  <a:lnTo>
                    <a:pt x="783" y="759"/>
                  </a:lnTo>
                  <a:lnTo>
                    <a:pt x="763" y="743"/>
                  </a:lnTo>
                  <a:lnTo>
                    <a:pt x="755" y="738"/>
                  </a:lnTo>
                  <a:lnTo>
                    <a:pt x="740" y="730"/>
                  </a:lnTo>
                  <a:lnTo>
                    <a:pt x="710" y="710"/>
                  </a:lnTo>
                  <a:lnTo>
                    <a:pt x="697" y="703"/>
                  </a:lnTo>
                  <a:lnTo>
                    <a:pt x="683" y="702"/>
                  </a:lnTo>
                  <a:lnTo>
                    <a:pt x="670" y="703"/>
                  </a:lnTo>
                  <a:lnTo>
                    <a:pt x="636" y="715"/>
                  </a:lnTo>
                  <a:lnTo>
                    <a:pt x="613" y="720"/>
                  </a:lnTo>
                  <a:lnTo>
                    <a:pt x="598" y="716"/>
                  </a:lnTo>
                  <a:lnTo>
                    <a:pt x="593" y="711"/>
                  </a:lnTo>
                  <a:lnTo>
                    <a:pt x="588" y="696"/>
                  </a:lnTo>
                  <a:lnTo>
                    <a:pt x="573" y="668"/>
                  </a:lnTo>
                  <a:lnTo>
                    <a:pt x="565" y="645"/>
                  </a:lnTo>
                  <a:lnTo>
                    <a:pt x="560" y="637"/>
                  </a:lnTo>
                  <a:lnTo>
                    <a:pt x="543" y="615"/>
                  </a:lnTo>
                  <a:lnTo>
                    <a:pt x="536" y="604"/>
                  </a:lnTo>
                  <a:lnTo>
                    <a:pt x="532" y="590"/>
                  </a:lnTo>
                  <a:lnTo>
                    <a:pt x="525" y="576"/>
                  </a:lnTo>
                  <a:lnTo>
                    <a:pt x="515" y="567"/>
                  </a:lnTo>
                  <a:lnTo>
                    <a:pt x="461" y="539"/>
                  </a:lnTo>
                  <a:lnTo>
                    <a:pt x="457" y="533"/>
                  </a:lnTo>
                  <a:lnTo>
                    <a:pt x="455" y="527"/>
                  </a:lnTo>
                  <a:lnTo>
                    <a:pt x="454" y="517"/>
                  </a:lnTo>
                  <a:lnTo>
                    <a:pt x="455" y="509"/>
                  </a:lnTo>
                  <a:lnTo>
                    <a:pt x="458" y="497"/>
                  </a:lnTo>
                  <a:lnTo>
                    <a:pt x="460" y="493"/>
                  </a:lnTo>
                  <a:lnTo>
                    <a:pt x="451" y="464"/>
                  </a:lnTo>
                  <a:lnTo>
                    <a:pt x="450" y="456"/>
                  </a:lnTo>
                  <a:lnTo>
                    <a:pt x="453" y="414"/>
                  </a:lnTo>
                  <a:lnTo>
                    <a:pt x="455" y="406"/>
                  </a:lnTo>
                  <a:lnTo>
                    <a:pt x="465" y="376"/>
                  </a:lnTo>
                  <a:lnTo>
                    <a:pt x="468" y="370"/>
                  </a:lnTo>
                  <a:lnTo>
                    <a:pt x="477" y="358"/>
                  </a:lnTo>
                  <a:lnTo>
                    <a:pt x="489" y="345"/>
                  </a:lnTo>
                  <a:lnTo>
                    <a:pt x="494" y="337"/>
                  </a:lnTo>
                  <a:lnTo>
                    <a:pt x="532" y="267"/>
                  </a:lnTo>
                  <a:lnTo>
                    <a:pt x="534" y="260"/>
                  </a:lnTo>
                  <a:lnTo>
                    <a:pt x="535" y="254"/>
                  </a:lnTo>
                  <a:lnTo>
                    <a:pt x="535" y="240"/>
                  </a:lnTo>
                  <a:lnTo>
                    <a:pt x="536" y="235"/>
                  </a:lnTo>
                  <a:lnTo>
                    <a:pt x="539" y="233"/>
                  </a:lnTo>
                  <a:lnTo>
                    <a:pt x="541" y="231"/>
                  </a:lnTo>
                  <a:lnTo>
                    <a:pt x="544" y="230"/>
                  </a:lnTo>
                  <a:lnTo>
                    <a:pt x="552" y="228"/>
                  </a:lnTo>
                  <a:lnTo>
                    <a:pt x="555" y="227"/>
                  </a:lnTo>
                  <a:lnTo>
                    <a:pt x="557" y="223"/>
                  </a:lnTo>
                  <a:lnTo>
                    <a:pt x="558" y="216"/>
                  </a:lnTo>
                  <a:lnTo>
                    <a:pt x="559" y="213"/>
                  </a:lnTo>
                  <a:lnTo>
                    <a:pt x="562" y="210"/>
                  </a:lnTo>
                  <a:lnTo>
                    <a:pt x="565" y="210"/>
                  </a:lnTo>
                  <a:lnTo>
                    <a:pt x="569" y="209"/>
                  </a:lnTo>
                  <a:lnTo>
                    <a:pt x="573" y="207"/>
                  </a:lnTo>
                  <a:lnTo>
                    <a:pt x="575" y="203"/>
                  </a:lnTo>
                  <a:lnTo>
                    <a:pt x="578" y="198"/>
                  </a:lnTo>
                  <a:lnTo>
                    <a:pt x="579" y="190"/>
                  </a:lnTo>
                  <a:lnTo>
                    <a:pt x="582" y="185"/>
                  </a:lnTo>
                  <a:lnTo>
                    <a:pt x="586" y="183"/>
                  </a:lnTo>
                  <a:lnTo>
                    <a:pt x="596" y="182"/>
                  </a:lnTo>
                  <a:lnTo>
                    <a:pt x="600" y="179"/>
                  </a:lnTo>
                  <a:lnTo>
                    <a:pt x="607" y="169"/>
                  </a:lnTo>
                  <a:lnTo>
                    <a:pt x="614" y="161"/>
                  </a:lnTo>
                  <a:lnTo>
                    <a:pt x="617" y="157"/>
                  </a:lnTo>
                  <a:lnTo>
                    <a:pt x="621" y="153"/>
                  </a:lnTo>
                  <a:lnTo>
                    <a:pt x="627" y="151"/>
                  </a:lnTo>
                  <a:lnTo>
                    <a:pt x="634" y="150"/>
                  </a:lnTo>
                  <a:lnTo>
                    <a:pt x="639" y="148"/>
                  </a:lnTo>
                  <a:lnTo>
                    <a:pt x="644" y="143"/>
                  </a:lnTo>
                  <a:lnTo>
                    <a:pt x="647" y="136"/>
                  </a:lnTo>
                  <a:lnTo>
                    <a:pt x="651" y="113"/>
                  </a:lnTo>
                  <a:lnTo>
                    <a:pt x="653" y="107"/>
                  </a:lnTo>
                  <a:lnTo>
                    <a:pt x="657" y="100"/>
                  </a:lnTo>
                  <a:lnTo>
                    <a:pt x="661" y="94"/>
                  </a:lnTo>
                  <a:lnTo>
                    <a:pt x="666" y="91"/>
                  </a:lnTo>
                  <a:lnTo>
                    <a:pt x="672" y="88"/>
                  </a:lnTo>
                  <a:lnTo>
                    <a:pt x="676" y="81"/>
                  </a:lnTo>
                  <a:lnTo>
                    <a:pt x="675" y="78"/>
                  </a:lnTo>
                  <a:lnTo>
                    <a:pt x="673" y="73"/>
                  </a:lnTo>
                  <a:lnTo>
                    <a:pt x="673" y="66"/>
                  </a:lnTo>
                  <a:lnTo>
                    <a:pt x="684" y="37"/>
                  </a:lnTo>
                  <a:lnTo>
                    <a:pt x="687" y="15"/>
                  </a:lnTo>
                  <a:lnTo>
                    <a:pt x="683" y="6"/>
                  </a:lnTo>
                  <a:lnTo>
                    <a:pt x="674" y="0"/>
                  </a:lnTo>
                  <a:lnTo>
                    <a:pt x="663" y="0"/>
                  </a:lnTo>
                  <a:lnTo>
                    <a:pt x="639" y="2"/>
                  </a:lnTo>
                  <a:lnTo>
                    <a:pt x="618" y="9"/>
                  </a:lnTo>
                  <a:lnTo>
                    <a:pt x="574" y="15"/>
                  </a:lnTo>
                  <a:lnTo>
                    <a:pt x="564" y="20"/>
                  </a:lnTo>
                  <a:lnTo>
                    <a:pt x="556" y="24"/>
                  </a:lnTo>
                  <a:lnTo>
                    <a:pt x="549" y="29"/>
                  </a:lnTo>
                  <a:lnTo>
                    <a:pt x="523" y="65"/>
                  </a:lnTo>
                  <a:lnTo>
                    <a:pt x="520" y="73"/>
                  </a:lnTo>
                  <a:lnTo>
                    <a:pt x="518" y="81"/>
                  </a:lnTo>
                  <a:lnTo>
                    <a:pt x="515" y="88"/>
                  </a:lnTo>
                  <a:lnTo>
                    <a:pt x="504" y="94"/>
                  </a:lnTo>
                  <a:lnTo>
                    <a:pt x="501" y="98"/>
                  </a:lnTo>
                  <a:lnTo>
                    <a:pt x="500" y="103"/>
                  </a:lnTo>
                  <a:lnTo>
                    <a:pt x="501" y="109"/>
                  </a:lnTo>
                  <a:lnTo>
                    <a:pt x="500" y="113"/>
                  </a:lnTo>
                  <a:lnTo>
                    <a:pt x="497" y="118"/>
                  </a:lnTo>
                  <a:lnTo>
                    <a:pt x="494" y="125"/>
                  </a:lnTo>
                  <a:lnTo>
                    <a:pt x="490" y="131"/>
                  </a:lnTo>
                  <a:lnTo>
                    <a:pt x="480" y="141"/>
                  </a:lnTo>
                  <a:lnTo>
                    <a:pt x="469" y="159"/>
                  </a:lnTo>
                  <a:lnTo>
                    <a:pt x="462" y="168"/>
                  </a:lnTo>
                  <a:lnTo>
                    <a:pt x="427" y="196"/>
                  </a:lnTo>
                  <a:lnTo>
                    <a:pt x="417" y="202"/>
                  </a:lnTo>
                  <a:lnTo>
                    <a:pt x="405" y="205"/>
                  </a:lnTo>
                  <a:lnTo>
                    <a:pt x="399" y="203"/>
                  </a:lnTo>
                  <a:lnTo>
                    <a:pt x="395" y="202"/>
                  </a:lnTo>
                  <a:lnTo>
                    <a:pt x="384" y="203"/>
                  </a:lnTo>
                  <a:lnTo>
                    <a:pt x="379" y="202"/>
                  </a:lnTo>
                  <a:lnTo>
                    <a:pt x="378" y="198"/>
                  </a:lnTo>
                  <a:lnTo>
                    <a:pt x="380" y="192"/>
                  </a:lnTo>
                  <a:lnTo>
                    <a:pt x="380" y="188"/>
                  </a:lnTo>
                  <a:lnTo>
                    <a:pt x="378" y="185"/>
                  </a:lnTo>
                  <a:lnTo>
                    <a:pt x="374" y="189"/>
                  </a:lnTo>
                  <a:lnTo>
                    <a:pt x="367" y="195"/>
                  </a:lnTo>
                  <a:lnTo>
                    <a:pt x="363" y="205"/>
                  </a:lnTo>
                  <a:lnTo>
                    <a:pt x="359" y="220"/>
                  </a:lnTo>
                  <a:lnTo>
                    <a:pt x="353" y="234"/>
                  </a:lnTo>
                  <a:lnTo>
                    <a:pt x="348" y="255"/>
                  </a:lnTo>
                  <a:lnTo>
                    <a:pt x="334" y="291"/>
                  </a:lnTo>
                  <a:lnTo>
                    <a:pt x="328" y="299"/>
                  </a:lnTo>
                  <a:lnTo>
                    <a:pt x="302" y="320"/>
                  </a:lnTo>
                  <a:lnTo>
                    <a:pt x="287" y="326"/>
                  </a:lnTo>
                  <a:lnTo>
                    <a:pt x="280" y="333"/>
                  </a:lnTo>
                  <a:lnTo>
                    <a:pt x="275" y="343"/>
                  </a:lnTo>
                  <a:lnTo>
                    <a:pt x="274" y="356"/>
                  </a:lnTo>
                  <a:lnTo>
                    <a:pt x="276" y="372"/>
                  </a:lnTo>
                  <a:lnTo>
                    <a:pt x="275" y="375"/>
                  </a:lnTo>
                  <a:lnTo>
                    <a:pt x="272" y="378"/>
                  </a:lnTo>
                  <a:lnTo>
                    <a:pt x="257" y="383"/>
                  </a:lnTo>
                  <a:lnTo>
                    <a:pt x="246" y="389"/>
                  </a:lnTo>
                  <a:lnTo>
                    <a:pt x="242" y="390"/>
                  </a:lnTo>
                  <a:lnTo>
                    <a:pt x="238" y="392"/>
                  </a:lnTo>
                  <a:lnTo>
                    <a:pt x="235" y="398"/>
                  </a:lnTo>
                  <a:lnTo>
                    <a:pt x="232" y="405"/>
                  </a:lnTo>
                  <a:lnTo>
                    <a:pt x="229" y="423"/>
                  </a:lnTo>
                  <a:lnTo>
                    <a:pt x="229" y="431"/>
                  </a:lnTo>
                  <a:lnTo>
                    <a:pt x="230" y="439"/>
                  </a:lnTo>
                  <a:lnTo>
                    <a:pt x="233" y="447"/>
                  </a:lnTo>
                  <a:lnTo>
                    <a:pt x="241" y="457"/>
                  </a:lnTo>
                  <a:lnTo>
                    <a:pt x="241" y="463"/>
                  </a:lnTo>
                  <a:lnTo>
                    <a:pt x="237" y="468"/>
                  </a:lnTo>
                  <a:lnTo>
                    <a:pt x="215" y="483"/>
                  </a:lnTo>
                  <a:lnTo>
                    <a:pt x="173" y="489"/>
                  </a:lnTo>
                  <a:lnTo>
                    <a:pt x="173" y="494"/>
                  </a:lnTo>
                  <a:lnTo>
                    <a:pt x="177" y="500"/>
                  </a:lnTo>
                  <a:lnTo>
                    <a:pt x="184" y="507"/>
                  </a:lnTo>
                  <a:lnTo>
                    <a:pt x="193" y="515"/>
                  </a:lnTo>
                  <a:lnTo>
                    <a:pt x="199" y="518"/>
                  </a:lnTo>
                  <a:lnTo>
                    <a:pt x="206" y="519"/>
                  </a:lnTo>
                  <a:lnTo>
                    <a:pt x="210" y="521"/>
                  </a:lnTo>
                  <a:lnTo>
                    <a:pt x="211" y="524"/>
                  </a:lnTo>
                  <a:lnTo>
                    <a:pt x="211" y="527"/>
                  </a:lnTo>
                  <a:lnTo>
                    <a:pt x="210" y="532"/>
                  </a:lnTo>
                  <a:lnTo>
                    <a:pt x="211" y="539"/>
                  </a:lnTo>
                  <a:lnTo>
                    <a:pt x="218" y="558"/>
                  </a:lnTo>
                  <a:lnTo>
                    <a:pt x="215" y="565"/>
                  </a:lnTo>
                  <a:lnTo>
                    <a:pt x="206" y="568"/>
                  </a:lnTo>
                  <a:lnTo>
                    <a:pt x="180" y="566"/>
                  </a:lnTo>
                  <a:lnTo>
                    <a:pt x="170" y="571"/>
                  </a:lnTo>
                  <a:lnTo>
                    <a:pt x="167" y="576"/>
                  </a:lnTo>
                  <a:lnTo>
                    <a:pt x="163" y="577"/>
                  </a:lnTo>
                  <a:lnTo>
                    <a:pt x="158" y="573"/>
                  </a:lnTo>
                  <a:lnTo>
                    <a:pt x="153" y="569"/>
                  </a:lnTo>
                  <a:lnTo>
                    <a:pt x="149" y="567"/>
                  </a:lnTo>
                  <a:lnTo>
                    <a:pt x="143" y="569"/>
                  </a:lnTo>
                  <a:lnTo>
                    <a:pt x="138" y="574"/>
                  </a:lnTo>
                  <a:lnTo>
                    <a:pt x="131" y="585"/>
                  </a:lnTo>
                  <a:lnTo>
                    <a:pt x="127" y="590"/>
                  </a:lnTo>
                  <a:lnTo>
                    <a:pt x="117" y="593"/>
                  </a:lnTo>
                  <a:lnTo>
                    <a:pt x="111" y="596"/>
                  </a:lnTo>
                  <a:lnTo>
                    <a:pt x="103" y="603"/>
                  </a:lnTo>
                  <a:lnTo>
                    <a:pt x="98" y="609"/>
                  </a:lnTo>
                  <a:lnTo>
                    <a:pt x="94" y="617"/>
                  </a:lnTo>
                  <a:lnTo>
                    <a:pt x="89" y="624"/>
                  </a:lnTo>
                  <a:lnTo>
                    <a:pt x="84" y="631"/>
                  </a:lnTo>
                  <a:lnTo>
                    <a:pt x="78" y="638"/>
                  </a:lnTo>
                  <a:lnTo>
                    <a:pt x="77" y="645"/>
                  </a:lnTo>
                  <a:lnTo>
                    <a:pt x="77" y="651"/>
                  </a:lnTo>
                  <a:lnTo>
                    <a:pt x="76" y="656"/>
                  </a:lnTo>
                  <a:lnTo>
                    <a:pt x="75" y="660"/>
                  </a:lnTo>
                  <a:lnTo>
                    <a:pt x="74" y="665"/>
                  </a:lnTo>
                  <a:lnTo>
                    <a:pt x="71" y="669"/>
                  </a:lnTo>
                  <a:lnTo>
                    <a:pt x="65" y="671"/>
                  </a:lnTo>
                  <a:lnTo>
                    <a:pt x="46" y="673"/>
                  </a:lnTo>
                  <a:lnTo>
                    <a:pt x="17" y="672"/>
                  </a:lnTo>
                  <a:lnTo>
                    <a:pt x="24" y="701"/>
                  </a:lnTo>
                  <a:lnTo>
                    <a:pt x="43" y="733"/>
                  </a:lnTo>
                  <a:lnTo>
                    <a:pt x="78" y="753"/>
                  </a:lnTo>
                  <a:lnTo>
                    <a:pt x="130" y="766"/>
                  </a:lnTo>
                  <a:lnTo>
                    <a:pt x="170" y="790"/>
                  </a:lnTo>
                  <a:lnTo>
                    <a:pt x="194" y="813"/>
                  </a:lnTo>
                  <a:lnTo>
                    <a:pt x="220" y="853"/>
                  </a:lnTo>
                  <a:lnTo>
                    <a:pt x="219" y="911"/>
                  </a:lnTo>
                  <a:lnTo>
                    <a:pt x="208" y="980"/>
                  </a:lnTo>
                  <a:lnTo>
                    <a:pt x="178" y="1025"/>
                  </a:lnTo>
                  <a:lnTo>
                    <a:pt x="145" y="1044"/>
                  </a:lnTo>
                  <a:lnTo>
                    <a:pt x="88" y="1058"/>
                  </a:lnTo>
                  <a:lnTo>
                    <a:pt x="48" y="1088"/>
                  </a:lnTo>
                  <a:lnTo>
                    <a:pt x="0" y="1134"/>
                  </a:lnTo>
                  <a:lnTo>
                    <a:pt x="50" y="1193"/>
                  </a:lnTo>
                  <a:lnTo>
                    <a:pt x="76" y="1209"/>
                  </a:lnTo>
                  <a:lnTo>
                    <a:pt x="81" y="1210"/>
                  </a:lnTo>
                  <a:lnTo>
                    <a:pt x="93" y="1213"/>
                  </a:lnTo>
                  <a:lnTo>
                    <a:pt x="98" y="1214"/>
                  </a:lnTo>
                  <a:lnTo>
                    <a:pt x="102" y="1217"/>
                  </a:lnTo>
                  <a:lnTo>
                    <a:pt x="111" y="1226"/>
                  </a:lnTo>
                  <a:lnTo>
                    <a:pt x="120" y="1231"/>
                  </a:lnTo>
                  <a:lnTo>
                    <a:pt x="149" y="1255"/>
                  </a:lnTo>
                  <a:lnTo>
                    <a:pt x="177" y="1266"/>
                  </a:lnTo>
                  <a:lnTo>
                    <a:pt x="192" y="1268"/>
                  </a:lnTo>
                  <a:lnTo>
                    <a:pt x="198" y="1262"/>
                  </a:lnTo>
                  <a:lnTo>
                    <a:pt x="199" y="1247"/>
                  </a:lnTo>
                  <a:lnTo>
                    <a:pt x="199" y="1240"/>
                  </a:lnTo>
                  <a:lnTo>
                    <a:pt x="197" y="1234"/>
                  </a:lnTo>
                  <a:lnTo>
                    <a:pt x="179" y="1216"/>
                  </a:lnTo>
                  <a:lnTo>
                    <a:pt x="176" y="1214"/>
                  </a:lnTo>
                  <a:lnTo>
                    <a:pt x="173" y="1201"/>
                  </a:lnTo>
                  <a:lnTo>
                    <a:pt x="176" y="1189"/>
                  </a:lnTo>
                  <a:lnTo>
                    <a:pt x="182" y="1184"/>
                  </a:lnTo>
                  <a:lnTo>
                    <a:pt x="192" y="1189"/>
                  </a:lnTo>
                  <a:lnTo>
                    <a:pt x="195" y="1193"/>
                  </a:lnTo>
                  <a:lnTo>
                    <a:pt x="198" y="1197"/>
                  </a:lnTo>
                  <a:lnTo>
                    <a:pt x="202" y="1200"/>
                  </a:lnTo>
                  <a:lnTo>
                    <a:pt x="208" y="1200"/>
                  </a:lnTo>
                  <a:lnTo>
                    <a:pt x="215" y="1196"/>
                  </a:lnTo>
                  <a:lnTo>
                    <a:pt x="219" y="1190"/>
                  </a:lnTo>
                  <a:lnTo>
                    <a:pt x="224" y="1181"/>
                  </a:lnTo>
                  <a:lnTo>
                    <a:pt x="246" y="1171"/>
                  </a:lnTo>
                  <a:lnTo>
                    <a:pt x="267" y="1150"/>
                  </a:lnTo>
                  <a:lnTo>
                    <a:pt x="312" y="1086"/>
                  </a:lnTo>
                  <a:lnTo>
                    <a:pt x="341" y="1011"/>
                  </a:lnTo>
                  <a:lnTo>
                    <a:pt x="347" y="1002"/>
                  </a:lnTo>
                  <a:lnTo>
                    <a:pt x="354" y="997"/>
                  </a:lnTo>
                  <a:lnTo>
                    <a:pt x="361" y="997"/>
                  </a:lnTo>
                  <a:lnTo>
                    <a:pt x="375" y="998"/>
                  </a:lnTo>
                  <a:lnTo>
                    <a:pt x="380" y="996"/>
                  </a:lnTo>
                  <a:lnTo>
                    <a:pt x="387" y="988"/>
                  </a:lnTo>
                  <a:lnTo>
                    <a:pt x="390" y="986"/>
                  </a:lnTo>
                  <a:lnTo>
                    <a:pt x="397" y="985"/>
                  </a:lnTo>
                  <a:lnTo>
                    <a:pt x="383" y="1007"/>
                  </a:lnTo>
                  <a:lnTo>
                    <a:pt x="378" y="1011"/>
                  </a:lnTo>
                  <a:lnTo>
                    <a:pt x="371" y="1014"/>
                  </a:lnTo>
                  <a:lnTo>
                    <a:pt x="363" y="1017"/>
                  </a:lnTo>
                  <a:lnTo>
                    <a:pt x="358" y="1020"/>
                  </a:lnTo>
                  <a:lnTo>
                    <a:pt x="354" y="1027"/>
                  </a:lnTo>
                  <a:lnTo>
                    <a:pt x="352" y="1044"/>
                  </a:lnTo>
                  <a:lnTo>
                    <a:pt x="339" y="1072"/>
                  </a:lnTo>
                  <a:lnTo>
                    <a:pt x="336" y="1087"/>
                  </a:lnTo>
                  <a:lnTo>
                    <a:pt x="340" y="1097"/>
                  </a:lnTo>
                  <a:lnTo>
                    <a:pt x="350" y="1093"/>
                  </a:lnTo>
                  <a:lnTo>
                    <a:pt x="363" y="1087"/>
                  </a:lnTo>
                  <a:lnTo>
                    <a:pt x="378" y="1085"/>
                  </a:lnTo>
                  <a:lnTo>
                    <a:pt x="393" y="1100"/>
                  </a:lnTo>
                  <a:lnTo>
                    <a:pt x="403" y="1103"/>
                  </a:lnTo>
                  <a:lnTo>
                    <a:pt x="405" y="1089"/>
                  </a:lnTo>
                  <a:lnTo>
                    <a:pt x="410" y="1097"/>
                  </a:lnTo>
                  <a:lnTo>
                    <a:pt x="411" y="1103"/>
                  </a:lnTo>
                  <a:lnTo>
                    <a:pt x="408" y="1109"/>
                  </a:lnTo>
                  <a:lnTo>
                    <a:pt x="401" y="1113"/>
                  </a:lnTo>
                  <a:lnTo>
                    <a:pt x="393" y="1112"/>
                  </a:lnTo>
                  <a:lnTo>
                    <a:pt x="388" y="1108"/>
                  </a:lnTo>
                  <a:lnTo>
                    <a:pt x="385" y="1101"/>
                  </a:lnTo>
                  <a:lnTo>
                    <a:pt x="380" y="1099"/>
                  </a:lnTo>
                  <a:lnTo>
                    <a:pt x="362" y="1101"/>
                  </a:lnTo>
                  <a:lnTo>
                    <a:pt x="356" y="1106"/>
                  </a:lnTo>
                  <a:lnTo>
                    <a:pt x="352" y="1116"/>
                  </a:lnTo>
                  <a:lnTo>
                    <a:pt x="346" y="1130"/>
                  </a:lnTo>
                  <a:lnTo>
                    <a:pt x="326" y="1144"/>
                  </a:lnTo>
                  <a:lnTo>
                    <a:pt x="318" y="1154"/>
                  </a:lnTo>
                  <a:lnTo>
                    <a:pt x="321" y="1166"/>
                  </a:lnTo>
                  <a:lnTo>
                    <a:pt x="330" y="1173"/>
                  </a:lnTo>
                  <a:lnTo>
                    <a:pt x="334" y="1174"/>
                  </a:lnTo>
                  <a:lnTo>
                    <a:pt x="348" y="1173"/>
                  </a:lnTo>
                  <a:lnTo>
                    <a:pt x="353" y="1174"/>
                  </a:lnTo>
                  <a:lnTo>
                    <a:pt x="358" y="1183"/>
                  </a:lnTo>
                  <a:lnTo>
                    <a:pt x="364" y="1187"/>
                  </a:lnTo>
                  <a:lnTo>
                    <a:pt x="374" y="1184"/>
                  </a:lnTo>
                  <a:lnTo>
                    <a:pt x="397" y="1171"/>
                  </a:lnTo>
                  <a:lnTo>
                    <a:pt x="408" y="1167"/>
                  </a:lnTo>
                  <a:lnTo>
                    <a:pt x="414" y="1164"/>
                  </a:lnTo>
                  <a:lnTo>
                    <a:pt x="432" y="1143"/>
                  </a:lnTo>
                  <a:lnTo>
                    <a:pt x="438" y="1136"/>
                  </a:lnTo>
                  <a:lnTo>
                    <a:pt x="444" y="1109"/>
                  </a:lnTo>
                  <a:lnTo>
                    <a:pt x="455" y="978"/>
                  </a:lnTo>
                  <a:lnTo>
                    <a:pt x="453" y="958"/>
                  </a:lnTo>
                  <a:lnTo>
                    <a:pt x="434" y="922"/>
                  </a:lnTo>
                  <a:lnTo>
                    <a:pt x="429" y="903"/>
                  </a:lnTo>
                  <a:lnTo>
                    <a:pt x="430" y="883"/>
                  </a:lnTo>
                  <a:lnTo>
                    <a:pt x="436" y="856"/>
                  </a:lnTo>
                  <a:lnTo>
                    <a:pt x="441" y="840"/>
                  </a:lnTo>
                  <a:lnTo>
                    <a:pt x="442" y="834"/>
                  </a:lnTo>
                  <a:lnTo>
                    <a:pt x="448" y="829"/>
                  </a:lnTo>
                  <a:lnTo>
                    <a:pt x="469" y="828"/>
                  </a:lnTo>
                  <a:lnTo>
                    <a:pt x="474" y="826"/>
                  </a:lnTo>
                  <a:lnTo>
                    <a:pt x="475" y="814"/>
                  </a:lnTo>
                  <a:lnTo>
                    <a:pt x="476" y="808"/>
                  </a:lnTo>
                  <a:lnTo>
                    <a:pt x="480" y="805"/>
                  </a:lnTo>
                  <a:lnTo>
                    <a:pt x="520" y="782"/>
                  </a:lnTo>
                  <a:lnTo>
                    <a:pt x="515" y="797"/>
                  </a:lnTo>
                  <a:lnTo>
                    <a:pt x="504" y="804"/>
                  </a:lnTo>
                  <a:lnTo>
                    <a:pt x="493" y="810"/>
                  </a:lnTo>
                  <a:lnTo>
                    <a:pt x="488" y="817"/>
                  </a:lnTo>
                  <a:lnTo>
                    <a:pt x="484" y="832"/>
                  </a:lnTo>
                  <a:lnTo>
                    <a:pt x="477" y="837"/>
                  </a:lnTo>
                  <a:lnTo>
                    <a:pt x="466" y="840"/>
                  </a:lnTo>
                  <a:lnTo>
                    <a:pt x="455" y="851"/>
                  </a:lnTo>
                  <a:lnTo>
                    <a:pt x="461" y="859"/>
                  </a:lnTo>
                  <a:lnTo>
                    <a:pt x="460" y="866"/>
                  </a:lnTo>
                  <a:lnTo>
                    <a:pt x="455" y="871"/>
                  </a:lnTo>
                  <a:lnTo>
                    <a:pt x="452" y="879"/>
                  </a:lnTo>
                  <a:lnTo>
                    <a:pt x="451" y="886"/>
                  </a:lnTo>
                  <a:lnTo>
                    <a:pt x="453" y="891"/>
                  </a:lnTo>
                  <a:lnTo>
                    <a:pt x="455" y="894"/>
                  </a:lnTo>
                  <a:lnTo>
                    <a:pt x="455" y="899"/>
                  </a:lnTo>
                  <a:lnTo>
                    <a:pt x="457" y="901"/>
                  </a:lnTo>
                  <a:lnTo>
                    <a:pt x="466" y="912"/>
                  </a:lnTo>
                  <a:lnTo>
                    <a:pt x="467" y="916"/>
                  </a:lnTo>
                  <a:lnTo>
                    <a:pt x="470" y="919"/>
                  </a:lnTo>
                  <a:lnTo>
                    <a:pt x="469" y="929"/>
                  </a:lnTo>
                  <a:lnTo>
                    <a:pt x="465" y="943"/>
                  </a:lnTo>
                  <a:lnTo>
                    <a:pt x="466" y="951"/>
                  </a:lnTo>
                  <a:lnTo>
                    <a:pt x="470" y="983"/>
                  </a:lnTo>
                  <a:lnTo>
                    <a:pt x="469" y="1022"/>
                  </a:lnTo>
                  <a:lnTo>
                    <a:pt x="470" y="1032"/>
                  </a:lnTo>
                  <a:lnTo>
                    <a:pt x="475" y="1039"/>
                  </a:lnTo>
                  <a:lnTo>
                    <a:pt x="483" y="1053"/>
                  </a:lnTo>
                  <a:lnTo>
                    <a:pt x="496" y="1089"/>
                  </a:lnTo>
                  <a:lnTo>
                    <a:pt x="504" y="1101"/>
                  </a:lnTo>
                  <a:lnTo>
                    <a:pt x="509" y="1104"/>
                  </a:lnTo>
                  <a:lnTo>
                    <a:pt x="517" y="1104"/>
                  </a:lnTo>
                  <a:lnTo>
                    <a:pt x="532" y="1103"/>
                  </a:lnTo>
                  <a:lnTo>
                    <a:pt x="534" y="1108"/>
                  </a:lnTo>
                  <a:lnTo>
                    <a:pt x="543" y="1130"/>
                  </a:lnTo>
                  <a:lnTo>
                    <a:pt x="547" y="1161"/>
                  </a:lnTo>
                  <a:lnTo>
                    <a:pt x="546" y="1177"/>
                  </a:lnTo>
                  <a:lnTo>
                    <a:pt x="541" y="1189"/>
                  </a:lnTo>
                  <a:lnTo>
                    <a:pt x="520" y="1209"/>
                  </a:lnTo>
                  <a:lnTo>
                    <a:pt x="513" y="1220"/>
                  </a:lnTo>
                  <a:lnTo>
                    <a:pt x="499" y="1260"/>
                  </a:lnTo>
                  <a:lnTo>
                    <a:pt x="496" y="1275"/>
                  </a:lnTo>
                  <a:lnTo>
                    <a:pt x="490" y="1290"/>
                  </a:lnTo>
                  <a:lnTo>
                    <a:pt x="488" y="1294"/>
                  </a:lnTo>
                  <a:lnTo>
                    <a:pt x="474" y="1320"/>
                  </a:lnTo>
                  <a:lnTo>
                    <a:pt x="453" y="1388"/>
                  </a:lnTo>
                  <a:lnTo>
                    <a:pt x="452" y="1400"/>
                  </a:lnTo>
                  <a:lnTo>
                    <a:pt x="443" y="1426"/>
                  </a:lnTo>
                  <a:lnTo>
                    <a:pt x="440" y="1441"/>
                  </a:lnTo>
                  <a:lnTo>
                    <a:pt x="447" y="1453"/>
                  </a:lnTo>
                  <a:lnTo>
                    <a:pt x="441" y="1466"/>
                  </a:lnTo>
                  <a:lnTo>
                    <a:pt x="432" y="1479"/>
                  </a:lnTo>
                  <a:lnTo>
                    <a:pt x="434" y="1479"/>
                  </a:lnTo>
                  <a:lnTo>
                    <a:pt x="438" y="1480"/>
                  </a:lnTo>
                  <a:lnTo>
                    <a:pt x="490" y="1482"/>
                  </a:lnTo>
                  <a:lnTo>
                    <a:pt x="496" y="1485"/>
                  </a:lnTo>
                  <a:lnTo>
                    <a:pt x="523" y="1492"/>
                  </a:lnTo>
                  <a:lnTo>
                    <a:pt x="525" y="1479"/>
                  </a:lnTo>
                  <a:lnTo>
                    <a:pt x="527" y="1474"/>
                  </a:lnTo>
                  <a:lnTo>
                    <a:pt x="531" y="1465"/>
                  </a:lnTo>
                  <a:lnTo>
                    <a:pt x="568" y="1421"/>
                  </a:lnTo>
                  <a:lnTo>
                    <a:pt x="568" y="1415"/>
                  </a:lnTo>
                  <a:lnTo>
                    <a:pt x="567" y="1396"/>
                  </a:lnTo>
                  <a:lnTo>
                    <a:pt x="562" y="1377"/>
                  </a:lnTo>
                  <a:lnTo>
                    <a:pt x="561" y="1365"/>
                  </a:lnTo>
                  <a:lnTo>
                    <a:pt x="565" y="1348"/>
                  </a:lnTo>
                  <a:lnTo>
                    <a:pt x="570" y="1332"/>
                  </a:lnTo>
                  <a:lnTo>
                    <a:pt x="717" y="1179"/>
                  </a:lnTo>
                  <a:lnTo>
                    <a:pt x="720" y="1177"/>
                  </a:lnTo>
                  <a:lnTo>
                    <a:pt x="724" y="1175"/>
                  </a:lnTo>
                  <a:lnTo>
                    <a:pt x="728" y="1171"/>
                  </a:lnTo>
                  <a:lnTo>
                    <a:pt x="734" y="1166"/>
                  </a:lnTo>
                  <a:lnTo>
                    <a:pt x="749" y="1151"/>
                  </a:lnTo>
                  <a:lnTo>
                    <a:pt x="752" y="1144"/>
                  </a:lnTo>
                  <a:lnTo>
                    <a:pt x="753" y="1137"/>
                  </a:lnTo>
                  <a:lnTo>
                    <a:pt x="748" y="1129"/>
                  </a:lnTo>
                  <a:lnTo>
                    <a:pt x="740" y="1112"/>
                  </a:lnTo>
                  <a:lnTo>
                    <a:pt x="721" y="1117"/>
                  </a:lnTo>
                  <a:lnTo>
                    <a:pt x="704" y="1126"/>
                  </a:lnTo>
                  <a:lnTo>
                    <a:pt x="695" y="1125"/>
                  </a:lnTo>
                  <a:lnTo>
                    <a:pt x="689" y="1119"/>
                  </a:lnTo>
                  <a:lnTo>
                    <a:pt x="688" y="1111"/>
                  </a:lnTo>
                  <a:lnTo>
                    <a:pt x="726" y="1076"/>
                  </a:lnTo>
                  <a:lnTo>
                    <a:pt x="748" y="1061"/>
                  </a:lnTo>
                  <a:lnTo>
                    <a:pt x="749" y="1058"/>
                  </a:lnTo>
                  <a:lnTo>
                    <a:pt x="747" y="1053"/>
                  </a:lnTo>
                  <a:lnTo>
                    <a:pt x="744" y="1048"/>
                  </a:lnTo>
                  <a:lnTo>
                    <a:pt x="744" y="1043"/>
                  </a:lnTo>
                  <a:lnTo>
                    <a:pt x="748" y="1037"/>
                  </a:lnTo>
                  <a:lnTo>
                    <a:pt x="748" y="1021"/>
                  </a:lnTo>
                  <a:lnTo>
                    <a:pt x="754" y="1012"/>
                  </a:lnTo>
                  <a:lnTo>
                    <a:pt x="761" y="1005"/>
                  </a:lnTo>
                  <a:lnTo>
                    <a:pt x="779" y="991"/>
                  </a:lnTo>
                  <a:lnTo>
                    <a:pt x="789" y="985"/>
                  </a:lnTo>
                  <a:lnTo>
                    <a:pt x="796" y="982"/>
                  </a:lnTo>
                  <a:lnTo>
                    <a:pt x="876" y="968"/>
                  </a:lnTo>
                  <a:lnTo>
                    <a:pt x="889" y="963"/>
                  </a:lnTo>
                  <a:lnTo>
                    <a:pt x="904" y="958"/>
                  </a:lnTo>
                  <a:lnTo>
                    <a:pt x="920" y="949"/>
                  </a:lnTo>
                  <a:lnTo>
                    <a:pt x="929" y="942"/>
                  </a:lnTo>
                  <a:lnTo>
                    <a:pt x="936" y="934"/>
                  </a:lnTo>
                  <a:lnTo>
                    <a:pt x="939" y="929"/>
                  </a:lnTo>
                  <a:lnTo>
                    <a:pt x="946" y="916"/>
                  </a:lnTo>
                  <a:lnTo>
                    <a:pt x="947" y="888"/>
                  </a:lnTo>
                  <a:lnTo>
                    <a:pt x="945" y="88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7680F066-BF1C-EBC5-1885-D426DDD01C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545" y="1616853"/>
              <a:ext cx="1387129" cy="1179660"/>
            </a:xfrm>
            <a:custGeom>
              <a:avLst/>
              <a:gdLst>
                <a:gd name="T0" fmla="*/ 1554 w 1618"/>
                <a:gd name="T1" fmla="*/ 898 h 1376"/>
                <a:gd name="T2" fmla="*/ 1479 w 1618"/>
                <a:gd name="T3" fmla="*/ 949 h 1376"/>
                <a:gd name="T4" fmla="*/ 1384 w 1618"/>
                <a:gd name="T5" fmla="*/ 1028 h 1376"/>
                <a:gd name="T6" fmla="*/ 1403 w 1618"/>
                <a:gd name="T7" fmla="*/ 1066 h 1376"/>
                <a:gd name="T8" fmla="*/ 1487 w 1618"/>
                <a:gd name="T9" fmla="*/ 1063 h 1376"/>
                <a:gd name="T10" fmla="*/ 1543 w 1618"/>
                <a:gd name="T11" fmla="*/ 993 h 1376"/>
                <a:gd name="T12" fmla="*/ 621 w 1618"/>
                <a:gd name="T13" fmla="*/ 46 h 1376"/>
                <a:gd name="T14" fmla="*/ 762 w 1618"/>
                <a:gd name="T15" fmla="*/ 240 h 1376"/>
                <a:gd name="T16" fmla="*/ 830 w 1618"/>
                <a:gd name="T17" fmla="*/ 249 h 1376"/>
                <a:gd name="T18" fmla="*/ 781 w 1618"/>
                <a:gd name="T19" fmla="*/ 195 h 1376"/>
                <a:gd name="T20" fmla="*/ 175 w 1618"/>
                <a:gd name="T21" fmla="*/ 745 h 1376"/>
                <a:gd name="T22" fmla="*/ 144 w 1618"/>
                <a:gd name="T23" fmla="*/ 610 h 1376"/>
                <a:gd name="T24" fmla="*/ 0 w 1618"/>
                <a:gd name="T25" fmla="*/ 636 h 1376"/>
                <a:gd name="T26" fmla="*/ 40 w 1618"/>
                <a:gd name="T27" fmla="*/ 738 h 1376"/>
                <a:gd name="T28" fmla="*/ 89 w 1618"/>
                <a:gd name="T29" fmla="*/ 754 h 1376"/>
                <a:gd name="T30" fmla="*/ 1337 w 1618"/>
                <a:gd name="T31" fmla="*/ 1336 h 1376"/>
                <a:gd name="T32" fmla="*/ 1377 w 1618"/>
                <a:gd name="T33" fmla="*/ 1355 h 1376"/>
                <a:gd name="T34" fmla="*/ 958 w 1618"/>
                <a:gd name="T35" fmla="*/ 777 h 1376"/>
                <a:gd name="T36" fmla="*/ 865 w 1618"/>
                <a:gd name="T37" fmla="*/ 775 h 1376"/>
                <a:gd name="T38" fmla="*/ 811 w 1618"/>
                <a:gd name="T39" fmla="*/ 781 h 1376"/>
                <a:gd name="T40" fmla="*/ 753 w 1618"/>
                <a:gd name="T41" fmla="*/ 885 h 1376"/>
                <a:gd name="T42" fmla="*/ 816 w 1618"/>
                <a:gd name="T43" fmla="*/ 935 h 1376"/>
                <a:gd name="T44" fmla="*/ 882 w 1618"/>
                <a:gd name="T45" fmla="*/ 959 h 1376"/>
                <a:gd name="T46" fmla="*/ 951 w 1618"/>
                <a:gd name="T47" fmla="*/ 931 h 1376"/>
                <a:gd name="T48" fmla="*/ 993 w 1618"/>
                <a:gd name="T49" fmla="*/ 874 h 1376"/>
                <a:gd name="T50" fmla="*/ 983 w 1618"/>
                <a:gd name="T51" fmla="*/ 798 h 1376"/>
                <a:gd name="T52" fmla="*/ 809 w 1618"/>
                <a:gd name="T53" fmla="*/ 1261 h 1376"/>
                <a:gd name="T54" fmla="*/ 768 w 1618"/>
                <a:gd name="T55" fmla="*/ 1312 h 1376"/>
                <a:gd name="T56" fmla="*/ 855 w 1618"/>
                <a:gd name="T57" fmla="*/ 1321 h 1376"/>
                <a:gd name="T58" fmla="*/ 870 w 1618"/>
                <a:gd name="T59" fmla="*/ 1298 h 1376"/>
                <a:gd name="T60" fmla="*/ 582 w 1618"/>
                <a:gd name="T61" fmla="*/ 930 h 1376"/>
                <a:gd name="T62" fmla="*/ 530 w 1618"/>
                <a:gd name="T63" fmla="*/ 872 h 1376"/>
                <a:gd name="T64" fmla="*/ 471 w 1618"/>
                <a:gd name="T65" fmla="*/ 815 h 1376"/>
                <a:gd name="T66" fmla="*/ 476 w 1618"/>
                <a:gd name="T67" fmla="*/ 732 h 1376"/>
                <a:gd name="T68" fmla="*/ 453 w 1618"/>
                <a:gd name="T69" fmla="*/ 701 h 1376"/>
                <a:gd name="T70" fmla="*/ 364 w 1618"/>
                <a:gd name="T71" fmla="*/ 631 h 1376"/>
                <a:gd name="T72" fmla="*/ 315 w 1618"/>
                <a:gd name="T73" fmla="*/ 473 h 1376"/>
                <a:gd name="T74" fmla="*/ 270 w 1618"/>
                <a:gd name="T75" fmla="*/ 425 h 1376"/>
                <a:gd name="T76" fmla="*/ 233 w 1618"/>
                <a:gd name="T77" fmla="*/ 344 h 1376"/>
                <a:gd name="T78" fmla="*/ 181 w 1618"/>
                <a:gd name="T79" fmla="*/ 356 h 1376"/>
                <a:gd name="T80" fmla="*/ 54 w 1618"/>
                <a:gd name="T81" fmla="*/ 431 h 1376"/>
                <a:gd name="T82" fmla="*/ 85 w 1618"/>
                <a:gd name="T83" fmla="*/ 469 h 1376"/>
                <a:gd name="T84" fmla="*/ 176 w 1618"/>
                <a:gd name="T85" fmla="*/ 496 h 1376"/>
                <a:gd name="T86" fmla="*/ 178 w 1618"/>
                <a:gd name="T87" fmla="*/ 582 h 1376"/>
                <a:gd name="T88" fmla="*/ 263 w 1618"/>
                <a:gd name="T89" fmla="*/ 679 h 1376"/>
                <a:gd name="T90" fmla="*/ 297 w 1618"/>
                <a:gd name="T91" fmla="*/ 738 h 1376"/>
                <a:gd name="T92" fmla="*/ 387 w 1618"/>
                <a:gd name="T93" fmla="*/ 818 h 1376"/>
                <a:gd name="T94" fmla="*/ 358 w 1618"/>
                <a:gd name="T95" fmla="*/ 876 h 1376"/>
                <a:gd name="T96" fmla="*/ 314 w 1618"/>
                <a:gd name="T97" fmla="*/ 888 h 1376"/>
                <a:gd name="T98" fmla="*/ 242 w 1618"/>
                <a:gd name="T99" fmla="*/ 895 h 1376"/>
                <a:gd name="T100" fmla="*/ 113 w 1618"/>
                <a:gd name="T101" fmla="*/ 1037 h 1376"/>
                <a:gd name="T102" fmla="*/ 155 w 1618"/>
                <a:gd name="T103" fmla="*/ 1098 h 1376"/>
                <a:gd name="T104" fmla="*/ 343 w 1618"/>
                <a:gd name="T105" fmla="*/ 1127 h 1376"/>
                <a:gd name="T106" fmla="*/ 505 w 1618"/>
                <a:gd name="T107" fmla="*/ 1076 h 1376"/>
                <a:gd name="T108" fmla="*/ 570 w 1618"/>
                <a:gd name="T109" fmla="*/ 953 h 1376"/>
                <a:gd name="T110" fmla="*/ 750 w 1618"/>
                <a:gd name="T111" fmla="*/ 623 h 1376"/>
                <a:gd name="T112" fmla="*/ 596 w 1618"/>
                <a:gd name="T113" fmla="*/ 540 h 1376"/>
                <a:gd name="T114" fmla="*/ 562 w 1618"/>
                <a:gd name="T115" fmla="*/ 580 h 1376"/>
                <a:gd name="T116" fmla="*/ 599 w 1618"/>
                <a:gd name="T117" fmla="*/ 663 h 1376"/>
                <a:gd name="T118" fmla="*/ 731 w 1618"/>
                <a:gd name="T119" fmla="*/ 667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8" h="1376">
                  <a:moveTo>
                    <a:pt x="1617" y="894"/>
                  </a:moveTo>
                  <a:lnTo>
                    <a:pt x="1608" y="898"/>
                  </a:lnTo>
                  <a:lnTo>
                    <a:pt x="1599" y="902"/>
                  </a:lnTo>
                  <a:lnTo>
                    <a:pt x="1591" y="902"/>
                  </a:lnTo>
                  <a:lnTo>
                    <a:pt x="1582" y="896"/>
                  </a:lnTo>
                  <a:lnTo>
                    <a:pt x="1574" y="893"/>
                  </a:lnTo>
                  <a:lnTo>
                    <a:pt x="1554" y="898"/>
                  </a:lnTo>
                  <a:lnTo>
                    <a:pt x="1543" y="900"/>
                  </a:lnTo>
                  <a:lnTo>
                    <a:pt x="1536" y="906"/>
                  </a:lnTo>
                  <a:lnTo>
                    <a:pt x="1512" y="915"/>
                  </a:lnTo>
                  <a:lnTo>
                    <a:pt x="1507" y="919"/>
                  </a:lnTo>
                  <a:lnTo>
                    <a:pt x="1503" y="926"/>
                  </a:lnTo>
                  <a:lnTo>
                    <a:pt x="1486" y="942"/>
                  </a:lnTo>
                  <a:lnTo>
                    <a:pt x="1479" y="949"/>
                  </a:lnTo>
                  <a:lnTo>
                    <a:pt x="1469" y="971"/>
                  </a:lnTo>
                  <a:lnTo>
                    <a:pt x="1462" y="979"/>
                  </a:lnTo>
                  <a:lnTo>
                    <a:pt x="1434" y="985"/>
                  </a:lnTo>
                  <a:lnTo>
                    <a:pt x="1426" y="986"/>
                  </a:lnTo>
                  <a:lnTo>
                    <a:pt x="1419" y="1009"/>
                  </a:lnTo>
                  <a:lnTo>
                    <a:pt x="1411" y="1017"/>
                  </a:lnTo>
                  <a:lnTo>
                    <a:pt x="1384" y="1028"/>
                  </a:lnTo>
                  <a:lnTo>
                    <a:pt x="1378" y="1034"/>
                  </a:lnTo>
                  <a:lnTo>
                    <a:pt x="1370" y="1044"/>
                  </a:lnTo>
                  <a:lnTo>
                    <a:pt x="1366" y="1051"/>
                  </a:lnTo>
                  <a:lnTo>
                    <a:pt x="1366" y="1058"/>
                  </a:lnTo>
                  <a:lnTo>
                    <a:pt x="1373" y="1060"/>
                  </a:lnTo>
                  <a:lnTo>
                    <a:pt x="1397" y="1064"/>
                  </a:lnTo>
                  <a:lnTo>
                    <a:pt x="1403" y="1066"/>
                  </a:lnTo>
                  <a:lnTo>
                    <a:pt x="1417" y="1076"/>
                  </a:lnTo>
                  <a:lnTo>
                    <a:pt x="1424" y="1078"/>
                  </a:lnTo>
                  <a:lnTo>
                    <a:pt x="1434" y="1076"/>
                  </a:lnTo>
                  <a:lnTo>
                    <a:pt x="1448" y="1066"/>
                  </a:lnTo>
                  <a:lnTo>
                    <a:pt x="1454" y="1064"/>
                  </a:lnTo>
                  <a:lnTo>
                    <a:pt x="1477" y="1064"/>
                  </a:lnTo>
                  <a:lnTo>
                    <a:pt x="1487" y="1063"/>
                  </a:lnTo>
                  <a:lnTo>
                    <a:pt x="1497" y="1060"/>
                  </a:lnTo>
                  <a:lnTo>
                    <a:pt x="1507" y="1053"/>
                  </a:lnTo>
                  <a:lnTo>
                    <a:pt x="1516" y="1044"/>
                  </a:lnTo>
                  <a:lnTo>
                    <a:pt x="1530" y="1023"/>
                  </a:lnTo>
                  <a:lnTo>
                    <a:pt x="1538" y="1004"/>
                  </a:lnTo>
                  <a:lnTo>
                    <a:pt x="1539" y="997"/>
                  </a:lnTo>
                  <a:lnTo>
                    <a:pt x="1543" y="993"/>
                  </a:lnTo>
                  <a:lnTo>
                    <a:pt x="1567" y="986"/>
                  </a:lnTo>
                  <a:lnTo>
                    <a:pt x="1586" y="970"/>
                  </a:lnTo>
                  <a:lnTo>
                    <a:pt x="1606" y="946"/>
                  </a:lnTo>
                  <a:lnTo>
                    <a:pt x="1618" y="919"/>
                  </a:lnTo>
                  <a:lnTo>
                    <a:pt x="1617" y="894"/>
                  </a:lnTo>
                  <a:close/>
                  <a:moveTo>
                    <a:pt x="610" y="66"/>
                  </a:moveTo>
                  <a:lnTo>
                    <a:pt x="621" y="46"/>
                  </a:lnTo>
                  <a:lnTo>
                    <a:pt x="612" y="15"/>
                  </a:lnTo>
                  <a:lnTo>
                    <a:pt x="585" y="0"/>
                  </a:lnTo>
                  <a:lnTo>
                    <a:pt x="580" y="12"/>
                  </a:lnTo>
                  <a:lnTo>
                    <a:pt x="585" y="40"/>
                  </a:lnTo>
                  <a:lnTo>
                    <a:pt x="580" y="54"/>
                  </a:lnTo>
                  <a:lnTo>
                    <a:pt x="610" y="66"/>
                  </a:lnTo>
                  <a:close/>
                  <a:moveTo>
                    <a:pt x="762" y="240"/>
                  </a:moveTo>
                  <a:lnTo>
                    <a:pt x="768" y="245"/>
                  </a:lnTo>
                  <a:lnTo>
                    <a:pt x="775" y="247"/>
                  </a:lnTo>
                  <a:lnTo>
                    <a:pt x="783" y="249"/>
                  </a:lnTo>
                  <a:lnTo>
                    <a:pt x="792" y="258"/>
                  </a:lnTo>
                  <a:lnTo>
                    <a:pt x="801" y="261"/>
                  </a:lnTo>
                  <a:lnTo>
                    <a:pt x="815" y="258"/>
                  </a:lnTo>
                  <a:lnTo>
                    <a:pt x="830" y="249"/>
                  </a:lnTo>
                  <a:lnTo>
                    <a:pt x="842" y="239"/>
                  </a:lnTo>
                  <a:lnTo>
                    <a:pt x="846" y="229"/>
                  </a:lnTo>
                  <a:lnTo>
                    <a:pt x="840" y="216"/>
                  </a:lnTo>
                  <a:lnTo>
                    <a:pt x="827" y="205"/>
                  </a:lnTo>
                  <a:lnTo>
                    <a:pt x="811" y="197"/>
                  </a:lnTo>
                  <a:lnTo>
                    <a:pt x="795" y="193"/>
                  </a:lnTo>
                  <a:lnTo>
                    <a:pt x="781" y="195"/>
                  </a:lnTo>
                  <a:lnTo>
                    <a:pt x="766" y="203"/>
                  </a:lnTo>
                  <a:lnTo>
                    <a:pt x="756" y="214"/>
                  </a:lnTo>
                  <a:lnTo>
                    <a:pt x="754" y="229"/>
                  </a:lnTo>
                  <a:lnTo>
                    <a:pt x="757" y="233"/>
                  </a:lnTo>
                  <a:lnTo>
                    <a:pt x="762" y="240"/>
                  </a:lnTo>
                  <a:close/>
                  <a:moveTo>
                    <a:pt x="128" y="763"/>
                  </a:moveTo>
                  <a:lnTo>
                    <a:pt x="175" y="745"/>
                  </a:lnTo>
                  <a:lnTo>
                    <a:pt x="181" y="740"/>
                  </a:lnTo>
                  <a:lnTo>
                    <a:pt x="181" y="683"/>
                  </a:lnTo>
                  <a:lnTo>
                    <a:pt x="184" y="658"/>
                  </a:lnTo>
                  <a:lnTo>
                    <a:pt x="182" y="644"/>
                  </a:lnTo>
                  <a:lnTo>
                    <a:pt x="174" y="637"/>
                  </a:lnTo>
                  <a:lnTo>
                    <a:pt x="168" y="634"/>
                  </a:lnTo>
                  <a:lnTo>
                    <a:pt x="144" y="610"/>
                  </a:lnTo>
                  <a:lnTo>
                    <a:pt x="137" y="605"/>
                  </a:lnTo>
                  <a:lnTo>
                    <a:pt x="132" y="605"/>
                  </a:lnTo>
                  <a:lnTo>
                    <a:pt x="117" y="610"/>
                  </a:lnTo>
                  <a:lnTo>
                    <a:pt x="86" y="617"/>
                  </a:lnTo>
                  <a:lnTo>
                    <a:pt x="61" y="630"/>
                  </a:lnTo>
                  <a:lnTo>
                    <a:pt x="2" y="629"/>
                  </a:lnTo>
                  <a:lnTo>
                    <a:pt x="0" y="636"/>
                  </a:lnTo>
                  <a:lnTo>
                    <a:pt x="9" y="662"/>
                  </a:lnTo>
                  <a:lnTo>
                    <a:pt x="13" y="693"/>
                  </a:lnTo>
                  <a:lnTo>
                    <a:pt x="19" y="708"/>
                  </a:lnTo>
                  <a:lnTo>
                    <a:pt x="27" y="722"/>
                  </a:lnTo>
                  <a:lnTo>
                    <a:pt x="39" y="734"/>
                  </a:lnTo>
                  <a:lnTo>
                    <a:pt x="40" y="736"/>
                  </a:lnTo>
                  <a:lnTo>
                    <a:pt x="40" y="738"/>
                  </a:lnTo>
                  <a:lnTo>
                    <a:pt x="40" y="740"/>
                  </a:lnTo>
                  <a:lnTo>
                    <a:pt x="44" y="742"/>
                  </a:lnTo>
                  <a:lnTo>
                    <a:pt x="47" y="744"/>
                  </a:lnTo>
                  <a:lnTo>
                    <a:pt x="53" y="742"/>
                  </a:lnTo>
                  <a:lnTo>
                    <a:pt x="57" y="742"/>
                  </a:lnTo>
                  <a:lnTo>
                    <a:pt x="77" y="751"/>
                  </a:lnTo>
                  <a:lnTo>
                    <a:pt x="89" y="754"/>
                  </a:lnTo>
                  <a:lnTo>
                    <a:pt x="103" y="764"/>
                  </a:lnTo>
                  <a:lnTo>
                    <a:pt x="110" y="766"/>
                  </a:lnTo>
                  <a:lnTo>
                    <a:pt x="116" y="765"/>
                  </a:lnTo>
                  <a:lnTo>
                    <a:pt x="128" y="763"/>
                  </a:lnTo>
                  <a:close/>
                  <a:moveTo>
                    <a:pt x="1364" y="1341"/>
                  </a:moveTo>
                  <a:lnTo>
                    <a:pt x="1346" y="1335"/>
                  </a:lnTo>
                  <a:lnTo>
                    <a:pt x="1337" y="1336"/>
                  </a:lnTo>
                  <a:lnTo>
                    <a:pt x="1306" y="1337"/>
                  </a:lnTo>
                  <a:lnTo>
                    <a:pt x="1296" y="1335"/>
                  </a:lnTo>
                  <a:lnTo>
                    <a:pt x="1282" y="1348"/>
                  </a:lnTo>
                  <a:lnTo>
                    <a:pt x="1336" y="1373"/>
                  </a:lnTo>
                  <a:lnTo>
                    <a:pt x="1358" y="1376"/>
                  </a:lnTo>
                  <a:lnTo>
                    <a:pt x="1378" y="1370"/>
                  </a:lnTo>
                  <a:lnTo>
                    <a:pt x="1377" y="1355"/>
                  </a:lnTo>
                  <a:lnTo>
                    <a:pt x="1364" y="1341"/>
                  </a:lnTo>
                  <a:close/>
                  <a:moveTo>
                    <a:pt x="983" y="798"/>
                  </a:moveTo>
                  <a:lnTo>
                    <a:pt x="970" y="794"/>
                  </a:lnTo>
                  <a:lnTo>
                    <a:pt x="963" y="793"/>
                  </a:lnTo>
                  <a:lnTo>
                    <a:pt x="958" y="791"/>
                  </a:lnTo>
                  <a:lnTo>
                    <a:pt x="958" y="785"/>
                  </a:lnTo>
                  <a:lnTo>
                    <a:pt x="958" y="777"/>
                  </a:lnTo>
                  <a:lnTo>
                    <a:pt x="957" y="771"/>
                  </a:lnTo>
                  <a:lnTo>
                    <a:pt x="954" y="767"/>
                  </a:lnTo>
                  <a:lnTo>
                    <a:pt x="950" y="764"/>
                  </a:lnTo>
                  <a:lnTo>
                    <a:pt x="946" y="762"/>
                  </a:lnTo>
                  <a:lnTo>
                    <a:pt x="943" y="761"/>
                  </a:lnTo>
                  <a:lnTo>
                    <a:pt x="928" y="768"/>
                  </a:lnTo>
                  <a:lnTo>
                    <a:pt x="865" y="775"/>
                  </a:lnTo>
                  <a:lnTo>
                    <a:pt x="860" y="777"/>
                  </a:lnTo>
                  <a:lnTo>
                    <a:pt x="853" y="783"/>
                  </a:lnTo>
                  <a:lnTo>
                    <a:pt x="846" y="784"/>
                  </a:lnTo>
                  <a:lnTo>
                    <a:pt x="841" y="784"/>
                  </a:lnTo>
                  <a:lnTo>
                    <a:pt x="826" y="779"/>
                  </a:lnTo>
                  <a:lnTo>
                    <a:pt x="818" y="779"/>
                  </a:lnTo>
                  <a:lnTo>
                    <a:pt x="811" y="781"/>
                  </a:lnTo>
                  <a:lnTo>
                    <a:pt x="792" y="789"/>
                  </a:lnTo>
                  <a:lnTo>
                    <a:pt x="786" y="793"/>
                  </a:lnTo>
                  <a:lnTo>
                    <a:pt x="776" y="805"/>
                  </a:lnTo>
                  <a:lnTo>
                    <a:pt x="766" y="819"/>
                  </a:lnTo>
                  <a:lnTo>
                    <a:pt x="759" y="836"/>
                  </a:lnTo>
                  <a:lnTo>
                    <a:pt x="754" y="853"/>
                  </a:lnTo>
                  <a:lnTo>
                    <a:pt x="753" y="885"/>
                  </a:lnTo>
                  <a:lnTo>
                    <a:pt x="754" y="894"/>
                  </a:lnTo>
                  <a:lnTo>
                    <a:pt x="762" y="901"/>
                  </a:lnTo>
                  <a:lnTo>
                    <a:pt x="774" y="906"/>
                  </a:lnTo>
                  <a:lnTo>
                    <a:pt x="786" y="909"/>
                  </a:lnTo>
                  <a:lnTo>
                    <a:pt x="795" y="908"/>
                  </a:lnTo>
                  <a:lnTo>
                    <a:pt x="802" y="915"/>
                  </a:lnTo>
                  <a:lnTo>
                    <a:pt x="816" y="935"/>
                  </a:lnTo>
                  <a:lnTo>
                    <a:pt x="820" y="940"/>
                  </a:lnTo>
                  <a:lnTo>
                    <a:pt x="825" y="942"/>
                  </a:lnTo>
                  <a:lnTo>
                    <a:pt x="828" y="945"/>
                  </a:lnTo>
                  <a:lnTo>
                    <a:pt x="832" y="948"/>
                  </a:lnTo>
                  <a:lnTo>
                    <a:pt x="846" y="950"/>
                  </a:lnTo>
                  <a:lnTo>
                    <a:pt x="869" y="959"/>
                  </a:lnTo>
                  <a:lnTo>
                    <a:pt x="882" y="959"/>
                  </a:lnTo>
                  <a:lnTo>
                    <a:pt x="893" y="958"/>
                  </a:lnTo>
                  <a:lnTo>
                    <a:pt x="903" y="950"/>
                  </a:lnTo>
                  <a:lnTo>
                    <a:pt x="906" y="937"/>
                  </a:lnTo>
                  <a:lnTo>
                    <a:pt x="909" y="935"/>
                  </a:lnTo>
                  <a:lnTo>
                    <a:pt x="942" y="936"/>
                  </a:lnTo>
                  <a:lnTo>
                    <a:pt x="945" y="935"/>
                  </a:lnTo>
                  <a:lnTo>
                    <a:pt x="951" y="931"/>
                  </a:lnTo>
                  <a:lnTo>
                    <a:pt x="960" y="921"/>
                  </a:lnTo>
                  <a:lnTo>
                    <a:pt x="967" y="908"/>
                  </a:lnTo>
                  <a:lnTo>
                    <a:pt x="975" y="898"/>
                  </a:lnTo>
                  <a:lnTo>
                    <a:pt x="986" y="894"/>
                  </a:lnTo>
                  <a:lnTo>
                    <a:pt x="986" y="890"/>
                  </a:lnTo>
                  <a:lnTo>
                    <a:pt x="991" y="876"/>
                  </a:lnTo>
                  <a:lnTo>
                    <a:pt x="993" y="874"/>
                  </a:lnTo>
                  <a:lnTo>
                    <a:pt x="993" y="866"/>
                  </a:lnTo>
                  <a:lnTo>
                    <a:pt x="988" y="856"/>
                  </a:lnTo>
                  <a:lnTo>
                    <a:pt x="988" y="849"/>
                  </a:lnTo>
                  <a:lnTo>
                    <a:pt x="997" y="820"/>
                  </a:lnTo>
                  <a:lnTo>
                    <a:pt x="998" y="804"/>
                  </a:lnTo>
                  <a:lnTo>
                    <a:pt x="990" y="798"/>
                  </a:lnTo>
                  <a:lnTo>
                    <a:pt x="983" y="798"/>
                  </a:lnTo>
                  <a:close/>
                  <a:moveTo>
                    <a:pt x="869" y="1281"/>
                  </a:moveTo>
                  <a:lnTo>
                    <a:pt x="866" y="1279"/>
                  </a:lnTo>
                  <a:lnTo>
                    <a:pt x="865" y="1278"/>
                  </a:lnTo>
                  <a:lnTo>
                    <a:pt x="857" y="1269"/>
                  </a:lnTo>
                  <a:lnTo>
                    <a:pt x="841" y="1261"/>
                  </a:lnTo>
                  <a:lnTo>
                    <a:pt x="822" y="1258"/>
                  </a:lnTo>
                  <a:lnTo>
                    <a:pt x="809" y="1261"/>
                  </a:lnTo>
                  <a:lnTo>
                    <a:pt x="803" y="1252"/>
                  </a:lnTo>
                  <a:lnTo>
                    <a:pt x="795" y="1256"/>
                  </a:lnTo>
                  <a:lnTo>
                    <a:pt x="789" y="1267"/>
                  </a:lnTo>
                  <a:lnTo>
                    <a:pt x="785" y="1286"/>
                  </a:lnTo>
                  <a:lnTo>
                    <a:pt x="780" y="1296"/>
                  </a:lnTo>
                  <a:lnTo>
                    <a:pt x="775" y="1305"/>
                  </a:lnTo>
                  <a:lnTo>
                    <a:pt x="768" y="1312"/>
                  </a:lnTo>
                  <a:lnTo>
                    <a:pt x="782" y="1320"/>
                  </a:lnTo>
                  <a:lnTo>
                    <a:pt x="791" y="1329"/>
                  </a:lnTo>
                  <a:lnTo>
                    <a:pt x="801" y="1336"/>
                  </a:lnTo>
                  <a:lnTo>
                    <a:pt x="826" y="1339"/>
                  </a:lnTo>
                  <a:lnTo>
                    <a:pt x="830" y="1338"/>
                  </a:lnTo>
                  <a:lnTo>
                    <a:pt x="852" y="1325"/>
                  </a:lnTo>
                  <a:lnTo>
                    <a:pt x="855" y="1321"/>
                  </a:lnTo>
                  <a:lnTo>
                    <a:pt x="856" y="1318"/>
                  </a:lnTo>
                  <a:lnTo>
                    <a:pt x="855" y="1310"/>
                  </a:lnTo>
                  <a:lnTo>
                    <a:pt x="855" y="1307"/>
                  </a:lnTo>
                  <a:lnTo>
                    <a:pt x="858" y="1306"/>
                  </a:lnTo>
                  <a:lnTo>
                    <a:pt x="868" y="1303"/>
                  </a:lnTo>
                  <a:lnTo>
                    <a:pt x="869" y="1300"/>
                  </a:lnTo>
                  <a:lnTo>
                    <a:pt x="870" y="1298"/>
                  </a:lnTo>
                  <a:lnTo>
                    <a:pt x="871" y="1296"/>
                  </a:lnTo>
                  <a:lnTo>
                    <a:pt x="873" y="1294"/>
                  </a:lnTo>
                  <a:lnTo>
                    <a:pt x="873" y="1290"/>
                  </a:lnTo>
                  <a:lnTo>
                    <a:pt x="872" y="1284"/>
                  </a:lnTo>
                  <a:lnTo>
                    <a:pt x="869" y="1281"/>
                  </a:lnTo>
                  <a:close/>
                  <a:moveTo>
                    <a:pt x="586" y="930"/>
                  </a:moveTo>
                  <a:lnTo>
                    <a:pt x="582" y="930"/>
                  </a:lnTo>
                  <a:lnTo>
                    <a:pt x="575" y="927"/>
                  </a:lnTo>
                  <a:lnTo>
                    <a:pt x="553" y="903"/>
                  </a:lnTo>
                  <a:lnTo>
                    <a:pt x="543" y="900"/>
                  </a:lnTo>
                  <a:lnTo>
                    <a:pt x="548" y="890"/>
                  </a:lnTo>
                  <a:lnTo>
                    <a:pt x="544" y="882"/>
                  </a:lnTo>
                  <a:lnTo>
                    <a:pt x="538" y="876"/>
                  </a:lnTo>
                  <a:lnTo>
                    <a:pt x="530" y="872"/>
                  </a:lnTo>
                  <a:lnTo>
                    <a:pt x="520" y="871"/>
                  </a:lnTo>
                  <a:lnTo>
                    <a:pt x="521" y="856"/>
                  </a:lnTo>
                  <a:lnTo>
                    <a:pt x="507" y="849"/>
                  </a:lnTo>
                  <a:lnTo>
                    <a:pt x="479" y="844"/>
                  </a:lnTo>
                  <a:lnTo>
                    <a:pt x="476" y="833"/>
                  </a:lnTo>
                  <a:lnTo>
                    <a:pt x="476" y="822"/>
                  </a:lnTo>
                  <a:lnTo>
                    <a:pt x="471" y="815"/>
                  </a:lnTo>
                  <a:lnTo>
                    <a:pt x="456" y="825"/>
                  </a:lnTo>
                  <a:lnTo>
                    <a:pt x="462" y="815"/>
                  </a:lnTo>
                  <a:lnTo>
                    <a:pt x="480" y="799"/>
                  </a:lnTo>
                  <a:lnTo>
                    <a:pt x="483" y="787"/>
                  </a:lnTo>
                  <a:lnTo>
                    <a:pt x="481" y="759"/>
                  </a:lnTo>
                  <a:lnTo>
                    <a:pt x="475" y="734"/>
                  </a:lnTo>
                  <a:lnTo>
                    <a:pt x="476" y="732"/>
                  </a:lnTo>
                  <a:lnTo>
                    <a:pt x="478" y="728"/>
                  </a:lnTo>
                  <a:lnTo>
                    <a:pt x="479" y="724"/>
                  </a:lnTo>
                  <a:lnTo>
                    <a:pt x="479" y="720"/>
                  </a:lnTo>
                  <a:lnTo>
                    <a:pt x="468" y="718"/>
                  </a:lnTo>
                  <a:lnTo>
                    <a:pt x="465" y="715"/>
                  </a:lnTo>
                  <a:lnTo>
                    <a:pt x="456" y="707"/>
                  </a:lnTo>
                  <a:lnTo>
                    <a:pt x="453" y="701"/>
                  </a:lnTo>
                  <a:lnTo>
                    <a:pt x="451" y="695"/>
                  </a:lnTo>
                  <a:lnTo>
                    <a:pt x="447" y="687"/>
                  </a:lnTo>
                  <a:lnTo>
                    <a:pt x="378" y="644"/>
                  </a:lnTo>
                  <a:lnTo>
                    <a:pt x="376" y="643"/>
                  </a:lnTo>
                  <a:lnTo>
                    <a:pt x="371" y="642"/>
                  </a:lnTo>
                  <a:lnTo>
                    <a:pt x="366" y="638"/>
                  </a:lnTo>
                  <a:lnTo>
                    <a:pt x="364" y="631"/>
                  </a:lnTo>
                  <a:lnTo>
                    <a:pt x="364" y="622"/>
                  </a:lnTo>
                  <a:lnTo>
                    <a:pt x="364" y="619"/>
                  </a:lnTo>
                  <a:lnTo>
                    <a:pt x="361" y="616"/>
                  </a:lnTo>
                  <a:lnTo>
                    <a:pt x="334" y="591"/>
                  </a:lnTo>
                  <a:lnTo>
                    <a:pt x="326" y="579"/>
                  </a:lnTo>
                  <a:lnTo>
                    <a:pt x="313" y="504"/>
                  </a:lnTo>
                  <a:lnTo>
                    <a:pt x="315" y="473"/>
                  </a:lnTo>
                  <a:lnTo>
                    <a:pt x="314" y="456"/>
                  </a:lnTo>
                  <a:lnTo>
                    <a:pt x="310" y="444"/>
                  </a:lnTo>
                  <a:lnTo>
                    <a:pt x="305" y="442"/>
                  </a:lnTo>
                  <a:lnTo>
                    <a:pt x="298" y="440"/>
                  </a:lnTo>
                  <a:lnTo>
                    <a:pt x="284" y="440"/>
                  </a:lnTo>
                  <a:lnTo>
                    <a:pt x="280" y="437"/>
                  </a:lnTo>
                  <a:lnTo>
                    <a:pt x="270" y="425"/>
                  </a:lnTo>
                  <a:lnTo>
                    <a:pt x="266" y="422"/>
                  </a:lnTo>
                  <a:lnTo>
                    <a:pt x="260" y="415"/>
                  </a:lnTo>
                  <a:lnTo>
                    <a:pt x="252" y="387"/>
                  </a:lnTo>
                  <a:lnTo>
                    <a:pt x="243" y="381"/>
                  </a:lnTo>
                  <a:lnTo>
                    <a:pt x="241" y="374"/>
                  </a:lnTo>
                  <a:lnTo>
                    <a:pt x="239" y="360"/>
                  </a:lnTo>
                  <a:lnTo>
                    <a:pt x="233" y="344"/>
                  </a:lnTo>
                  <a:lnTo>
                    <a:pt x="222" y="334"/>
                  </a:lnTo>
                  <a:lnTo>
                    <a:pt x="215" y="337"/>
                  </a:lnTo>
                  <a:lnTo>
                    <a:pt x="203" y="336"/>
                  </a:lnTo>
                  <a:lnTo>
                    <a:pt x="195" y="339"/>
                  </a:lnTo>
                  <a:lnTo>
                    <a:pt x="190" y="344"/>
                  </a:lnTo>
                  <a:lnTo>
                    <a:pt x="185" y="350"/>
                  </a:lnTo>
                  <a:lnTo>
                    <a:pt x="181" y="356"/>
                  </a:lnTo>
                  <a:lnTo>
                    <a:pt x="159" y="361"/>
                  </a:lnTo>
                  <a:lnTo>
                    <a:pt x="146" y="368"/>
                  </a:lnTo>
                  <a:lnTo>
                    <a:pt x="133" y="372"/>
                  </a:lnTo>
                  <a:lnTo>
                    <a:pt x="117" y="366"/>
                  </a:lnTo>
                  <a:lnTo>
                    <a:pt x="112" y="394"/>
                  </a:lnTo>
                  <a:lnTo>
                    <a:pt x="99" y="407"/>
                  </a:lnTo>
                  <a:lnTo>
                    <a:pt x="54" y="431"/>
                  </a:lnTo>
                  <a:lnTo>
                    <a:pt x="49" y="434"/>
                  </a:lnTo>
                  <a:lnTo>
                    <a:pt x="45" y="437"/>
                  </a:lnTo>
                  <a:lnTo>
                    <a:pt x="44" y="442"/>
                  </a:lnTo>
                  <a:lnTo>
                    <a:pt x="46" y="447"/>
                  </a:lnTo>
                  <a:lnTo>
                    <a:pt x="60" y="465"/>
                  </a:lnTo>
                  <a:lnTo>
                    <a:pt x="73" y="472"/>
                  </a:lnTo>
                  <a:lnTo>
                    <a:pt x="85" y="469"/>
                  </a:lnTo>
                  <a:lnTo>
                    <a:pt x="107" y="454"/>
                  </a:lnTo>
                  <a:lnTo>
                    <a:pt x="130" y="444"/>
                  </a:lnTo>
                  <a:lnTo>
                    <a:pt x="152" y="446"/>
                  </a:lnTo>
                  <a:lnTo>
                    <a:pt x="166" y="456"/>
                  </a:lnTo>
                  <a:lnTo>
                    <a:pt x="172" y="479"/>
                  </a:lnTo>
                  <a:lnTo>
                    <a:pt x="172" y="486"/>
                  </a:lnTo>
                  <a:lnTo>
                    <a:pt x="176" y="496"/>
                  </a:lnTo>
                  <a:lnTo>
                    <a:pt x="176" y="502"/>
                  </a:lnTo>
                  <a:lnTo>
                    <a:pt x="176" y="525"/>
                  </a:lnTo>
                  <a:lnTo>
                    <a:pt x="178" y="537"/>
                  </a:lnTo>
                  <a:lnTo>
                    <a:pt x="182" y="546"/>
                  </a:lnTo>
                  <a:lnTo>
                    <a:pt x="195" y="564"/>
                  </a:lnTo>
                  <a:lnTo>
                    <a:pt x="179" y="569"/>
                  </a:lnTo>
                  <a:lnTo>
                    <a:pt x="178" y="582"/>
                  </a:lnTo>
                  <a:lnTo>
                    <a:pt x="187" y="597"/>
                  </a:lnTo>
                  <a:lnTo>
                    <a:pt x="200" y="605"/>
                  </a:lnTo>
                  <a:lnTo>
                    <a:pt x="198" y="627"/>
                  </a:lnTo>
                  <a:lnTo>
                    <a:pt x="214" y="643"/>
                  </a:lnTo>
                  <a:lnTo>
                    <a:pt x="255" y="664"/>
                  </a:lnTo>
                  <a:lnTo>
                    <a:pt x="261" y="675"/>
                  </a:lnTo>
                  <a:lnTo>
                    <a:pt x="263" y="679"/>
                  </a:lnTo>
                  <a:lnTo>
                    <a:pt x="268" y="681"/>
                  </a:lnTo>
                  <a:lnTo>
                    <a:pt x="276" y="682"/>
                  </a:lnTo>
                  <a:lnTo>
                    <a:pt x="282" y="683"/>
                  </a:lnTo>
                  <a:lnTo>
                    <a:pt x="289" y="689"/>
                  </a:lnTo>
                  <a:lnTo>
                    <a:pt x="292" y="696"/>
                  </a:lnTo>
                  <a:lnTo>
                    <a:pt x="291" y="715"/>
                  </a:lnTo>
                  <a:lnTo>
                    <a:pt x="297" y="738"/>
                  </a:lnTo>
                  <a:lnTo>
                    <a:pt x="310" y="762"/>
                  </a:lnTo>
                  <a:lnTo>
                    <a:pt x="325" y="784"/>
                  </a:lnTo>
                  <a:lnTo>
                    <a:pt x="341" y="798"/>
                  </a:lnTo>
                  <a:lnTo>
                    <a:pt x="349" y="801"/>
                  </a:lnTo>
                  <a:lnTo>
                    <a:pt x="370" y="807"/>
                  </a:lnTo>
                  <a:lnTo>
                    <a:pt x="378" y="812"/>
                  </a:lnTo>
                  <a:lnTo>
                    <a:pt x="387" y="818"/>
                  </a:lnTo>
                  <a:lnTo>
                    <a:pt x="391" y="827"/>
                  </a:lnTo>
                  <a:lnTo>
                    <a:pt x="391" y="838"/>
                  </a:lnTo>
                  <a:lnTo>
                    <a:pt x="383" y="849"/>
                  </a:lnTo>
                  <a:lnTo>
                    <a:pt x="373" y="844"/>
                  </a:lnTo>
                  <a:lnTo>
                    <a:pt x="364" y="855"/>
                  </a:lnTo>
                  <a:lnTo>
                    <a:pt x="358" y="869"/>
                  </a:lnTo>
                  <a:lnTo>
                    <a:pt x="358" y="876"/>
                  </a:lnTo>
                  <a:lnTo>
                    <a:pt x="353" y="878"/>
                  </a:lnTo>
                  <a:lnTo>
                    <a:pt x="348" y="888"/>
                  </a:lnTo>
                  <a:lnTo>
                    <a:pt x="344" y="892"/>
                  </a:lnTo>
                  <a:lnTo>
                    <a:pt x="337" y="894"/>
                  </a:lnTo>
                  <a:lnTo>
                    <a:pt x="330" y="894"/>
                  </a:lnTo>
                  <a:lnTo>
                    <a:pt x="319" y="890"/>
                  </a:lnTo>
                  <a:lnTo>
                    <a:pt x="314" y="888"/>
                  </a:lnTo>
                  <a:lnTo>
                    <a:pt x="312" y="885"/>
                  </a:lnTo>
                  <a:lnTo>
                    <a:pt x="308" y="882"/>
                  </a:lnTo>
                  <a:lnTo>
                    <a:pt x="300" y="880"/>
                  </a:lnTo>
                  <a:lnTo>
                    <a:pt x="293" y="881"/>
                  </a:lnTo>
                  <a:lnTo>
                    <a:pt x="269" y="887"/>
                  </a:lnTo>
                  <a:lnTo>
                    <a:pt x="253" y="894"/>
                  </a:lnTo>
                  <a:lnTo>
                    <a:pt x="242" y="895"/>
                  </a:lnTo>
                  <a:lnTo>
                    <a:pt x="240" y="898"/>
                  </a:lnTo>
                  <a:lnTo>
                    <a:pt x="240" y="903"/>
                  </a:lnTo>
                  <a:lnTo>
                    <a:pt x="236" y="908"/>
                  </a:lnTo>
                  <a:lnTo>
                    <a:pt x="158" y="959"/>
                  </a:lnTo>
                  <a:lnTo>
                    <a:pt x="138" y="979"/>
                  </a:lnTo>
                  <a:lnTo>
                    <a:pt x="119" y="1007"/>
                  </a:lnTo>
                  <a:lnTo>
                    <a:pt x="113" y="1037"/>
                  </a:lnTo>
                  <a:lnTo>
                    <a:pt x="130" y="1064"/>
                  </a:lnTo>
                  <a:lnTo>
                    <a:pt x="138" y="1066"/>
                  </a:lnTo>
                  <a:lnTo>
                    <a:pt x="145" y="1066"/>
                  </a:lnTo>
                  <a:lnTo>
                    <a:pt x="151" y="1068"/>
                  </a:lnTo>
                  <a:lnTo>
                    <a:pt x="154" y="1075"/>
                  </a:lnTo>
                  <a:lnTo>
                    <a:pt x="154" y="1091"/>
                  </a:lnTo>
                  <a:lnTo>
                    <a:pt x="155" y="1098"/>
                  </a:lnTo>
                  <a:lnTo>
                    <a:pt x="158" y="1105"/>
                  </a:lnTo>
                  <a:lnTo>
                    <a:pt x="168" y="1115"/>
                  </a:lnTo>
                  <a:lnTo>
                    <a:pt x="182" y="1120"/>
                  </a:lnTo>
                  <a:lnTo>
                    <a:pt x="257" y="1118"/>
                  </a:lnTo>
                  <a:lnTo>
                    <a:pt x="318" y="1127"/>
                  </a:lnTo>
                  <a:lnTo>
                    <a:pt x="327" y="1124"/>
                  </a:lnTo>
                  <a:lnTo>
                    <a:pt x="343" y="1127"/>
                  </a:lnTo>
                  <a:lnTo>
                    <a:pt x="419" y="1102"/>
                  </a:lnTo>
                  <a:lnTo>
                    <a:pt x="441" y="1086"/>
                  </a:lnTo>
                  <a:lnTo>
                    <a:pt x="454" y="1083"/>
                  </a:lnTo>
                  <a:lnTo>
                    <a:pt x="475" y="1081"/>
                  </a:lnTo>
                  <a:lnTo>
                    <a:pt x="486" y="1082"/>
                  </a:lnTo>
                  <a:lnTo>
                    <a:pt x="497" y="1087"/>
                  </a:lnTo>
                  <a:lnTo>
                    <a:pt x="505" y="1076"/>
                  </a:lnTo>
                  <a:lnTo>
                    <a:pt x="522" y="1057"/>
                  </a:lnTo>
                  <a:lnTo>
                    <a:pt x="530" y="1046"/>
                  </a:lnTo>
                  <a:lnTo>
                    <a:pt x="544" y="1050"/>
                  </a:lnTo>
                  <a:lnTo>
                    <a:pt x="545" y="1038"/>
                  </a:lnTo>
                  <a:lnTo>
                    <a:pt x="543" y="1022"/>
                  </a:lnTo>
                  <a:lnTo>
                    <a:pt x="564" y="956"/>
                  </a:lnTo>
                  <a:lnTo>
                    <a:pt x="570" y="953"/>
                  </a:lnTo>
                  <a:lnTo>
                    <a:pt x="586" y="946"/>
                  </a:lnTo>
                  <a:lnTo>
                    <a:pt x="590" y="942"/>
                  </a:lnTo>
                  <a:lnTo>
                    <a:pt x="588" y="932"/>
                  </a:lnTo>
                  <a:lnTo>
                    <a:pt x="586" y="930"/>
                  </a:lnTo>
                  <a:close/>
                  <a:moveTo>
                    <a:pt x="744" y="625"/>
                  </a:moveTo>
                  <a:lnTo>
                    <a:pt x="747" y="624"/>
                  </a:lnTo>
                  <a:lnTo>
                    <a:pt x="750" y="623"/>
                  </a:lnTo>
                  <a:lnTo>
                    <a:pt x="730" y="611"/>
                  </a:lnTo>
                  <a:lnTo>
                    <a:pt x="696" y="572"/>
                  </a:lnTo>
                  <a:lnTo>
                    <a:pt x="674" y="564"/>
                  </a:lnTo>
                  <a:lnTo>
                    <a:pt x="658" y="561"/>
                  </a:lnTo>
                  <a:lnTo>
                    <a:pt x="612" y="545"/>
                  </a:lnTo>
                  <a:lnTo>
                    <a:pt x="598" y="537"/>
                  </a:lnTo>
                  <a:lnTo>
                    <a:pt x="596" y="540"/>
                  </a:lnTo>
                  <a:lnTo>
                    <a:pt x="594" y="540"/>
                  </a:lnTo>
                  <a:lnTo>
                    <a:pt x="590" y="537"/>
                  </a:lnTo>
                  <a:lnTo>
                    <a:pt x="577" y="539"/>
                  </a:lnTo>
                  <a:lnTo>
                    <a:pt x="566" y="547"/>
                  </a:lnTo>
                  <a:lnTo>
                    <a:pt x="560" y="559"/>
                  </a:lnTo>
                  <a:lnTo>
                    <a:pt x="564" y="571"/>
                  </a:lnTo>
                  <a:lnTo>
                    <a:pt x="562" y="580"/>
                  </a:lnTo>
                  <a:lnTo>
                    <a:pt x="534" y="619"/>
                  </a:lnTo>
                  <a:lnTo>
                    <a:pt x="551" y="622"/>
                  </a:lnTo>
                  <a:lnTo>
                    <a:pt x="558" y="636"/>
                  </a:lnTo>
                  <a:lnTo>
                    <a:pt x="562" y="654"/>
                  </a:lnTo>
                  <a:lnTo>
                    <a:pt x="571" y="664"/>
                  </a:lnTo>
                  <a:lnTo>
                    <a:pt x="586" y="659"/>
                  </a:lnTo>
                  <a:lnTo>
                    <a:pt x="599" y="663"/>
                  </a:lnTo>
                  <a:lnTo>
                    <a:pt x="611" y="670"/>
                  </a:lnTo>
                  <a:lnTo>
                    <a:pt x="623" y="674"/>
                  </a:lnTo>
                  <a:lnTo>
                    <a:pt x="671" y="674"/>
                  </a:lnTo>
                  <a:lnTo>
                    <a:pt x="699" y="683"/>
                  </a:lnTo>
                  <a:lnTo>
                    <a:pt x="714" y="685"/>
                  </a:lnTo>
                  <a:lnTo>
                    <a:pt x="726" y="681"/>
                  </a:lnTo>
                  <a:lnTo>
                    <a:pt x="731" y="667"/>
                  </a:lnTo>
                  <a:lnTo>
                    <a:pt x="746" y="646"/>
                  </a:lnTo>
                  <a:lnTo>
                    <a:pt x="750" y="633"/>
                  </a:lnTo>
                  <a:lnTo>
                    <a:pt x="741" y="629"/>
                  </a:lnTo>
                  <a:lnTo>
                    <a:pt x="744" y="62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50A5B87D-AA21-A6BC-D964-1903F4E681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647" y="250388"/>
              <a:ext cx="1657702" cy="1460602"/>
            </a:xfrm>
            <a:custGeom>
              <a:avLst/>
              <a:gdLst>
                <a:gd name="T0" fmla="*/ 812 w 1127"/>
                <a:gd name="T1" fmla="*/ 81 h 993"/>
                <a:gd name="T2" fmla="*/ 747 w 1127"/>
                <a:gd name="T3" fmla="*/ 111 h 993"/>
                <a:gd name="T4" fmla="*/ 1092 w 1127"/>
                <a:gd name="T5" fmla="*/ 500 h 993"/>
                <a:gd name="T6" fmla="*/ 1094 w 1127"/>
                <a:gd name="T7" fmla="*/ 442 h 993"/>
                <a:gd name="T8" fmla="*/ 1115 w 1127"/>
                <a:gd name="T9" fmla="*/ 377 h 993"/>
                <a:gd name="T10" fmla="*/ 1061 w 1127"/>
                <a:gd name="T11" fmla="*/ 339 h 993"/>
                <a:gd name="T12" fmla="*/ 1080 w 1127"/>
                <a:gd name="T13" fmla="*/ 203 h 993"/>
                <a:gd name="T14" fmla="*/ 1049 w 1127"/>
                <a:gd name="T15" fmla="*/ 154 h 993"/>
                <a:gd name="T16" fmla="*/ 1002 w 1127"/>
                <a:gd name="T17" fmla="*/ 113 h 993"/>
                <a:gd name="T18" fmla="*/ 929 w 1127"/>
                <a:gd name="T19" fmla="*/ 63 h 993"/>
                <a:gd name="T20" fmla="*/ 858 w 1127"/>
                <a:gd name="T21" fmla="*/ 27 h 993"/>
                <a:gd name="T22" fmla="*/ 850 w 1127"/>
                <a:gd name="T23" fmla="*/ 92 h 993"/>
                <a:gd name="T24" fmla="*/ 814 w 1127"/>
                <a:gd name="T25" fmla="*/ 122 h 993"/>
                <a:gd name="T26" fmla="*/ 782 w 1127"/>
                <a:gd name="T27" fmla="*/ 139 h 993"/>
                <a:gd name="T28" fmla="*/ 746 w 1127"/>
                <a:gd name="T29" fmla="*/ 192 h 993"/>
                <a:gd name="T30" fmla="*/ 631 w 1127"/>
                <a:gd name="T31" fmla="*/ 224 h 993"/>
                <a:gd name="T32" fmla="*/ 525 w 1127"/>
                <a:gd name="T33" fmla="*/ 234 h 993"/>
                <a:gd name="T34" fmla="*/ 359 w 1127"/>
                <a:gd name="T35" fmla="*/ 302 h 993"/>
                <a:gd name="T36" fmla="*/ 307 w 1127"/>
                <a:gd name="T37" fmla="*/ 349 h 993"/>
                <a:gd name="T38" fmla="*/ 308 w 1127"/>
                <a:gd name="T39" fmla="*/ 364 h 993"/>
                <a:gd name="T40" fmla="*/ 286 w 1127"/>
                <a:gd name="T41" fmla="*/ 301 h 993"/>
                <a:gd name="T42" fmla="*/ 186 w 1127"/>
                <a:gd name="T43" fmla="*/ 362 h 993"/>
                <a:gd name="T44" fmla="*/ 95 w 1127"/>
                <a:gd name="T45" fmla="*/ 401 h 993"/>
                <a:gd name="T46" fmla="*/ 0 w 1127"/>
                <a:gd name="T47" fmla="*/ 466 h 993"/>
                <a:gd name="T48" fmla="*/ 42 w 1127"/>
                <a:gd name="T49" fmla="*/ 534 h 993"/>
                <a:gd name="T50" fmla="*/ 48 w 1127"/>
                <a:gd name="T51" fmla="*/ 617 h 993"/>
                <a:gd name="T52" fmla="*/ 76 w 1127"/>
                <a:gd name="T53" fmla="*/ 707 h 993"/>
                <a:gd name="T54" fmla="*/ 102 w 1127"/>
                <a:gd name="T55" fmla="*/ 784 h 993"/>
                <a:gd name="T56" fmla="*/ 128 w 1127"/>
                <a:gd name="T57" fmla="*/ 779 h 993"/>
                <a:gd name="T58" fmla="*/ 144 w 1127"/>
                <a:gd name="T59" fmla="*/ 750 h 993"/>
                <a:gd name="T60" fmla="*/ 197 w 1127"/>
                <a:gd name="T61" fmla="*/ 744 h 993"/>
                <a:gd name="T62" fmla="*/ 245 w 1127"/>
                <a:gd name="T63" fmla="*/ 710 h 993"/>
                <a:gd name="T64" fmla="*/ 275 w 1127"/>
                <a:gd name="T65" fmla="*/ 725 h 993"/>
                <a:gd name="T66" fmla="*/ 266 w 1127"/>
                <a:gd name="T67" fmla="*/ 743 h 993"/>
                <a:gd name="T68" fmla="*/ 267 w 1127"/>
                <a:gd name="T69" fmla="*/ 759 h 993"/>
                <a:gd name="T70" fmla="*/ 304 w 1127"/>
                <a:gd name="T71" fmla="*/ 790 h 993"/>
                <a:gd name="T72" fmla="*/ 271 w 1127"/>
                <a:gd name="T73" fmla="*/ 831 h 993"/>
                <a:gd name="T74" fmla="*/ 291 w 1127"/>
                <a:gd name="T75" fmla="*/ 846 h 993"/>
                <a:gd name="T76" fmla="*/ 304 w 1127"/>
                <a:gd name="T77" fmla="*/ 858 h 993"/>
                <a:gd name="T78" fmla="*/ 321 w 1127"/>
                <a:gd name="T79" fmla="*/ 857 h 993"/>
                <a:gd name="T80" fmla="*/ 358 w 1127"/>
                <a:gd name="T81" fmla="*/ 881 h 993"/>
                <a:gd name="T82" fmla="*/ 341 w 1127"/>
                <a:gd name="T83" fmla="*/ 909 h 993"/>
                <a:gd name="T84" fmla="*/ 334 w 1127"/>
                <a:gd name="T85" fmla="*/ 922 h 993"/>
                <a:gd name="T86" fmla="*/ 328 w 1127"/>
                <a:gd name="T87" fmla="*/ 935 h 993"/>
                <a:gd name="T88" fmla="*/ 371 w 1127"/>
                <a:gd name="T89" fmla="*/ 973 h 993"/>
                <a:gd name="T90" fmla="*/ 453 w 1127"/>
                <a:gd name="T91" fmla="*/ 991 h 993"/>
                <a:gd name="T92" fmla="*/ 451 w 1127"/>
                <a:gd name="T93" fmla="*/ 980 h 993"/>
                <a:gd name="T94" fmla="*/ 458 w 1127"/>
                <a:gd name="T95" fmla="*/ 953 h 993"/>
                <a:gd name="T96" fmla="*/ 528 w 1127"/>
                <a:gd name="T97" fmla="*/ 860 h 993"/>
                <a:gd name="T98" fmla="*/ 508 w 1127"/>
                <a:gd name="T99" fmla="*/ 814 h 993"/>
                <a:gd name="T100" fmla="*/ 553 w 1127"/>
                <a:gd name="T101" fmla="*/ 772 h 993"/>
                <a:gd name="T102" fmla="*/ 627 w 1127"/>
                <a:gd name="T103" fmla="*/ 749 h 993"/>
                <a:gd name="T104" fmla="*/ 750 w 1127"/>
                <a:gd name="T105" fmla="*/ 781 h 993"/>
                <a:gd name="T106" fmla="*/ 801 w 1127"/>
                <a:gd name="T107" fmla="*/ 714 h 993"/>
                <a:gd name="T108" fmla="*/ 843 w 1127"/>
                <a:gd name="T109" fmla="*/ 675 h 993"/>
                <a:gd name="T110" fmla="*/ 929 w 1127"/>
                <a:gd name="T111" fmla="*/ 691 h 993"/>
                <a:gd name="T112" fmla="*/ 969 w 1127"/>
                <a:gd name="T113" fmla="*/ 709 h 993"/>
                <a:gd name="T114" fmla="*/ 1072 w 1127"/>
                <a:gd name="T115" fmla="*/ 600 h 993"/>
                <a:gd name="T116" fmla="*/ 1123 w 1127"/>
                <a:gd name="T117" fmla="*/ 59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7" h="993">
                  <a:moveTo>
                    <a:pt x="757" y="122"/>
                  </a:moveTo>
                  <a:lnTo>
                    <a:pt x="771" y="132"/>
                  </a:lnTo>
                  <a:lnTo>
                    <a:pt x="777" y="127"/>
                  </a:lnTo>
                  <a:lnTo>
                    <a:pt x="784" y="119"/>
                  </a:lnTo>
                  <a:lnTo>
                    <a:pt x="800" y="127"/>
                  </a:lnTo>
                  <a:lnTo>
                    <a:pt x="809" y="109"/>
                  </a:lnTo>
                  <a:lnTo>
                    <a:pt x="812" y="81"/>
                  </a:lnTo>
                  <a:lnTo>
                    <a:pt x="812" y="59"/>
                  </a:lnTo>
                  <a:lnTo>
                    <a:pt x="809" y="51"/>
                  </a:lnTo>
                  <a:lnTo>
                    <a:pt x="808" y="46"/>
                  </a:lnTo>
                  <a:lnTo>
                    <a:pt x="808" y="40"/>
                  </a:lnTo>
                  <a:lnTo>
                    <a:pt x="755" y="84"/>
                  </a:lnTo>
                  <a:lnTo>
                    <a:pt x="745" y="98"/>
                  </a:lnTo>
                  <a:lnTo>
                    <a:pt x="747" y="111"/>
                  </a:lnTo>
                  <a:lnTo>
                    <a:pt x="757" y="122"/>
                  </a:lnTo>
                  <a:close/>
                  <a:moveTo>
                    <a:pt x="1127" y="568"/>
                  </a:moveTo>
                  <a:lnTo>
                    <a:pt x="1122" y="557"/>
                  </a:lnTo>
                  <a:lnTo>
                    <a:pt x="1103" y="535"/>
                  </a:lnTo>
                  <a:lnTo>
                    <a:pt x="1100" y="529"/>
                  </a:lnTo>
                  <a:lnTo>
                    <a:pt x="1097" y="521"/>
                  </a:lnTo>
                  <a:lnTo>
                    <a:pt x="1092" y="500"/>
                  </a:lnTo>
                  <a:lnTo>
                    <a:pt x="1089" y="494"/>
                  </a:lnTo>
                  <a:lnTo>
                    <a:pt x="1069" y="458"/>
                  </a:lnTo>
                  <a:lnTo>
                    <a:pt x="1068" y="452"/>
                  </a:lnTo>
                  <a:lnTo>
                    <a:pt x="1069" y="447"/>
                  </a:lnTo>
                  <a:lnTo>
                    <a:pt x="1075" y="444"/>
                  </a:lnTo>
                  <a:lnTo>
                    <a:pt x="1082" y="442"/>
                  </a:lnTo>
                  <a:lnTo>
                    <a:pt x="1094" y="442"/>
                  </a:lnTo>
                  <a:lnTo>
                    <a:pt x="1099" y="440"/>
                  </a:lnTo>
                  <a:lnTo>
                    <a:pt x="1103" y="438"/>
                  </a:lnTo>
                  <a:lnTo>
                    <a:pt x="1110" y="432"/>
                  </a:lnTo>
                  <a:lnTo>
                    <a:pt x="1113" y="424"/>
                  </a:lnTo>
                  <a:lnTo>
                    <a:pt x="1115" y="414"/>
                  </a:lnTo>
                  <a:lnTo>
                    <a:pt x="1114" y="402"/>
                  </a:lnTo>
                  <a:lnTo>
                    <a:pt x="1115" y="377"/>
                  </a:lnTo>
                  <a:lnTo>
                    <a:pt x="1112" y="375"/>
                  </a:lnTo>
                  <a:lnTo>
                    <a:pt x="1101" y="367"/>
                  </a:lnTo>
                  <a:lnTo>
                    <a:pt x="1088" y="354"/>
                  </a:lnTo>
                  <a:lnTo>
                    <a:pt x="1079" y="349"/>
                  </a:lnTo>
                  <a:lnTo>
                    <a:pt x="1071" y="349"/>
                  </a:lnTo>
                  <a:lnTo>
                    <a:pt x="1063" y="341"/>
                  </a:lnTo>
                  <a:lnTo>
                    <a:pt x="1061" y="339"/>
                  </a:lnTo>
                  <a:lnTo>
                    <a:pt x="1055" y="327"/>
                  </a:lnTo>
                  <a:lnTo>
                    <a:pt x="1054" y="315"/>
                  </a:lnTo>
                  <a:lnTo>
                    <a:pt x="1056" y="276"/>
                  </a:lnTo>
                  <a:lnTo>
                    <a:pt x="1060" y="263"/>
                  </a:lnTo>
                  <a:lnTo>
                    <a:pt x="1076" y="238"/>
                  </a:lnTo>
                  <a:lnTo>
                    <a:pt x="1081" y="223"/>
                  </a:lnTo>
                  <a:lnTo>
                    <a:pt x="1080" y="203"/>
                  </a:lnTo>
                  <a:lnTo>
                    <a:pt x="1079" y="191"/>
                  </a:lnTo>
                  <a:lnTo>
                    <a:pt x="1079" y="181"/>
                  </a:lnTo>
                  <a:lnTo>
                    <a:pt x="1080" y="177"/>
                  </a:lnTo>
                  <a:lnTo>
                    <a:pt x="1090" y="166"/>
                  </a:lnTo>
                  <a:lnTo>
                    <a:pt x="1092" y="166"/>
                  </a:lnTo>
                  <a:lnTo>
                    <a:pt x="1086" y="161"/>
                  </a:lnTo>
                  <a:lnTo>
                    <a:pt x="1049" y="154"/>
                  </a:lnTo>
                  <a:lnTo>
                    <a:pt x="1040" y="154"/>
                  </a:lnTo>
                  <a:lnTo>
                    <a:pt x="1030" y="159"/>
                  </a:lnTo>
                  <a:lnTo>
                    <a:pt x="1025" y="149"/>
                  </a:lnTo>
                  <a:lnTo>
                    <a:pt x="1011" y="134"/>
                  </a:lnTo>
                  <a:lnTo>
                    <a:pt x="1009" y="127"/>
                  </a:lnTo>
                  <a:lnTo>
                    <a:pt x="1008" y="115"/>
                  </a:lnTo>
                  <a:lnTo>
                    <a:pt x="1002" y="113"/>
                  </a:lnTo>
                  <a:lnTo>
                    <a:pt x="992" y="116"/>
                  </a:lnTo>
                  <a:lnTo>
                    <a:pt x="982" y="117"/>
                  </a:lnTo>
                  <a:lnTo>
                    <a:pt x="966" y="113"/>
                  </a:lnTo>
                  <a:lnTo>
                    <a:pt x="953" y="102"/>
                  </a:lnTo>
                  <a:lnTo>
                    <a:pt x="943" y="89"/>
                  </a:lnTo>
                  <a:lnTo>
                    <a:pt x="937" y="74"/>
                  </a:lnTo>
                  <a:lnTo>
                    <a:pt x="929" y="63"/>
                  </a:lnTo>
                  <a:lnTo>
                    <a:pt x="910" y="46"/>
                  </a:lnTo>
                  <a:lnTo>
                    <a:pt x="895" y="27"/>
                  </a:lnTo>
                  <a:lnTo>
                    <a:pt x="856" y="0"/>
                  </a:lnTo>
                  <a:lnTo>
                    <a:pt x="856" y="0"/>
                  </a:lnTo>
                  <a:lnTo>
                    <a:pt x="855" y="7"/>
                  </a:lnTo>
                  <a:lnTo>
                    <a:pt x="858" y="16"/>
                  </a:lnTo>
                  <a:lnTo>
                    <a:pt x="858" y="27"/>
                  </a:lnTo>
                  <a:lnTo>
                    <a:pt x="854" y="36"/>
                  </a:lnTo>
                  <a:lnTo>
                    <a:pt x="829" y="61"/>
                  </a:lnTo>
                  <a:lnTo>
                    <a:pt x="823" y="68"/>
                  </a:lnTo>
                  <a:lnTo>
                    <a:pt x="821" y="77"/>
                  </a:lnTo>
                  <a:lnTo>
                    <a:pt x="825" y="87"/>
                  </a:lnTo>
                  <a:lnTo>
                    <a:pt x="836" y="91"/>
                  </a:lnTo>
                  <a:lnTo>
                    <a:pt x="850" y="92"/>
                  </a:lnTo>
                  <a:lnTo>
                    <a:pt x="862" y="95"/>
                  </a:lnTo>
                  <a:lnTo>
                    <a:pt x="867" y="105"/>
                  </a:lnTo>
                  <a:lnTo>
                    <a:pt x="839" y="95"/>
                  </a:lnTo>
                  <a:lnTo>
                    <a:pt x="827" y="97"/>
                  </a:lnTo>
                  <a:lnTo>
                    <a:pt x="816" y="109"/>
                  </a:lnTo>
                  <a:lnTo>
                    <a:pt x="814" y="117"/>
                  </a:lnTo>
                  <a:lnTo>
                    <a:pt x="814" y="122"/>
                  </a:lnTo>
                  <a:lnTo>
                    <a:pt x="813" y="127"/>
                  </a:lnTo>
                  <a:lnTo>
                    <a:pt x="808" y="132"/>
                  </a:lnTo>
                  <a:lnTo>
                    <a:pt x="801" y="136"/>
                  </a:lnTo>
                  <a:lnTo>
                    <a:pt x="796" y="136"/>
                  </a:lnTo>
                  <a:lnTo>
                    <a:pt x="791" y="134"/>
                  </a:lnTo>
                  <a:lnTo>
                    <a:pt x="789" y="128"/>
                  </a:lnTo>
                  <a:lnTo>
                    <a:pt x="782" y="139"/>
                  </a:lnTo>
                  <a:lnTo>
                    <a:pt x="776" y="144"/>
                  </a:lnTo>
                  <a:lnTo>
                    <a:pt x="772" y="152"/>
                  </a:lnTo>
                  <a:lnTo>
                    <a:pt x="770" y="182"/>
                  </a:lnTo>
                  <a:lnTo>
                    <a:pt x="767" y="194"/>
                  </a:lnTo>
                  <a:lnTo>
                    <a:pt x="760" y="204"/>
                  </a:lnTo>
                  <a:lnTo>
                    <a:pt x="747" y="211"/>
                  </a:lnTo>
                  <a:lnTo>
                    <a:pt x="746" y="192"/>
                  </a:lnTo>
                  <a:lnTo>
                    <a:pt x="742" y="175"/>
                  </a:lnTo>
                  <a:lnTo>
                    <a:pt x="733" y="161"/>
                  </a:lnTo>
                  <a:lnTo>
                    <a:pt x="720" y="150"/>
                  </a:lnTo>
                  <a:lnTo>
                    <a:pt x="704" y="145"/>
                  </a:lnTo>
                  <a:lnTo>
                    <a:pt x="694" y="150"/>
                  </a:lnTo>
                  <a:lnTo>
                    <a:pt x="643" y="218"/>
                  </a:lnTo>
                  <a:lnTo>
                    <a:pt x="631" y="224"/>
                  </a:lnTo>
                  <a:lnTo>
                    <a:pt x="614" y="227"/>
                  </a:lnTo>
                  <a:lnTo>
                    <a:pt x="594" y="234"/>
                  </a:lnTo>
                  <a:lnTo>
                    <a:pt x="576" y="237"/>
                  </a:lnTo>
                  <a:lnTo>
                    <a:pt x="560" y="229"/>
                  </a:lnTo>
                  <a:lnTo>
                    <a:pt x="552" y="233"/>
                  </a:lnTo>
                  <a:lnTo>
                    <a:pt x="543" y="234"/>
                  </a:lnTo>
                  <a:lnTo>
                    <a:pt x="525" y="234"/>
                  </a:lnTo>
                  <a:lnTo>
                    <a:pt x="518" y="235"/>
                  </a:lnTo>
                  <a:lnTo>
                    <a:pt x="503" y="240"/>
                  </a:lnTo>
                  <a:lnTo>
                    <a:pt x="498" y="243"/>
                  </a:lnTo>
                  <a:lnTo>
                    <a:pt x="450" y="238"/>
                  </a:lnTo>
                  <a:lnTo>
                    <a:pt x="436" y="243"/>
                  </a:lnTo>
                  <a:lnTo>
                    <a:pt x="391" y="284"/>
                  </a:lnTo>
                  <a:lnTo>
                    <a:pt x="359" y="302"/>
                  </a:lnTo>
                  <a:lnTo>
                    <a:pt x="330" y="294"/>
                  </a:lnTo>
                  <a:lnTo>
                    <a:pt x="318" y="300"/>
                  </a:lnTo>
                  <a:lnTo>
                    <a:pt x="313" y="310"/>
                  </a:lnTo>
                  <a:lnTo>
                    <a:pt x="310" y="323"/>
                  </a:lnTo>
                  <a:lnTo>
                    <a:pt x="312" y="339"/>
                  </a:lnTo>
                  <a:lnTo>
                    <a:pt x="312" y="343"/>
                  </a:lnTo>
                  <a:lnTo>
                    <a:pt x="307" y="349"/>
                  </a:lnTo>
                  <a:lnTo>
                    <a:pt x="307" y="353"/>
                  </a:lnTo>
                  <a:lnTo>
                    <a:pt x="310" y="357"/>
                  </a:lnTo>
                  <a:lnTo>
                    <a:pt x="319" y="364"/>
                  </a:lnTo>
                  <a:lnTo>
                    <a:pt x="330" y="394"/>
                  </a:lnTo>
                  <a:lnTo>
                    <a:pt x="326" y="389"/>
                  </a:lnTo>
                  <a:lnTo>
                    <a:pt x="316" y="372"/>
                  </a:lnTo>
                  <a:lnTo>
                    <a:pt x="308" y="364"/>
                  </a:lnTo>
                  <a:lnTo>
                    <a:pt x="302" y="360"/>
                  </a:lnTo>
                  <a:lnTo>
                    <a:pt x="296" y="353"/>
                  </a:lnTo>
                  <a:lnTo>
                    <a:pt x="293" y="343"/>
                  </a:lnTo>
                  <a:lnTo>
                    <a:pt x="306" y="301"/>
                  </a:lnTo>
                  <a:lnTo>
                    <a:pt x="306" y="296"/>
                  </a:lnTo>
                  <a:lnTo>
                    <a:pt x="303" y="288"/>
                  </a:lnTo>
                  <a:lnTo>
                    <a:pt x="286" y="301"/>
                  </a:lnTo>
                  <a:lnTo>
                    <a:pt x="245" y="314"/>
                  </a:lnTo>
                  <a:lnTo>
                    <a:pt x="229" y="321"/>
                  </a:lnTo>
                  <a:lnTo>
                    <a:pt x="224" y="326"/>
                  </a:lnTo>
                  <a:lnTo>
                    <a:pt x="216" y="338"/>
                  </a:lnTo>
                  <a:lnTo>
                    <a:pt x="211" y="343"/>
                  </a:lnTo>
                  <a:lnTo>
                    <a:pt x="190" y="360"/>
                  </a:lnTo>
                  <a:lnTo>
                    <a:pt x="186" y="362"/>
                  </a:lnTo>
                  <a:lnTo>
                    <a:pt x="177" y="364"/>
                  </a:lnTo>
                  <a:lnTo>
                    <a:pt x="164" y="374"/>
                  </a:lnTo>
                  <a:lnTo>
                    <a:pt x="144" y="377"/>
                  </a:lnTo>
                  <a:lnTo>
                    <a:pt x="126" y="383"/>
                  </a:lnTo>
                  <a:lnTo>
                    <a:pt x="117" y="386"/>
                  </a:lnTo>
                  <a:lnTo>
                    <a:pt x="108" y="388"/>
                  </a:lnTo>
                  <a:lnTo>
                    <a:pt x="95" y="401"/>
                  </a:lnTo>
                  <a:lnTo>
                    <a:pt x="85" y="403"/>
                  </a:lnTo>
                  <a:lnTo>
                    <a:pt x="62" y="405"/>
                  </a:lnTo>
                  <a:lnTo>
                    <a:pt x="53" y="404"/>
                  </a:lnTo>
                  <a:lnTo>
                    <a:pt x="42" y="399"/>
                  </a:lnTo>
                  <a:lnTo>
                    <a:pt x="21" y="414"/>
                  </a:lnTo>
                  <a:lnTo>
                    <a:pt x="7" y="438"/>
                  </a:lnTo>
                  <a:lnTo>
                    <a:pt x="0" y="466"/>
                  </a:lnTo>
                  <a:lnTo>
                    <a:pt x="0" y="495"/>
                  </a:lnTo>
                  <a:lnTo>
                    <a:pt x="2" y="506"/>
                  </a:lnTo>
                  <a:lnTo>
                    <a:pt x="6" y="516"/>
                  </a:lnTo>
                  <a:lnTo>
                    <a:pt x="11" y="523"/>
                  </a:lnTo>
                  <a:lnTo>
                    <a:pt x="20" y="528"/>
                  </a:lnTo>
                  <a:lnTo>
                    <a:pt x="32" y="529"/>
                  </a:lnTo>
                  <a:lnTo>
                    <a:pt x="42" y="534"/>
                  </a:lnTo>
                  <a:lnTo>
                    <a:pt x="48" y="542"/>
                  </a:lnTo>
                  <a:lnTo>
                    <a:pt x="53" y="561"/>
                  </a:lnTo>
                  <a:lnTo>
                    <a:pt x="57" y="573"/>
                  </a:lnTo>
                  <a:lnTo>
                    <a:pt x="61" y="586"/>
                  </a:lnTo>
                  <a:lnTo>
                    <a:pt x="59" y="600"/>
                  </a:lnTo>
                  <a:lnTo>
                    <a:pt x="54" y="611"/>
                  </a:lnTo>
                  <a:lnTo>
                    <a:pt x="48" y="617"/>
                  </a:lnTo>
                  <a:lnTo>
                    <a:pt x="43" y="625"/>
                  </a:lnTo>
                  <a:lnTo>
                    <a:pt x="42" y="639"/>
                  </a:lnTo>
                  <a:lnTo>
                    <a:pt x="43" y="653"/>
                  </a:lnTo>
                  <a:lnTo>
                    <a:pt x="48" y="666"/>
                  </a:lnTo>
                  <a:lnTo>
                    <a:pt x="63" y="692"/>
                  </a:lnTo>
                  <a:lnTo>
                    <a:pt x="73" y="701"/>
                  </a:lnTo>
                  <a:lnTo>
                    <a:pt x="76" y="707"/>
                  </a:lnTo>
                  <a:lnTo>
                    <a:pt x="79" y="716"/>
                  </a:lnTo>
                  <a:lnTo>
                    <a:pt x="76" y="722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89" y="770"/>
                  </a:lnTo>
                  <a:lnTo>
                    <a:pt x="98" y="782"/>
                  </a:lnTo>
                  <a:lnTo>
                    <a:pt x="102" y="784"/>
                  </a:lnTo>
                  <a:lnTo>
                    <a:pt x="108" y="785"/>
                  </a:lnTo>
                  <a:lnTo>
                    <a:pt x="112" y="787"/>
                  </a:lnTo>
                  <a:lnTo>
                    <a:pt x="117" y="787"/>
                  </a:lnTo>
                  <a:lnTo>
                    <a:pt x="120" y="787"/>
                  </a:lnTo>
                  <a:lnTo>
                    <a:pt x="122" y="785"/>
                  </a:lnTo>
                  <a:lnTo>
                    <a:pt x="126" y="781"/>
                  </a:lnTo>
                  <a:lnTo>
                    <a:pt x="128" y="779"/>
                  </a:lnTo>
                  <a:lnTo>
                    <a:pt x="132" y="777"/>
                  </a:lnTo>
                  <a:lnTo>
                    <a:pt x="134" y="775"/>
                  </a:lnTo>
                  <a:lnTo>
                    <a:pt x="136" y="771"/>
                  </a:lnTo>
                  <a:lnTo>
                    <a:pt x="138" y="766"/>
                  </a:lnTo>
                  <a:lnTo>
                    <a:pt x="141" y="758"/>
                  </a:lnTo>
                  <a:lnTo>
                    <a:pt x="144" y="751"/>
                  </a:lnTo>
                  <a:lnTo>
                    <a:pt x="144" y="750"/>
                  </a:lnTo>
                  <a:lnTo>
                    <a:pt x="145" y="748"/>
                  </a:lnTo>
                  <a:lnTo>
                    <a:pt x="146" y="748"/>
                  </a:lnTo>
                  <a:lnTo>
                    <a:pt x="148" y="746"/>
                  </a:lnTo>
                  <a:lnTo>
                    <a:pt x="150" y="746"/>
                  </a:lnTo>
                  <a:lnTo>
                    <a:pt x="173" y="748"/>
                  </a:lnTo>
                  <a:lnTo>
                    <a:pt x="184" y="746"/>
                  </a:lnTo>
                  <a:lnTo>
                    <a:pt x="197" y="744"/>
                  </a:lnTo>
                  <a:lnTo>
                    <a:pt x="205" y="741"/>
                  </a:lnTo>
                  <a:lnTo>
                    <a:pt x="209" y="739"/>
                  </a:lnTo>
                  <a:lnTo>
                    <a:pt x="216" y="733"/>
                  </a:lnTo>
                  <a:lnTo>
                    <a:pt x="230" y="718"/>
                  </a:lnTo>
                  <a:lnTo>
                    <a:pt x="234" y="716"/>
                  </a:lnTo>
                  <a:lnTo>
                    <a:pt x="238" y="713"/>
                  </a:lnTo>
                  <a:lnTo>
                    <a:pt x="245" y="710"/>
                  </a:lnTo>
                  <a:lnTo>
                    <a:pt x="251" y="710"/>
                  </a:lnTo>
                  <a:lnTo>
                    <a:pt x="255" y="710"/>
                  </a:lnTo>
                  <a:lnTo>
                    <a:pt x="258" y="711"/>
                  </a:lnTo>
                  <a:lnTo>
                    <a:pt x="262" y="712"/>
                  </a:lnTo>
                  <a:lnTo>
                    <a:pt x="268" y="717"/>
                  </a:lnTo>
                  <a:lnTo>
                    <a:pt x="274" y="723"/>
                  </a:lnTo>
                  <a:lnTo>
                    <a:pt x="275" y="725"/>
                  </a:lnTo>
                  <a:lnTo>
                    <a:pt x="276" y="727"/>
                  </a:lnTo>
                  <a:lnTo>
                    <a:pt x="276" y="728"/>
                  </a:lnTo>
                  <a:lnTo>
                    <a:pt x="276" y="729"/>
                  </a:lnTo>
                  <a:lnTo>
                    <a:pt x="276" y="730"/>
                  </a:lnTo>
                  <a:lnTo>
                    <a:pt x="275" y="731"/>
                  </a:lnTo>
                  <a:lnTo>
                    <a:pt x="268" y="739"/>
                  </a:lnTo>
                  <a:lnTo>
                    <a:pt x="266" y="743"/>
                  </a:lnTo>
                  <a:lnTo>
                    <a:pt x="264" y="745"/>
                  </a:lnTo>
                  <a:lnTo>
                    <a:pt x="264" y="748"/>
                  </a:lnTo>
                  <a:lnTo>
                    <a:pt x="263" y="750"/>
                  </a:lnTo>
                  <a:lnTo>
                    <a:pt x="263" y="752"/>
                  </a:lnTo>
                  <a:lnTo>
                    <a:pt x="264" y="755"/>
                  </a:lnTo>
                  <a:lnTo>
                    <a:pt x="265" y="757"/>
                  </a:lnTo>
                  <a:lnTo>
                    <a:pt x="267" y="759"/>
                  </a:lnTo>
                  <a:lnTo>
                    <a:pt x="269" y="762"/>
                  </a:lnTo>
                  <a:lnTo>
                    <a:pt x="301" y="781"/>
                  </a:lnTo>
                  <a:lnTo>
                    <a:pt x="303" y="783"/>
                  </a:lnTo>
                  <a:lnTo>
                    <a:pt x="305" y="785"/>
                  </a:lnTo>
                  <a:lnTo>
                    <a:pt x="305" y="787"/>
                  </a:lnTo>
                  <a:lnTo>
                    <a:pt x="305" y="789"/>
                  </a:lnTo>
                  <a:lnTo>
                    <a:pt x="304" y="790"/>
                  </a:lnTo>
                  <a:lnTo>
                    <a:pt x="303" y="792"/>
                  </a:lnTo>
                  <a:lnTo>
                    <a:pt x="299" y="796"/>
                  </a:lnTo>
                  <a:lnTo>
                    <a:pt x="294" y="800"/>
                  </a:lnTo>
                  <a:lnTo>
                    <a:pt x="291" y="803"/>
                  </a:lnTo>
                  <a:lnTo>
                    <a:pt x="287" y="808"/>
                  </a:lnTo>
                  <a:lnTo>
                    <a:pt x="284" y="813"/>
                  </a:lnTo>
                  <a:lnTo>
                    <a:pt x="271" y="831"/>
                  </a:lnTo>
                  <a:lnTo>
                    <a:pt x="270" y="832"/>
                  </a:lnTo>
                  <a:lnTo>
                    <a:pt x="271" y="835"/>
                  </a:lnTo>
                  <a:lnTo>
                    <a:pt x="274" y="837"/>
                  </a:lnTo>
                  <a:lnTo>
                    <a:pt x="281" y="844"/>
                  </a:lnTo>
                  <a:lnTo>
                    <a:pt x="286" y="846"/>
                  </a:lnTo>
                  <a:lnTo>
                    <a:pt x="289" y="847"/>
                  </a:lnTo>
                  <a:lnTo>
                    <a:pt x="291" y="846"/>
                  </a:lnTo>
                  <a:lnTo>
                    <a:pt x="292" y="845"/>
                  </a:lnTo>
                  <a:lnTo>
                    <a:pt x="294" y="844"/>
                  </a:lnTo>
                  <a:lnTo>
                    <a:pt x="296" y="843"/>
                  </a:lnTo>
                  <a:lnTo>
                    <a:pt x="300" y="843"/>
                  </a:lnTo>
                  <a:lnTo>
                    <a:pt x="302" y="844"/>
                  </a:lnTo>
                  <a:lnTo>
                    <a:pt x="303" y="846"/>
                  </a:lnTo>
                  <a:lnTo>
                    <a:pt x="304" y="858"/>
                  </a:lnTo>
                  <a:lnTo>
                    <a:pt x="305" y="861"/>
                  </a:lnTo>
                  <a:lnTo>
                    <a:pt x="306" y="862"/>
                  </a:lnTo>
                  <a:lnTo>
                    <a:pt x="308" y="863"/>
                  </a:lnTo>
                  <a:lnTo>
                    <a:pt x="310" y="863"/>
                  </a:lnTo>
                  <a:lnTo>
                    <a:pt x="312" y="862"/>
                  </a:lnTo>
                  <a:lnTo>
                    <a:pt x="317" y="858"/>
                  </a:lnTo>
                  <a:lnTo>
                    <a:pt x="321" y="857"/>
                  </a:lnTo>
                  <a:lnTo>
                    <a:pt x="325" y="857"/>
                  </a:lnTo>
                  <a:lnTo>
                    <a:pt x="327" y="860"/>
                  </a:lnTo>
                  <a:lnTo>
                    <a:pt x="331" y="865"/>
                  </a:lnTo>
                  <a:lnTo>
                    <a:pt x="344" y="876"/>
                  </a:lnTo>
                  <a:lnTo>
                    <a:pt x="349" y="880"/>
                  </a:lnTo>
                  <a:lnTo>
                    <a:pt x="354" y="881"/>
                  </a:lnTo>
                  <a:lnTo>
                    <a:pt x="358" y="881"/>
                  </a:lnTo>
                  <a:lnTo>
                    <a:pt x="360" y="882"/>
                  </a:lnTo>
                  <a:lnTo>
                    <a:pt x="361" y="882"/>
                  </a:lnTo>
                  <a:lnTo>
                    <a:pt x="361" y="884"/>
                  </a:lnTo>
                  <a:lnTo>
                    <a:pt x="361" y="885"/>
                  </a:lnTo>
                  <a:lnTo>
                    <a:pt x="344" y="904"/>
                  </a:lnTo>
                  <a:lnTo>
                    <a:pt x="342" y="907"/>
                  </a:lnTo>
                  <a:lnTo>
                    <a:pt x="341" y="909"/>
                  </a:lnTo>
                  <a:lnTo>
                    <a:pt x="341" y="913"/>
                  </a:lnTo>
                  <a:lnTo>
                    <a:pt x="340" y="917"/>
                  </a:lnTo>
                  <a:lnTo>
                    <a:pt x="340" y="919"/>
                  </a:lnTo>
                  <a:lnTo>
                    <a:pt x="339" y="920"/>
                  </a:lnTo>
                  <a:lnTo>
                    <a:pt x="338" y="920"/>
                  </a:lnTo>
                  <a:lnTo>
                    <a:pt x="336" y="921"/>
                  </a:lnTo>
                  <a:lnTo>
                    <a:pt x="334" y="922"/>
                  </a:lnTo>
                  <a:lnTo>
                    <a:pt x="332" y="922"/>
                  </a:lnTo>
                  <a:lnTo>
                    <a:pt x="331" y="924"/>
                  </a:lnTo>
                  <a:lnTo>
                    <a:pt x="330" y="925"/>
                  </a:lnTo>
                  <a:lnTo>
                    <a:pt x="329" y="927"/>
                  </a:lnTo>
                  <a:lnTo>
                    <a:pt x="328" y="930"/>
                  </a:lnTo>
                  <a:lnTo>
                    <a:pt x="328" y="932"/>
                  </a:lnTo>
                  <a:lnTo>
                    <a:pt x="328" y="935"/>
                  </a:lnTo>
                  <a:lnTo>
                    <a:pt x="330" y="940"/>
                  </a:lnTo>
                  <a:lnTo>
                    <a:pt x="330" y="943"/>
                  </a:lnTo>
                  <a:lnTo>
                    <a:pt x="330" y="948"/>
                  </a:lnTo>
                  <a:lnTo>
                    <a:pt x="332" y="952"/>
                  </a:lnTo>
                  <a:lnTo>
                    <a:pt x="343" y="970"/>
                  </a:lnTo>
                  <a:lnTo>
                    <a:pt x="357" y="969"/>
                  </a:lnTo>
                  <a:lnTo>
                    <a:pt x="371" y="973"/>
                  </a:lnTo>
                  <a:lnTo>
                    <a:pt x="411" y="977"/>
                  </a:lnTo>
                  <a:lnTo>
                    <a:pt x="431" y="983"/>
                  </a:lnTo>
                  <a:lnTo>
                    <a:pt x="438" y="986"/>
                  </a:lnTo>
                  <a:lnTo>
                    <a:pt x="444" y="989"/>
                  </a:lnTo>
                  <a:lnTo>
                    <a:pt x="450" y="993"/>
                  </a:lnTo>
                  <a:lnTo>
                    <a:pt x="451" y="993"/>
                  </a:lnTo>
                  <a:lnTo>
                    <a:pt x="453" y="991"/>
                  </a:lnTo>
                  <a:lnTo>
                    <a:pt x="456" y="989"/>
                  </a:lnTo>
                  <a:lnTo>
                    <a:pt x="459" y="987"/>
                  </a:lnTo>
                  <a:lnTo>
                    <a:pt x="460" y="983"/>
                  </a:lnTo>
                  <a:lnTo>
                    <a:pt x="459" y="980"/>
                  </a:lnTo>
                  <a:lnTo>
                    <a:pt x="456" y="979"/>
                  </a:lnTo>
                  <a:lnTo>
                    <a:pt x="453" y="979"/>
                  </a:lnTo>
                  <a:lnTo>
                    <a:pt x="451" y="980"/>
                  </a:lnTo>
                  <a:lnTo>
                    <a:pt x="450" y="979"/>
                  </a:lnTo>
                  <a:lnTo>
                    <a:pt x="448" y="978"/>
                  </a:lnTo>
                  <a:lnTo>
                    <a:pt x="440" y="969"/>
                  </a:lnTo>
                  <a:lnTo>
                    <a:pt x="439" y="964"/>
                  </a:lnTo>
                  <a:lnTo>
                    <a:pt x="440" y="961"/>
                  </a:lnTo>
                  <a:lnTo>
                    <a:pt x="452" y="957"/>
                  </a:lnTo>
                  <a:lnTo>
                    <a:pt x="458" y="953"/>
                  </a:lnTo>
                  <a:lnTo>
                    <a:pt x="476" y="949"/>
                  </a:lnTo>
                  <a:lnTo>
                    <a:pt x="485" y="946"/>
                  </a:lnTo>
                  <a:lnTo>
                    <a:pt x="495" y="936"/>
                  </a:lnTo>
                  <a:lnTo>
                    <a:pt x="498" y="930"/>
                  </a:lnTo>
                  <a:lnTo>
                    <a:pt x="511" y="896"/>
                  </a:lnTo>
                  <a:lnTo>
                    <a:pt x="520" y="881"/>
                  </a:lnTo>
                  <a:lnTo>
                    <a:pt x="528" y="860"/>
                  </a:lnTo>
                  <a:lnTo>
                    <a:pt x="537" y="848"/>
                  </a:lnTo>
                  <a:lnTo>
                    <a:pt x="538" y="844"/>
                  </a:lnTo>
                  <a:lnTo>
                    <a:pt x="538" y="841"/>
                  </a:lnTo>
                  <a:lnTo>
                    <a:pt x="536" y="836"/>
                  </a:lnTo>
                  <a:lnTo>
                    <a:pt x="531" y="831"/>
                  </a:lnTo>
                  <a:lnTo>
                    <a:pt x="525" y="826"/>
                  </a:lnTo>
                  <a:lnTo>
                    <a:pt x="508" y="814"/>
                  </a:lnTo>
                  <a:lnTo>
                    <a:pt x="507" y="810"/>
                  </a:lnTo>
                  <a:lnTo>
                    <a:pt x="505" y="805"/>
                  </a:lnTo>
                  <a:lnTo>
                    <a:pt x="510" y="801"/>
                  </a:lnTo>
                  <a:lnTo>
                    <a:pt x="516" y="796"/>
                  </a:lnTo>
                  <a:lnTo>
                    <a:pt x="529" y="790"/>
                  </a:lnTo>
                  <a:lnTo>
                    <a:pt x="539" y="784"/>
                  </a:lnTo>
                  <a:lnTo>
                    <a:pt x="553" y="772"/>
                  </a:lnTo>
                  <a:lnTo>
                    <a:pt x="559" y="769"/>
                  </a:lnTo>
                  <a:lnTo>
                    <a:pt x="567" y="765"/>
                  </a:lnTo>
                  <a:lnTo>
                    <a:pt x="574" y="762"/>
                  </a:lnTo>
                  <a:lnTo>
                    <a:pt x="593" y="749"/>
                  </a:lnTo>
                  <a:lnTo>
                    <a:pt x="601" y="748"/>
                  </a:lnTo>
                  <a:lnTo>
                    <a:pt x="611" y="746"/>
                  </a:lnTo>
                  <a:lnTo>
                    <a:pt x="627" y="749"/>
                  </a:lnTo>
                  <a:lnTo>
                    <a:pt x="644" y="748"/>
                  </a:lnTo>
                  <a:lnTo>
                    <a:pt x="715" y="763"/>
                  </a:lnTo>
                  <a:lnTo>
                    <a:pt x="720" y="766"/>
                  </a:lnTo>
                  <a:lnTo>
                    <a:pt x="724" y="768"/>
                  </a:lnTo>
                  <a:lnTo>
                    <a:pt x="734" y="781"/>
                  </a:lnTo>
                  <a:lnTo>
                    <a:pt x="746" y="782"/>
                  </a:lnTo>
                  <a:lnTo>
                    <a:pt x="750" y="781"/>
                  </a:lnTo>
                  <a:lnTo>
                    <a:pt x="754" y="779"/>
                  </a:lnTo>
                  <a:lnTo>
                    <a:pt x="757" y="775"/>
                  </a:lnTo>
                  <a:lnTo>
                    <a:pt x="778" y="740"/>
                  </a:lnTo>
                  <a:lnTo>
                    <a:pt x="793" y="725"/>
                  </a:lnTo>
                  <a:lnTo>
                    <a:pt x="800" y="720"/>
                  </a:lnTo>
                  <a:lnTo>
                    <a:pt x="801" y="718"/>
                  </a:lnTo>
                  <a:lnTo>
                    <a:pt x="801" y="714"/>
                  </a:lnTo>
                  <a:lnTo>
                    <a:pt x="801" y="711"/>
                  </a:lnTo>
                  <a:lnTo>
                    <a:pt x="803" y="706"/>
                  </a:lnTo>
                  <a:lnTo>
                    <a:pt x="807" y="702"/>
                  </a:lnTo>
                  <a:lnTo>
                    <a:pt x="815" y="692"/>
                  </a:lnTo>
                  <a:lnTo>
                    <a:pt x="823" y="686"/>
                  </a:lnTo>
                  <a:lnTo>
                    <a:pt x="836" y="677"/>
                  </a:lnTo>
                  <a:lnTo>
                    <a:pt x="843" y="675"/>
                  </a:lnTo>
                  <a:lnTo>
                    <a:pt x="851" y="675"/>
                  </a:lnTo>
                  <a:lnTo>
                    <a:pt x="872" y="681"/>
                  </a:lnTo>
                  <a:lnTo>
                    <a:pt x="894" y="684"/>
                  </a:lnTo>
                  <a:lnTo>
                    <a:pt x="903" y="687"/>
                  </a:lnTo>
                  <a:lnTo>
                    <a:pt x="916" y="690"/>
                  </a:lnTo>
                  <a:lnTo>
                    <a:pt x="924" y="690"/>
                  </a:lnTo>
                  <a:lnTo>
                    <a:pt x="929" y="691"/>
                  </a:lnTo>
                  <a:lnTo>
                    <a:pt x="936" y="693"/>
                  </a:lnTo>
                  <a:lnTo>
                    <a:pt x="940" y="697"/>
                  </a:lnTo>
                  <a:lnTo>
                    <a:pt x="950" y="706"/>
                  </a:lnTo>
                  <a:lnTo>
                    <a:pt x="955" y="710"/>
                  </a:lnTo>
                  <a:lnTo>
                    <a:pt x="959" y="712"/>
                  </a:lnTo>
                  <a:lnTo>
                    <a:pt x="965" y="711"/>
                  </a:lnTo>
                  <a:lnTo>
                    <a:pt x="969" y="709"/>
                  </a:lnTo>
                  <a:lnTo>
                    <a:pt x="980" y="700"/>
                  </a:lnTo>
                  <a:lnTo>
                    <a:pt x="991" y="688"/>
                  </a:lnTo>
                  <a:lnTo>
                    <a:pt x="1014" y="659"/>
                  </a:lnTo>
                  <a:lnTo>
                    <a:pt x="1035" y="635"/>
                  </a:lnTo>
                  <a:lnTo>
                    <a:pt x="1045" y="621"/>
                  </a:lnTo>
                  <a:lnTo>
                    <a:pt x="1050" y="615"/>
                  </a:lnTo>
                  <a:lnTo>
                    <a:pt x="1072" y="600"/>
                  </a:lnTo>
                  <a:lnTo>
                    <a:pt x="1079" y="598"/>
                  </a:lnTo>
                  <a:lnTo>
                    <a:pt x="1084" y="597"/>
                  </a:lnTo>
                  <a:lnTo>
                    <a:pt x="1095" y="599"/>
                  </a:lnTo>
                  <a:lnTo>
                    <a:pt x="1101" y="599"/>
                  </a:lnTo>
                  <a:lnTo>
                    <a:pt x="1111" y="598"/>
                  </a:lnTo>
                  <a:lnTo>
                    <a:pt x="1118" y="595"/>
                  </a:lnTo>
                  <a:lnTo>
                    <a:pt x="1123" y="591"/>
                  </a:lnTo>
                  <a:lnTo>
                    <a:pt x="1126" y="586"/>
                  </a:lnTo>
                  <a:lnTo>
                    <a:pt x="1127" y="577"/>
                  </a:lnTo>
                  <a:lnTo>
                    <a:pt x="1127" y="56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7316D68C-2447-E719-8006-DDCAE6C5B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303" y="4661612"/>
              <a:ext cx="964909" cy="823703"/>
            </a:xfrm>
            <a:custGeom>
              <a:avLst/>
              <a:gdLst>
                <a:gd name="T0" fmla="*/ 499 w 656"/>
                <a:gd name="T1" fmla="*/ 78 h 560"/>
                <a:gd name="T2" fmla="*/ 503 w 656"/>
                <a:gd name="T3" fmla="*/ 107 h 560"/>
                <a:gd name="T4" fmla="*/ 481 w 656"/>
                <a:gd name="T5" fmla="*/ 158 h 560"/>
                <a:gd name="T6" fmla="*/ 458 w 656"/>
                <a:gd name="T7" fmla="*/ 176 h 560"/>
                <a:gd name="T8" fmla="*/ 458 w 656"/>
                <a:gd name="T9" fmla="*/ 188 h 560"/>
                <a:gd name="T10" fmla="*/ 527 w 656"/>
                <a:gd name="T11" fmla="*/ 182 h 560"/>
                <a:gd name="T12" fmla="*/ 572 w 656"/>
                <a:gd name="T13" fmla="*/ 182 h 560"/>
                <a:gd name="T14" fmla="*/ 592 w 656"/>
                <a:gd name="T15" fmla="*/ 237 h 560"/>
                <a:gd name="T16" fmla="*/ 602 w 656"/>
                <a:gd name="T17" fmla="*/ 258 h 560"/>
                <a:gd name="T18" fmla="*/ 615 w 656"/>
                <a:gd name="T19" fmla="*/ 263 h 560"/>
                <a:gd name="T20" fmla="*/ 617 w 656"/>
                <a:gd name="T21" fmla="*/ 275 h 560"/>
                <a:gd name="T22" fmla="*/ 588 w 656"/>
                <a:gd name="T23" fmla="*/ 313 h 560"/>
                <a:gd name="T24" fmla="*/ 585 w 656"/>
                <a:gd name="T25" fmla="*/ 346 h 560"/>
                <a:gd name="T26" fmla="*/ 576 w 656"/>
                <a:gd name="T27" fmla="*/ 391 h 560"/>
                <a:gd name="T28" fmla="*/ 588 w 656"/>
                <a:gd name="T29" fmla="*/ 390 h 560"/>
                <a:gd name="T30" fmla="*/ 608 w 656"/>
                <a:gd name="T31" fmla="*/ 367 h 560"/>
                <a:gd name="T32" fmla="*/ 627 w 656"/>
                <a:gd name="T33" fmla="*/ 371 h 560"/>
                <a:gd name="T34" fmla="*/ 646 w 656"/>
                <a:gd name="T35" fmla="*/ 386 h 560"/>
                <a:gd name="T36" fmla="*/ 656 w 656"/>
                <a:gd name="T37" fmla="*/ 409 h 560"/>
                <a:gd name="T38" fmla="*/ 648 w 656"/>
                <a:gd name="T39" fmla="*/ 436 h 560"/>
                <a:gd name="T40" fmla="*/ 631 w 656"/>
                <a:gd name="T41" fmla="*/ 454 h 560"/>
                <a:gd name="T42" fmla="*/ 635 w 656"/>
                <a:gd name="T43" fmla="*/ 483 h 560"/>
                <a:gd name="T44" fmla="*/ 622 w 656"/>
                <a:gd name="T45" fmla="*/ 502 h 560"/>
                <a:gd name="T46" fmla="*/ 590 w 656"/>
                <a:gd name="T47" fmla="*/ 509 h 560"/>
                <a:gd name="T48" fmla="*/ 560 w 656"/>
                <a:gd name="T49" fmla="*/ 501 h 560"/>
                <a:gd name="T50" fmla="*/ 518 w 656"/>
                <a:gd name="T51" fmla="*/ 500 h 560"/>
                <a:gd name="T52" fmla="*/ 499 w 656"/>
                <a:gd name="T53" fmla="*/ 476 h 560"/>
                <a:gd name="T54" fmla="*/ 482 w 656"/>
                <a:gd name="T55" fmla="*/ 479 h 560"/>
                <a:gd name="T56" fmla="*/ 446 w 656"/>
                <a:gd name="T57" fmla="*/ 501 h 560"/>
                <a:gd name="T58" fmla="*/ 404 w 656"/>
                <a:gd name="T59" fmla="*/ 529 h 560"/>
                <a:gd name="T60" fmla="*/ 336 w 656"/>
                <a:gd name="T61" fmla="*/ 525 h 560"/>
                <a:gd name="T62" fmla="*/ 274 w 656"/>
                <a:gd name="T63" fmla="*/ 527 h 560"/>
                <a:gd name="T64" fmla="*/ 180 w 656"/>
                <a:gd name="T65" fmla="*/ 557 h 560"/>
                <a:gd name="T66" fmla="*/ 121 w 656"/>
                <a:gd name="T67" fmla="*/ 560 h 560"/>
                <a:gd name="T68" fmla="*/ 104 w 656"/>
                <a:gd name="T69" fmla="*/ 545 h 560"/>
                <a:gd name="T70" fmla="*/ 102 w 656"/>
                <a:gd name="T71" fmla="*/ 521 h 560"/>
                <a:gd name="T72" fmla="*/ 79 w 656"/>
                <a:gd name="T73" fmla="*/ 473 h 560"/>
                <a:gd name="T74" fmla="*/ 86 w 656"/>
                <a:gd name="T75" fmla="*/ 457 h 560"/>
                <a:gd name="T76" fmla="*/ 80 w 656"/>
                <a:gd name="T77" fmla="*/ 434 h 560"/>
                <a:gd name="T78" fmla="*/ 86 w 656"/>
                <a:gd name="T79" fmla="*/ 408 h 560"/>
                <a:gd name="T80" fmla="*/ 83 w 656"/>
                <a:gd name="T81" fmla="*/ 380 h 560"/>
                <a:gd name="T82" fmla="*/ 75 w 656"/>
                <a:gd name="T83" fmla="*/ 364 h 560"/>
                <a:gd name="T84" fmla="*/ 64 w 656"/>
                <a:gd name="T85" fmla="*/ 352 h 560"/>
                <a:gd name="T86" fmla="*/ 71 w 656"/>
                <a:gd name="T87" fmla="*/ 314 h 560"/>
                <a:gd name="T88" fmla="*/ 53 w 656"/>
                <a:gd name="T89" fmla="*/ 299 h 560"/>
                <a:gd name="T90" fmla="*/ 52 w 656"/>
                <a:gd name="T91" fmla="*/ 268 h 560"/>
                <a:gd name="T92" fmla="*/ 19 w 656"/>
                <a:gd name="T93" fmla="*/ 242 h 560"/>
                <a:gd name="T94" fmla="*/ 4 w 656"/>
                <a:gd name="T95" fmla="*/ 234 h 560"/>
                <a:gd name="T96" fmla="*/ 2 w 656"/>
                <a:gd name="T97" fmla="*/ 217 h 560"/>
                <a:gd name="T98" fmla="*/ 20 w 656"/>
                <a:gd name="T99" fmla="*/ 194 h 560"/>
                <a:gd name="T100" fmla="*/ 17 w 656"/>
                <a:gd name="T101" fmla="*/ 208 h 560"/>
                <a:gd name="T102" fmla="*/ 33 w 656"/>
                <a:gd name="T103" fmla="*/ 195 h 560"/>
                <a:gd name="T104" fmla="*/ 66 w 656"/>
                <a:gd name="T105" fmla="*/ 200 h 560"/>
                <a:gd name="T106" fmla="*/ 129 w 656"/>
                <a:gd name="T107" fmla="*/ 192 h 560"/>
                <a:gd name="T108" fmla="*/ 155 w 656"/>
                <a:gd name="T109" fmla="*/ 171 h 560"/>
                <a:gd name="T110" fmla="*/ 191 w 656"/>
                <a:gd name="T111" fmla="*/ 106 h 560"/>
                <a:gd name="T112" fmla="*/ 204 w 656"/>
                <a:gd name="T113" fmla="*/ 157 h 560"/>
                <a:gd name="T114" fmla="*/ 220 w 656"/>
                <a:gd name="T115" fmla="*/ 140 h 560"/>
                <a:gd name="T116" fmla="*/ 253 w 656"/>
                <a:gd name="T117" fmla="*/ 114 h 560"/>
                <a:gd name="T118" fmla="*/ 272 w 656"/>
                <a:gd name="T119" fmla="*/ 73 h 560"/>
                <a:gd name="T120" fmla="*/ 300 w 656"/>
                <a:gd name="T121" fmla="*/ 0 h 560"/>
                <a:gd name="T122" fmla="*/ 358 w 656"/>
                <a:gd name="T123" fmla="*/ 3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6" h="560">
                  <a:moveTo>
                    <a:pt x="391" y="13"/>
                  </a:moveTo>
                  <a:lnTo>
                    <a:pt x="474" y="57"/>
                  </a:lnTo>
                  <a:lnTo>
                    <a:pt x="499" y="78"/>
                  </a:lnTo>
                  <a:lnTo>
                    <a:pt x="502" y="87"/>
                  </a:lnTo>
                  <a:lnTo>
                    <a:pt x="504" y="98"/>
                  </a:lnTo>
                  <a:lnTo>
                    <a:pt x="503" y="107"/>
                  </a:lnTo>
                  <a:lnTo>
                    <a:pt x="500" y="116"/>
                  </a:lnTo>
                  <a:lnTo>
                    <a:pt x="485" y="144"/>
                  </a:lnTo>
                  <a:lnTo>
                    <a:pt x="481" y="158"/>
                  </a:lnTo>
                  <a:lnTo>
                    <a:pt x="477" y="165"/>
                  </a:lnTo>
                  <a:lnTo>
                    <a:pt x="471" y="169"/>
                  </a:lnTo>
                  <a:lnTo>
                    <a:pt x="458" y="176"/>
                  </a:lnTo>
                  <a:lnTo>
                    <a:pt x="455" y="179"/>
                  </a:lnTo>
                  <a:lnTo>
                    <a:pt x="453" y="184"/>
                  </a:lnTo>
                  <a:lnTo>
                    <a:pt x="458" y="188"/>
                  </a:lnTo>
                  <a:lnTo>
                    <a:pt x="465" y="191"/>
                  </a:lnTo>
                  <a:lnTo>
                    <a:pt x="489" y="191"/>
                  </a:lnTo>
                  <a:lnTo>
                    <a:pt x="527" y="182"/>
                  </a:lnTo>
                  <a:lnTo>
                    <a:pt x="552" y="180"/>
                  </a:lnTo>
                  <a:lnTo>
                    <a:pt x="560" y="180"/>
                  </a:lnTo>
                  <a:lnTo>
                    <a:pt x="572" y="182"/>
                  </a:lnTo>
                  <a:lnTo>
                    <a:pt x="594" y="190"/>
                  </a:lnTo>
                  <a:lnTo>
                    <a:pt x="591" y="226"/>
                  </a:lnTo>
                  <a:lnTo>
                    <a:pt x="592" y="237"/>
                  </a:lnTo>
                  <a:lnTo>
                    <a:pt x="595" y="248"/>
                  </a:lnTo>
                  <a:lnTo>
                    <a:pt x="598" y="255"/>
                  </a:lnTo>
                  <a:lnTo>
                    <a:pt x="602" y="258"/>
                  </a:lnTo>
                  <a:lnTo>
                    <a:pt x="607" y="259"/>
                  </a:lnTo>
                  <a:lnTo>
                    <a:pt x="611" y="260"/>
                  </a:lnTo>
                  <a:lnTo>
                    <a:pt x="615" y="263"/>
                  </a:lnTo>
                  <a:lnTo>
                    <a:pt x="618" y="268"/>
                  </a:lnTo>
                  <a:lnTo>
                    <a:pt x="618" y="271"/>
                  </a:lnTo>
                  <a:lnTo>
                    <a:pt x="617" y="275"/>
                  </a:lnTo>
                  <a:lnTo>
                    <a:pt x="615" y="280"/>
                  </a:lnTo>
                  <a:lnTo>
                    <a:pt x="592" y="306"/>
                  </a:lnTo>
                  <a:lnTo>
                    <a:pt x="588" y="313"/>
                  </a:lnTo>
                  <a:lnTo>
                    <a:pt x="585" y="321"/>
                  </a:lnTo>
                  <a:lnTo>
                    <a:pt x="584" y="337"/>
                  </a:lnTo>
                  <a:lnTo>
                    <a:pt x="585" y="346"/>
                  </a:lnTo>
                  <a:lnTo>
                    <a:pt x="576" y="376"/>
                  </a:lnTo>
                  <a:lnTo>
                    <a:pt x="575" y="385"/>
                  </a:lnTo>
                  <a:lnTo>
                    <a:pt x="576" y="391"/>
                  </a:lnTo>
                  <a:lnTo>
                    <a:pt x="579" y="396"/>
                  </a:lnTo>
                  <a:lnTo>
                    <a:pt x="583" y="395"/>
                  </a:lnTo>
                  <a:lnTo>
                    <a:pt x="588" y="390"/>
                  </a:lnTo>
                  <a:lnTo>
                    <a:pt x="596" y="382"/>
                  </a:lnTo>
                  <a:lnTo>
                    <a:pt x="604" y="372"/>
                  </a:lnTo>
                  <a:lnTo>
                    <a:pt x="608" y="367"/>
                  </a:lnTo>
                  <a:lnTo>
                    <a:pt x="615" y="365"/>
                  </a:lnTo>
                  <a:lnTo>
                    <a:pt x="621" y="367"/>
                  </a:lnTo>
                  <a:lnTo>
                    <a:pt x="627" y="371"/>
                  </a:lnTo>
                  <a:lnTo>
                    <a:pt x="634" y="377"/>
                  </a:lnTo>
                  <a:lnTo>
                    <a:pt x="642" y="383"/>
                  </a:lnTo>
                  <a:lnTo>
                    <a:pt x="646" y="386"/>
                  </a:lnTo>
                  <a:lnTo>
                    <a:pt x="651" y="391"/>
                  </a:lnTo>
                  <a:lnTo>
                    <a:pt x="654" y="399"/>
                  </a:lnTo>
                  <a:lnTo>
                    <a:pt x="656" y="409"/>
                  </a:lnTo>
                  <a:lnTo>
                    <a:pt x="654" y="418"/>
                  </a:lnTo>
                  <a:lnTo>
                    <a:pt x="651" y="429"/>
                  </a:lnTo>
                  <a:lnTo>
                    <a:pt x="648" y="436"/>
                  </a:lnTo>
                  <a:lnTo>
                    <a:pt x="645" y="440"/>
                  </a:lnTo>
                  <a:lnTo>
                    <a:pt x="634" y="450"/>
                  </a:lnTo>
                  <a:lnTo>
                    <a:pt x="631" y="454"/>
                  </a:lnTo>
                  <a:lnTo>
                    <a:pt x="631" y="459"/>
                  </a:lnTo>
                  <a:lnTo>
                    <a:pt x="635" y="477"/>
                  </a:lnTo>
                  <a:lnTo>
                    <a:pt x="635" y="483"/>
                  </a:lnTo>
                  <a:lnTo>
                    <a:pt x="633" y="490"/>
                  </a:lnTo>
                  <a:lnTo>
                    <a:pt x="628" y="496"/>
                  </a:lnTo>
                  <a:lnTo>
                    <a:pt x="622" y="502"/>
                  </a:lnTo>
                  <a:lnTo>
                    <a:pt x="614" y="507"/>
                  </a:lnTo>
                  <a:lnTo>
                    <a:pt x="602" y="511"/>
                  </a:lnTo>
                  <a:lnTo>
                    <a:pt x="590" y="509"/>
                  </a:lnTo>
                  <a:lnTo>
                    <a:pt x="581" y="507"/>
                  </a:lnTo>
                  <a:lnTo>
                    <a:pt x="569" y="503"/>
                  </a:lnTo>
                  <a:lnTo>
                    <a:pt x="560" y="501"/>
                  </a:lnTo>
                  <a:lnTo>
                    <a:pt x="537" y="504"/>
                  </a:lnTo>
                  <a:lnTo>
                    <a:pt x="526" y="503"/>
                  </a:lnTo>
                  <a:lnTo>
                    <a:pt x="518" y="500"/>
                  </a:lnTo>
                  <a:lnTo>
                    <a:pt x="507" y="490"/>
                  </a:lnTo>
                  <a:lnTo>
                    <a:pt x="503" y="485"/>
                  </a:lnTo>
                  <a:lnTo>
                    <a:pt x="499" y="476"/>
                  </a:lnTo>
                  <a:lnTo>
                    <a:pt x="494" y="475"/>
                  </a:lnTo>
                  <a:lnTo>
                    <a:pt x="489" y="475"/>
                  </a:lnTo>
                  <a:lnTo>
                    <a:pt x="482" y="479"/>
                  </a:lnTo>
                  <a:lnTo>
                    <a:pt x="473" y="483"/>
                  </a:lnTo>
                  <a:lnTo>
                    <a:pt x="452" y="494"/>
                  </a:lnTo>
                  <a:lnTo>
                    <a:pt x="446" y="501"/>
                  </a:lnTo>
                  <a:lnTo>
                    <a:pt x="428" y="520"/>
                  </a:lnTo>
                  <a:lnTo>
                    <a:pt x="419" y="526"/>
                  </a:lnTo>
                  <a:lnTo>
                    <a:pt x="404" y="529"/>
                  </a:lnTo>
                  <a:lnTo>
                    <a:pt x="361" y="531"/>
                  </a:lnTo>
                  <a:lnTo>
                    <a:pt x="349" y="530"/>
                  </a:lnTo>
                  <a:lnTo>
                    <a:pt x="336" y="525"/>
                  </a:lnTo>
                  <a:lnTo>
                    <a:pt x="325" y="522"/>
                  </a:lnTo>
                  <a:lnTo>
                    <a:pt x="313" y="522"/>
                  </a:lnTo>
                  <a:lnTo>
                    <a:pt x="274" y="527"/>
                  </a:lnTo>
                  <a:lnTo>
                    <a:pt x="261" y="529"/>
                  </a:lnTo>
                  <a:lnTo>
                    <a:pt x="222" y="548"/>
                  </a:lnTo>
                  <a:lnTo>
                    <a:pt x="180" y="557"/>
                  </a:lnTo>
                  <a:lnTo>
                    <a:pt x="130" y="560"/>
                  </a:lnTo>
                  <a:lnTo>
                    <a:pt x="121" y="560"/>
                  </a:lnTo>
                  <a:lnTo>
                    <a:pt x="121" y="560"/>
                  </a:lnTo>
                  <a:lnTo>
                    <a:pt x="116" y="556"/>
                  </a:lnTo>
                  <a:lnTo>
                    <a:pt x="111" y="552"/>
                  </a:lnTo>
                  <a:lnTo>
                    <a:pt x="104" y="545"/>
                  </a:lnTo>
                  <a:lnTo>
                    <a:pt x="103" y="540"/>
                  </a:lnTo>
                  <a:lnTo>
                    <a:pt x="103" y="527"/>
                  </a:lnTo>
                  <a:lnTo>
                    <a:pt x="102" y="521"/>
                  </a:lnTo>
                  <a:lnTo>
                    <a:pt x="97" y="507"/>
                  </a:lnTo>
                  <a:lnTo>
                    <a:pt x="83" y="486"/>
                  </a:lnTo>
                  <a:lnTo>
                    <a:pt x="79" y="473"/>
                  </a:lnTo>
                  <a:lnTo>
                    <a:pt x="80" y="467"/>
                  </a:lnTo>
                  <a:lnTo>
                    <a:pt x="84" y="463"/>
                  </a:lnTo>
                  <a:lnTo>
                    <a:pt x="86" y="457"/>
                  </a:lnTo>
                  <a:lnTo>
                    <a:pt x="86" y="451"/>
                  </a:lnTo>
                  <a:lnTo>
                    <a:pt x="82" y="438"/>
                  </a:lnTo>
                  <a:lnTo>
                    <a:pt x="80" y="434"/>
                  </a:lnTo>
                  <a:lnTo>
                    <a:pt x="80" y="426"/>
                  </a:lnTo>
                  <a:lnTo>
                    <a:pt x="82" y="421"/>
                  </a:lnTo>
                  <a:lnTo>
                    <a:pt x="86" y="408"/>
                  </a:lnTo>
                  <a:lnTo>
                    <a:pt x="87" y="401"/>
                  </a:lnTo>
                  <a:lnTo>
                    <a:pt x="86" y="393"/>
                  </a:lnTo>
                  <a:lnTo>
                    <a:pt x="83" y="380"/>
                  </a:lnTo>
                  <a:lnTo>
                    <a:pt x="83" y="373"/>
                  </a:lnTo>
                  <a:lnTo>
                    <a:pt x="80" y="367"/>
                  </a:lnTo>
                  <a:lnTo>
                    <a:pt x="75" y="364"/>
                  </a:lnTo>
                  <a:lnTo>
                    <a:pt x="69" y="362"/>
                  </a:lnTo>
                  <a:lnTo>
                    <a:pt x="64" y="358"/>
                  </a:lnTo>
                  <a:lnTo>
                    <a:pt x="64" y="352"/>
                  </a:lnTo>
                  <a:lnTo>
                    <a:pt x="70" y="334"/>
                  </a:lnTo>
                  <a:lnTo>
                    <a:pt x="71" y="321"/>
                  </a:lnTo>
                  <a:lnTo>
                    <a:pt x="71" y="314"/>
                  </a:lnTo>
                  <a:lnTo>
                    <a:pt x="69" y="309"/>
                  </a:lnTo>
                  <a:lnTo>
                    <a:pt x="64" y="304"/>
                  </a:lnTo>
                  <a:lnTo>
                    <a:pt x="53" y="299"/>
                  </a:lnTo>
                  <a:lnTo>
                    <a:pt x="49" y="296"/>
                  </a:lnTo>
                  <a:lnTo>
                    <a:pt x="48" y="282"/>
                  </a:lnTo>
                  <a:lnTo>
                    <a:pt x="52" y="268"/>
                  </a:lnTo>
                  <a:lnTo>
                    <a:pt x="53" y="256"/>
                  </a:lnTo>
                  <a:lnTo>
                    <a:pt x="44" y="248"/>
                  </a:lnTo>
                  <a:lnTo>
                    <a:pt x="19" y="242"/>
                  </a:lnTo>
                  <a:lnTo>
                    <a:pt x="8" y="236"/>
                  </a:lnTo>
                  <a:lnTo>
                    <a:pt x="4" y="234"/>
                  </a:lnTo>
                  <a:lnTo>
                    <a:pt x="4" y="234"/>
                  </a:lnTo>
                  <a:lnTo>
                    <a:pt x="1" y="229"/>
                  </a:lnTo>
                  <a:lnTo>
                    <a:pt x="0" y="224"/>
                  </a:lnTo>
                  <a:lnTo>
                    <a:pt x="2" y="217"/>
                  </a:lnTo>
                  <a:lnTo>
                    <a:pt x="12" y="211"/>
                  </a:lnTo>
                  <a:lnTo>
                    <a:pt x="17" y="204"/>
                  </a:lnTo>
                  <a:lnTo>
                    <a:pt x="20" y="194"/>
                  </a:lnTo>
                  <a:lnTo>
                    <a:pt x="25" y="185"/>
                  </a:lnTo>
                  <a:lnTo>
                    <a:pt x="19" y="204"/>
                  </a:lnTo>
                  <a:lnTo>
                    <a:pt x="17" y="208"/>
                  </a:lnTo>
                  <a:lnTo>
                    <a:pt x="21" y="222"/>
                  </a:lnTo>
                  <a:lnTo>
                    <a:pt x="28" y="216"/>
                  </a:lnTo>
                  <a:lnTo>
                    <a:pt x="33" y="195"/>
                  </a:lnTo>
                  <a:lnTo>
                    <a:pt x="39" y="185"/>
                  </a:lnTo>
                  <a:lnTo>
                    <a:pt x="58" y="204"/>
                  </a:lnTo>
                  <a:lnTo>
                    <a:pt x="66" y="200"/>
                  </a:lnTo>
                  <a:lnTo>
                    <a:pt x="115" y="190"/>
                  </a:lnTo>
                  <a:lnTo>
                    <a:pt x="124" y="191"/>
                  </a:lnTo>
                  <a:lnTo>
                    <a:pt x="129" y="192"/>
                  </a:lnTo>
                  <a:lnTo>
                    <a:pt x="134" y="192"/>
                  </a:lnTo>
                  <a:lnTo>
                    <a:pt x="140" y="190"/>
                  </a:lnTo>
                  <a:lnTo>
                    <a:pt x="155" y="171"/>
                  </a:lnTo>
                  <a:lnTo>
                    <a:pt x="159" y="169"/>
                  </a:lnTo>
                  <a:lnTo>
                    <a:pt x="185" y="116"/>
                  </a:lnTo>
                  <a:lnTo>
                    <a:pt x="191" y="106"/>
                  </a:lnTo>
                  <a:lnTo>
                    <a:pt x="206" y="110"/>
                  </a:lnTo>
                  <a:lnTo>
                    <a:pt x="209" y="126"/>
                  </a:lnTo>
                  <a:lnTo>
                    <a:pt x="204" y="157"/>
                  </a:lnTo>
                  <a:lnTo>
                    <a:pt x="212" y="153"/>
                  </a:lnTo>
                  <a:lnTo>
                    <a:pt x="216" y="146"/>
                  </a:lnTo>
                  <a:lnTo>
                    <a:pt x="220" y="140"/>
                  </a:lnTo>
                  <a:lnTo>
                    <a:pt x="226" y="132"/>
                  </a:lnTo>
                  <a:lnTo>
                    <a:pt x="231" y="127"/>
                  </a:lnTo>
                  <a:lnTo>
                    <a:pt x="253" y="114"/>
                  </a:lnTo>
                  <a:lnTo>
                    <a:pt x="263" y="102"/>
                  </a:lnTo>
                  <a:lnTo>
                    <a:pt x="269" y="88"/>
                  </a:lnTo>
                  <a:lnTo>
                    <a:pt x="272" y="73"/>
                  </a:lnTo>
                  <a:lnTo>
                    <a:pt x="276" y="48"/>
                  </a:lnTo>
                  <a:lnTo>
                    <a:pt x="286" y="23"/>
                  </a:lnTo>
                  <a:lnTo>
                    <a:pt x="300" y="0"/>
                  </a:lnTo>
                  <a:lnTo>
                    <a:pt x="302" y="0"/>
                  </a:lnTo>
                  <a:lnTo>
                    <a:pt x="306" y="1"/>
                  </a:lnTo>
                  <a:lnTo>
                    <a:pt x="358" y="3"/>
                  </a:lnTo>
                  <a:lnTo>
                    <a:pt x="364" y="6"/>
                  </a:lnTo>
                  <a:lnTo>
                    <a:pt x="391" y="1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7B11E85-9FC0-7283-7F1E-D7585C9C7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397" y="2002228"/>
              <a:ext cx="920782" cy="850179"/>
            </a:xfrm>
            <a:custGeom>
              <a:avLst/>
              <a:gdLst>
                <a:gd name="T0" fmla="*/ 437 w 626"/>
                <a:gd name="T1" fmla="*/ 194 h 578"/>
                <a:gd name="T2" fmla="*/ 453 w 626"/>
                <a:gd name="T3" fmla="*/ 187 h 578"/>
                <a:gd name="T4" fmla="*/ 472 w 626"/>
                <a:gd name="T5" fmla="*/ 174 h 578"/>
                <a:gd name="T6" fmla="*/ 487 w 626"/>
                <a:gd name="T7" fmla="*/ 183 h 578"/>
                <a:gd name="T8" fmla="*/ 517 w 626"/>
                <a:gd name="T9" fmla="*/ 172 h 578"/>
                <a:gd name="T10" fmla="*/ 549 w 626"/>
                <a:gd name="T11" fmla="*/ 174 h 578"/>
                <a:gd name="T12" fmla="*/ 621 w 626"/>
                <a:gd name="T13" fmla="*/ 226 h 578"/>
                <a:gd name="T14" fmla="*/ 622 w 626"/>
                <a:gd name="T15" fmla="*/ 275 h 578"/>
                <a:gd name="T16" fmla="*/ 624 w 626"/>
                <a:gd name="T17" fmla="*/ 326 h 578"/>
                <a:gd name="T18" fmla="*/ 607 w 626"/>
                <a:gd name="T19" fmla="*/ 359 h 578"/>
                <a:gd name="T20" fmla="*/ 603 w 626"/>
                <a:gd name="T21" fmla="*/ 381 h 578"/>
                <a:gd name="T22" fmla="*/ 593 w 626"/>
                <a:gd name="T23" fmla="*/ 392 h 578"/>
                <a:gd name="T24" fmla="*/ 598 w 626"/>
                <a:gd name="T25" fmla="*/ 405 h 578"/>
                <a:gd name="T26" fmla="*/ 604 w 626"/>
                <a:gd name="T27" fmla="*/ 430 h 578"/>
                <a:gd name="T28" fmla="*/ 596 w 626"/>
                <a:gd name="T29" fmla="*/ 449 h 578"/>
                <a:gd name="T30" fmla="*/ 587 w 626"/>
                <a:gd name="T31" fmla="*/ 481 h 578"/>
                <a:gd name="T32" fmla="*/ 557 w 626"/>
                <a:gd name="T33" fmla="*/ 493 h 578"/>
                <a:gd name="T34" fmla="*/ 539 w 626"/>
                <a:gd name="T35" fmla="*/ 482 h 578"/>
                <a:gd name="T36" fmla="*/ 522 w 626"/>
                <a:gd name="T37" fmla="*/ 478 h 578"/>
                <a:gd name="T38" fmla="*/ 508 w 626"/>
                <a:gd name="T39" fmla="*/ 488 h 578"/>
                <a:gd name="T40" fmla="*/ 502 w 626"/>
                <a:gd name="T41" fmla="*/ 507 h 578"/>
                <a:gd name="T42" fmla="*/ 470 w 626"/>
                <a:gd name="T43" fmla="*/ 512 h 578"/>
                <a:gd name="T44" fmla="*/ 432 w 626"/>
                <a:gd name="T45" fmla="*/ 534 h 578"/>
                <a:gd name="T46" fmla="*/ 373 w 626"/>
                <a:gd name="T47" fmla="*/ 526 h 578"/>
                <a:gd name="T48" fmla="*/ 325 w 626"/>
                <a:gd name="T49" fmla="*/ 550 h 578"/>
                <a:gd name="T50" fmla="*/ 279 w 626"/>
                <a:gd name="T51" fmla="*/ 553 h 578"/>
                <a:gd name="T52" fmla="*/ 238 w 626"/>
                <a:gd name="T53" fmla="*/ 577 h 578"/>
                <a:gd name="T54" fmla="*/ 194 w 626"/>
                <a:gd name="T55" fmla="*/ 568 h 578"/>
                <a:gd name="T56" fmla="*/ 166 w 626"/>
                <a:gd name="T57" fmla="*/ 545 h 578"/>
                <a:gd name="T58" fmla="*/ 143 w 626"/>
                <a:gd name="T59" fmla="*/ 540 h 578"/>
                <a:gd name="T60" fmla="*/ 60 w 626"/>
                <a:gd name="T61" fmla="*/ 572 h 578"/>
                <a:gd name="T62" fmla="*/ 6 w 626"/>
                <a:gd name="T63" fmla="*/ 530 h 578"/>
                <a:gd name="T64" fmla="*/ 2 w 626"/>
                <a:gd name="T65" fmla="*/ 486 h 578"/>
                <a:gd name="T66" fmla="*/ 12 w 626"/>
                <a:gd name="T67" fmla="*/ 416 h 578"/>
                <a:gd name="T68" fmla="*/ 28 w 626"/>
                <a:gd name="T69" fmla="*/ 370 h 578"/>
                <a:gd name="T70" fmla="*/ 51 w 626"/>
                <a:gd name="T71" fmla="*/ 351 h 578"/>
                <a:gd name="T72" fmla="*/ 80 w 626"/>
                <a:gd name="T73" fmla="*/ 306 h 578"/>
                <a:gd name="T74" fmla="*/ 95 w 626"/>
                <a:gd name="T75" fmla="*/ 294 h 578"/>
                <a:gd name="T76" fmla="*/ 158 w 626"/>
                <a:gd name="T77" fmla="*/ 138 h 578"/>
                <a:gd name="T78" fmla="*/ 175 w 626"/>
                <a:gd name="T79" fmla="*/ 158 h 578"/>
                <a:gd name="T80" fmla="*/ 192 w 626"/>
                <a:gd name="T81" fmla="*/ 157 h 578"/>
                <a:gd name="T82" fmla="*/ 200 w 626"/>
                <a:gd name="T83" fmla="*/ 137 h 578"/>
                <a:gd name="T84" fmla="*/ 216 w 626"/>
                <a:gd name="T85" fmla="*/ 129 h 578"/>
                <a:gd name="T86" fmla="*/ 223 w 626"/>
                <a:gd name="T87" fmla="*/ 121 h 578"/>
                <a:gd name="T88" fmla="*/ 216 w 626"/>
                <a:gd name="T89" fmla="*/ 105 h 578"/>
                <a:gd name="T90" fmla="*/ 196 w 626"/>
                <a:gd name="T91" fmla="*/ 93 h 578"/>
                <a:gd name="T92" fmla="*/ 198 w 626"/>
                <a:gd name="T93" fmla="*/ 83 h 578"/>
                <a:gd name="T94" fmla="*/ 214 w 626"/>
                <a:gd name="T95" fmla="*/ 49 h 578"/>
                <a:gd name="T96" fmla="*/ 232 w 626"/>
                <a:gd name="T97" fmla="*/ 39 h 578"/>
                <a:gd name="T98" fmla="*/ 238 w 626"/>
                <a:gd name="T99" fmla="*/ 29 h 578"/>
                <a:gd name="T100" fmla="*/ 245 w 626"/>
                <a:gd name="T101" fmla="*/ 14 h 578"/>
                <a:gd name="T102" fmla="*/ 259 w 626"/>
                <a:gd name="T103" fmla="*/ 8 h 578"/>
                <a:gd name="T104" fmla="*/ 265 w 626"/>
                <a:gd name="T105" fmla="*/ 1 h 578"/>
                <a:gd name="T106" fmla="*/ 277 w 626"/>
                <a:gd name="T107" fmla="*/ 8 h 578"/>
                <a:gd name="T108" fmla="*/ 304 w 626"/>
                <a:gd name="T109" fmla="*/ 53 h 578"/>
                <a:gd name="T110" fmla="*/ 324 w 626"/>
                <a:gd name="T111" fmla="*/ 90 h 578"/>
                <a:gd name="T112" fmla="*/ 340 w 626"/>
                <a:gd name="T113" fmla="*/ 121 h 578"/>
                <a:gd name="T114" fmla="*/ 400 w 626"/>
                <a:gd name="T115" fmla="*/ 182 h 578"/>
                <a:gd name="T116" fmla="*/ 408 w 626"/>
                <a:gd name="T117" fmla="*/ 206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6" h="578">
                  <a:moveTo>
                    <a:pt x="413" y="208"/>
                  </a:moveTo>
                  <a:lnTo>
                    <a:pt x="419" y="206"/>
                  </a:lnTo>
                  <a:lnTo>
                    <a:pt x="437" y="194"/>
                  </a:lnTo>
                  <a:lnTo>
                    <a:pt x="443" y="190"/>
                  </a:lnTo>
                  <a:lnTo>
                    <a:pt x="447" y="189"/>
                  </a:lnTo>
                  <a:lnTo>
                    <a:pt x="453" y="187"/>
                  </a:lnTo>
                  <a:lnTo>
                    <a:pt x="457" y="184"/>
                  </a:lnTo>
                  <a:lnTo>
                    <a:pt x="465" y="179"/>
                  </a:lnTo>
                  <a:lnTo>
                    <a:pt x="472" y="174"/>
                  </a:lnTo>
                  <a:lnTo>
                    <a:pt x="479" y="174"/>
                  </a:lnTo>
                  <a:lnTo>
                    <a:pt x="484" y="179"/>
                  </a:lnTo>
                  <a:lnTo>
                    <a:pt x="487" y="183"/>
                  </a:lnTo>
                  <a:lnTo>
                    <a:pt x="491" y="185"/>
                  </a:lnTo>
                  <a:lnTo>
                    <a:pt x="499" y="182"/>
                  </a:lnTo>
                  <a:lnTo>
                    <a:pt x="517" y="172"/>
                  </a:lnTo>
                  <a:lnTo>
                    <a:pt x="523" y="171"/>
                  </a:lnTo>
                  <a:lnTo>
                    <a:pt x="533" y="172"/>
                  </a:lnTo>
                  <a:lnTo>
                    <a:pt x="549" y="174"/>
                  </a:lnTo>
                  <a:lnTo>
                    <a:pt x="558" y="173"/>
                  </a:lnTo>
                  <a:lnTo>
                    <a:pt x="576" y="181"/>
                  </a:lnTo>
                  <a:lnTo>
                    <a:pt x="621" y="226"/>
                  </a:lnTo>
                  <a:lnTo>
                    <a:pt x="615" y="244"/>
                  </a:lnTo>
                  <a:lnTo>
                    <a:pt x="615" y="251"/>
                  </a:lnTo>
                  <a:lnTo>
                    <a:pt x="622" y="275"/>
                  </a:lnTo>
                  <a:lnTo>
                    <a:pt x="626" y="299"/>
                  </a:lnTo>
                  <a:lnTo>
                    <a:pt x="626" y="313"/>
                  </a:lnTo>
                  <a:lnTo>
                    <a:pt x="624" y="326"/>
                  </a:lnTo>
                  <a:lnTo>
                    <a:pt x="616" y="340"/>
                  </a:lnTo>
                  <a:lnTo>
                    <a:pt x="610" y="351"/>
                  </a:lnTo>
                  <a:lnTo>
                    <a:pt x="607" y="359"/>
                  </a:lnTo>
                  <a:lnTo>
                    <a:pt x="606" y="366"/>
                  </a:lnTo>
                  <a:lnTo>
                    <a:pt x="606" y="376"/>
                  </a:lnTo>
                  <a:lnTo>
                    <a:pt x="603" y="381"/>
                  </a:lnTo>
                  <a:lnTo>
                    <a:pt x="600" y="387"/>
                  </a:lnTo>
                  <a:lnTo>
                    <a:pt x="596" y="390"/>
                  </a:lnTo>
                  <a:lnTo>
                    <a:pt x="593" y="392"/>
                  </a:lnTo>
                  <a:lnTo>
                    <a:pt x="590" y="396"/>
                  </a:lnTo>
                  <a:lnTo>
                    <a:pt x="593" y="401"/>
                  </a:lnTo>
                  <a:lnTo>
                    <a:pt x="598" y="405"/>
                  </a:lnTo>
                  <a:lnTo>
                    <a:pt x="613" y="407"/>
                  </a:lnTo>
                  <a:lnTo>
                    <a:pt x="624" y="414"/>
                  </a:lnTo>
                  <a:lnTo>
                    <a:pt x="604" y="430"/>
                  </a:lnTo>
                  <a:lnTo>
                    <a:pt x="602" y="435"/>
                  </a:lnTo>
                  <a:lnTo>
                    <a:pt x="598" y="442"/>
                  </a:lnTo>
                  <a:lnTo>
                    <a:pt x="596" y="449"/>
                  </a:lnTo>
                  <a:lnTo>
                    <a:pt x="596" y="456"/>
                  </a:lnTo>
                  <a:lnTo>
                    <a:pt x="596" y="468"/>
                  </a:lnTo>
                  <a:lnTo>
                    <a:pt x="587" y="481"/>
                  </a:lnTo>
                  <a:lnTo>
                    <a:pt x="582" y="488"/>
                  </a:lnTo>
                  <a:lnTo>
                    <a:pt x="573" y="492"/>
                  </a:lnTo>
                  <a:lnTo>
                    <a:pt x="557" y="493"/>
                  </a:lnTo>
                  <a:lnTo>
                    <a:pt x="548" y="491"/>
                  </a:lnTo>
                  <a:lnTo>
                    <a:pt x="543" y="486"/>
                  </a:lnTo>
                  <a:lnTo>
                    <a:pt x="539" y="482"/>
                  </a:lnTo>
                  <a:lnTo>
                    <a:pt x="534" y="480"/>
                  </a:lnTo>
                  <a:lnTo>
                    <a:pt x="530" y="478"/>
                  </a:lnTo>
                  <a:lnTo>
                    <a:pt x="522" y="478"/>
                  </a:lnTo>
                  <a:lnTo>
                    <a:pt x="516" y="479"/>
                  </a:lnTo>
                  <a:lnTo>
                    <a:pt x="509" y="485"/>
                  </a:lnTo>
                  <a:lnTo>
                    <a:pt x="508" y="488"/>
                  </a:lnTo>
                  <a:lnTo>
                    <a:pt x="508" y="498"/>
                  </a:lnTo>
                  <a:lnTo>
                    <a:pt x="506" y="503"/>
                  </a:lnTo>
                  <a:lnTo>
                    <a:pt x="502" y="507"/>
                  </a:lnTo>
                  <a:lnTo>
                    <a:pt x="495" y="509"/>
                  </a:lnTo>
                  <a:lnTo>
                    <a:pt x="478" y="510"/>
                  </a:lnTo>
                  <a:lnTo>
                    <a:pt x="470" y="512"/>
                  </a:lnTo>
                  <a:lnTo>
                    <a:pt x="455" y="525"/>
                  </a:lnTo>
                  <a:lnTo>
                    <a:pt x="443" y="531"/>
                  </a:lnTo>
                  <a:lnTo>
                    <a:pt x="432" y="534"/>
                  </a:lnTo>
                  <a:lnTo>
                    <a:pt x="416" y="533"/>
                  </a:lnTo>
                  <a:lnTo>
                    <a:pt x="385" y="526"/>
                  </a:lnTo>
                  <a:lnTo>
                    <a:pt x="373" y="526"/>
                  </a:lnTo>
                  <a:lnTo>
                    <a:pt x="360" y="529"/>
                  </a:lnTo>
                  <a:lnTo>
                    <a:pt x="343" y="534"/>
                  </a:lnTo>
                  <a:lnTo>
                    <a:pt x="325" y="550"/>
                  </a:lnTo>
                  <a:lnTo>
                    <a:pt x="307" y="558"/>
                  </a:lnTo>
                  <a:lnTo>
                    <a:pt x="287" y="552"/>
                  </a:lnTo>
                  <a:lnTo>
                    <a:pt x="279" y="553"/>
                  </a:lnTo>
                  <a:lnTo>
                    <a:pt x="268" y="559"/>
                  </a:lnTo>
                  <a:lnTo>
                    <a:pt x="249" y="574"/>
                  </a:lnTo>
                  <a:lnTo>
                    <a:pt x="238" y="577"/>
                  </a:lnTo>
                  <a:lnTo>
                    <a:pt x="223" y="578"/>
                  </a:lnTo>
                  <a:lnTo>
                    <a:pt x="207" y="574"/>
                  </a:lnTo>
                  <a:lnTo>
                    <a:pt x="194" y="568"/>
                  </a:lnTo>
                  <a:lnTo>
                    <a:pt x="173" y="555"/>
                  </a:lnTo>
                  <a:lnTo>
                    <a:pt x="169" y="550"/>
                  </a:lnTo>
                  <a:lnTo>
                    <a:pt x="166" y="545"/>
                  </a:lnTo>
                  <a:lnTo>
                    <a:pt x="161" y="542"/>
                  </a:lnTo>
                  <a:lnTo>
                    <a:pt x="153" y="540"/>
                  </a:lnTo>
                  <a:lnTo>
                    <a:pt x="143" y="540"/>
                  </a:lnTo>
                  <a:lnTo>
                    <a:pt x="125" y="543"/>
                  </a:lnTo>
                  <a:lnTo>
                    <a:pt x="108" y="547"/>
                  </a:lnTo>
                  <a:lnTo>
                    <a:pt x="60" y="572"/>
                  </a:lnTo>
                  <a:lnTo>
                    <a:pt x="29" y="574"/>
                  </a:lnTo>
                  <a:lnTo>
                    <a:pt x="24" y="552"/>
                  </a:lnTo>
                  <a:lnTo>
                    <a:pt x="6" y="530"/>
                  </a:lnTo>
                  <a:lnTo>
                    <a:pt x="0" y="519"/>
                  </a:lnTo>
                  <a:lnTo>
                    <a:pt x="1" y="504"/>
                  </a:lnTo>
                  <a:lnTo>
                    <a:pt x="2" y="486"/>
                  </a:lnTo>
                  <a:lnTo>
                    <a:pt x="13" y="440"/>
                  </a:lnTo>
                  <a:lnTo>
                    <a:pt x="11" y="428"/>
                  </a:lnTo>
                  <a:lnTo>
                    <a:pt x="12" y="416"/>
                  </a:lnTo>
                  <a:lnTo>
                    <a:pt x="13" y="404"/>
                  </a:lnTo>
                  <a:lnTo>
                    <a:pt x="22" y="380"/>
                  </a:lnTo>
                  <a:lnTo>
                    <a:pt x="28" y="370"/>
                  </a:lnTo>
                  <a:lnTo>
                    <a:pt x="35" y="364"/>
                  </a:lnTo>
                  <a:lnTo>
                    <a:pt x="43" y="357"/>
                  </a:lnTo>
                  <a:lnTo>
                    <a:pt x="51" y="351"/>
                  </a:lnTo>
                  <a:lnTo>
                    <a:pt x="68" y="317"/>
                  </a:lnTo>
                  <a:lnTo>
                    <a:pt x="74" y="312"/>
                  </a:lnTo>
                  <a:lnTo>
                    <a:pt x="80" y="306"/>
                  </a:lnTo>
                  <a:lnTo>
                    <a:pt x="86" y="303"/>
                  </a:lnTo>
                  <a:lnTo>
                    <a:pt x="91" y="300"/>
                  </a:lnTo>
                  <a:lnTo>
                    <a:pt x="95" y="294"/>
                  </a:lnTo>
                  <a:lnTo>
                    <a:pt x="105" y="276"/>
                  </a:lnTo>
                  <a:lnTo>
                    <a:pt x="152" y="168"/>
                  </a:lnTo>
                  <a:lnTo>
                    <a:pt x="158" y="138"/>
                  </a:lnTo>
                  <a:lnTo>
                    <a:pt x="169" y="154"/>
                  </a:lnTo>
                  <a:lnTo>
                    <a:pt x="171" y="156"/>
                  </a:lnTo>
                  <a:lnTo>
                    <a:pt x="175" y="158"/>
                  </a:lnTo>
                  <a:lnTo>
                    <a:pt x="180" y="160"/>
                  </a:lnTo>
                  <a:lnTo>
                    <a:pt x="185" y="160"/>
                  </a:lnTo>
                  <a:lnTo>
                    <a:pt x="192" y="157"/>
                  </a:lnTo>
                  <a:lnTo>
                    <a:pt x="196" y="153"/>
                  </a:lnTo>
                  <a:lnTo>
                    <a:pt x="198" y="147"/>
                  </a:lnTo>
                  <a:lnTo>
                    <a:pt x="200" y="137"/>
                  </a:lnTo>
                  <a:lnTo>
                    <a:pt x="204" y="134"/>
                  </a:lnTo>
                  <a:lnTo>
                    <a:pt x="208" y="132"/>
                  </a:lnTo>
                  <a:lnTo>
                    <a:pt x="216" y="129"/>
                  </a:lnTo>
                  <a:lnTo>
                    <a:pt x="220" y="127"/>
                  </a:lnTo>
                  <a:lnTo>
                    <a:pt x="223" y="124"/>
                  </a:lnTo>
                  <a:lnTo>
                    <a:pt x="223" y="121"/>
                  </a:lnTo>
                  <a:lnTo>
                    <a:pt x="221" y="116"/>
                  </a:lnTo>
                  <a:lnTo>
                    <a:pt x="219" y="110"/>
                  </a:lnTo>
                  <a:lnTo>
                    <a:pt x="216" y="105"/>
                  </a:lnTo>
                  <a:lnTo>
                    <a:pt x="211" y="101"/>
                  </a:lnTo>
                  <a:lnTo>
                    <a:pt x="199" y="96"/>
                  </a:lnTo>
                  <a:lnTo>
                    <a:pt x="196" y="93"/>
                  </a:lnTo>
                  <a:lnTo>
                    <a:pt x="194" y="90"/>
                  </a:lnTo>
                  <a:lnTo>
                    <a:pt x="195" y="86"/>
                  </a:lnTo>
                  <a:lnTo>
                    <a:pt x="198" y="83"/>
                  </a:lnTo>
                  <a:lnTo>
                    <a:pt x="204" y="72"/>
                  </a:lnTo>
                  <a:lnTo>
                    <a:pt x="212" y="53"/>
                  </a:lnTo>
                  <a:lnTo>
                    <a:pt x="214" y="49"/>
                  </a:lnTo>
                  <a:lnTo>
                    <a:pt x="218" y="45"/>
                  </a:lnTo>
                  <a:lnTo>
                    <a:pt x="221" y="44"/>
                  </a:lnTo>
                  <a:lnTo>
                    <a:pt x="232" y="39"/>
                  </a:lnTo>
                  <a:lnTo>
                    <a:pt x="235" y="37"/>
                  </a:lnTo>
                  <a:lnTo>
                    <a:pt x="237" y="33"/>
                  </a:lnTo>
                  <a:lnTo>
                    <a:pt x="238" y="29"/>
                  </a:lnTo>
                  <a:lnTo>
                    <a:pt x="239" y="24"/>
                  </a:lnTo>
                  <a:lnTo>
                    <a:pt x="242" y="18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51" y="10"/>
                  </a:lnTo>
                  <a:lnTo>
                    <a:pt x="259" y="8"/>
                  </a:lnTo>
                  <a:lnTo>
                    <a:pt x="261" y="5"/>
                  </a:lnTo>
                  <a:lnTo>
                    <a:pt x="263" y="3"/>
                  </a:lnTo>
                  <a:lnTo>
                    <a:pt x="265" y="1"/>
                  </a:lnTo>
                  <a:lnTo>
                    <a:pt x="270" y="0"/>
                  </a:lnTo>
                  <a:lnTo>
                    <a:pt x="275" y="4"/>
                  </a:lnTo>
                  <a:lnTo>
                    <a:pt x="277" y="8"/>
                  </a:lnTo>
                  <a:lnTo>
                    <a:pt x="277" y="16"/>
                  </a:lnTo>
                  <a:lnTo>
                    <a:pt x="279" y="20"/>
                  </a:lnTo>
                  <a:lnTo>
                    <a:pt x="304" y="53"/>
                  </a:lnTo>
                  <a:lnTo>
                    <a:pt x="314" y="72"/>
                  </a:lnTo>
                  <a:lnTo>
                    <a:pt x="322" y="84"/>
                  </a:lnTo>
                  <a:lnTo>
                    <a:pt x="324" y="90"/>
                  </a:lnTo>
                  <a:lnTo>
                    <a:pt x="328" y="106"/>
                  </a:lnTo>
                  <a:lnTo>
                    <a:pt x="330" y="114"/>
                  </a:lnTo>
                  <a:lnTo>
                    <a:pt x="340" y="121"/>
                  </a:lnTo>
                  <a:lnTo>
                    <a:pt x="382" y="151"/>
                  </a:lnTo>
                  <a:lnTo>
                    <a:pt x="394" y="168"/>
                  </a:lnTo>
                  <a:lnTo>
                    <a:pt x="400" y="182"/>
                  </a:lnTo>
                  <a:lnTo>
                    <a:pt x="401" y="193"/>
                  </a:lnTo>
                  <a:lnTo>
                    <a:pt x="404" y="199"/>
                  </a:lnTo>
                  <a:lnTo>
                    <a:pt x="408" y="206"/>
                  </a:lnTo>
                  <a:lnTo>
                    <a:pt x="413" y="20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B0361E2F-963E-88A6-0CB0-3BB6896B9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614" y="3064217"/>
              <a:ext cx="764867" cy="961968"/>
            </a:xfrm>
            <a:custGeom>
              <a:avLst/>
              <a:gdLst>
                <a:gd name="T0" fmla="*/ 369 w 520"/>
                <a:gd name="T1" fmla="*/ 37 h 654"/>
                <a:gd name="T2" fmla="*/ 403 w 520"/>
                <a:gd name="T3" fmla="*/ 39 h 654"/>
                <a:gd name="T4" fmla="*/ 421 w 520"/>
                <a:gd name="T5" fmla="*/ 19 h 654"/>
                <a:gd name="T6" fmla="*/ 443 w 520"/>
                <a:gd name="T7" fmla="*/ 16 h 654"/>
                <a:gd name="T8" fmla="*/ 481 w 520"/>
                <a:gd name="T9" fmla="*/ 33 h 654"/>
                <a:gd name="T10" fmla="*/ 505 w 520"/>
                <a:gd name="T11" fmla="*/ 44 h 654"/>
                <a:gd name="T12" fmla="*/ 515 w 520"/>
                <a:gd name="T13" fmla="*/ 61 h 654"/>
                <a:gd name="T14" fmla="*/ 511 w 520"/>
                <a:gd name="T15" fmla="*/ 84 h 654"/>
                <a:gd name="T16" fmla="*/ 519 w 520"/>
                <a:gd name="T17" fmla="*/ 119 h 654"/>
                <a:gd name="T18" fmla="*/ 510 w 520"/>
                <a:gd name="T19" fmla="*/ 138 h 654"/>
                <a:gd name="T20" fmla="*/ 482 w 520"/>
                <a:gd name="T21" fmla="*/ 158 h 654"/>
                <a:gd name="T22" fmla="*/ 468 w 520"/>
                <a:gd name="T23" fmla="*/ 175 h 654"/>
                <a:gd name="T24" fmla="*/ 456 w 520"/>
                <a:gd name="T25" fmla="*/ 189 h 654"/>
                <a:gd name="T26" fmla="*/ 456 w 520"/>
                <a:gd name="T27" fmla="*/ 223 h 654"/>
                <a:gd name="T28" fmla="*/ 465 w 520"/>
                <a:gd name="T29" fmla="*/ 243 h 654"/>
                <a:gd name="T30" fmla="*/ 473 w 520"/>
                <a:gd name="T31" fmla="*/ 268 h 654"/>
                <a:gd name="T32" fmla="*/ 450 w 520"/>
                <a:gd name="T33" fmla="*/ 327 h 654"/>
                <a:gd name="T34" fmla="*/ 429 w 520"/>
                <a:gd name="T35" fmla="*/ 370 h 654"/>
                <a:gd name="T36" fmla="*/ 441 w 520"/>
                <a:gd name="T37" fmla="*/ 384 h 654"/>
                <a:gd name="T38" fmla="*/ 448 w 520"/>
                <a:gd name="T39" fmla="*/ 415 h 654"/>
                <a:gd name="T40" fmla="*/ 456 w 520"/>
                <a:gd name="T41" fmla="*/ 441 h 654"/>
                <a:gd name="T42" fmla="*/ 428 w 520"/>
                <a:gd name="T43" fmla="*/ 460 h 654"/>
                <a:gd name="T44" fmla="*/ 419 w 520"/>
                <a:gd name="T45" fmla="*/ 516 h 654"/>
                <a:gd name="T46" fmla="*/ 422 w 520"/>
                <a:gd name="T47" fmla="*/ 527 h 654"/>
                <a:gd name="T48" fmla="*/ 401 w 520"/>
                <a:gd name="T49" fmla="*/ 547 h 654"/>
                <a:gd name="T50" fmla="*/ 395 w 520"/>
                <a:gd name="T51" fmla="*/ 572 h 654"/>
                <a:gd name="T52" fmla="*/ 355 w 520"/>
                <a:gd name="T53" fmla="*/ 589 h 654"/>
                <a:gd name="T54" fmla="*/ 229 w 520"/>
                <a:gd name="T55" fmla="*/ 611 h 654"/>
                <a:gd name="T56" fmla="*/ 179 w 520"/>
                <a:gd name="T57" fmla="*/ 647 h 654"/>
                <a:gd name="T58" fmla="*/ 123 w 520"/>
                <a:gd name="T59" fmla="*/ 652 h 654"/>
                <a:gd name="T60" fmla="*/ 88 w 520"/>
                <a:gd name="T61" fmla="*/ 633 h 654"/>
                <a:gd name="T62" fmla="*/ 47 w 520"/>
                <a:gd name="T63" fmla="*/ 587 h 654"/>
                <a:gd name="T64" fmla="*/ 29 w 520"/>
                <a:gd name="T65" fmla="*/ 575 h 654"/>
                <a:gd name="T66" fmla="*/ 19 w 520"/>
                <a:gd name="T67" fmla="*/ 557 h 654"/>
                <a:gd name="T68" fmla="*/ 9 w 520"/>
                <a:gd name="T69" fmla="*/ 550 h 654"/>
                <a:gd name="T70" fmla="*/ 0 w 520"/>
                <a:gd name="T71" fmla="*/ 523 h 654"/>
                <a:gd name="T72" fmla="*/ 73 w 520"/>
                <a:gd name="T73" fmla="*/ 460 h 654"/>
                <a:gd name="T74" fmla="*/ 76 w 520"/>
                <a:gd name="T75" fmla="*/ 438 h 654"/>
                <a:gd name="T76" fmla="*/ 69 w 520"/>
                <a:gd name="T77" fmla="*/ 418 h 654"/>
                <a:gd name="T78" fmla="*/ 82 w 520"/>
                <a:gd name="T79" fmla="*/ 309 h 654"/>
                <a:gd name="T80" fmla="*/ 83 w 520"/>
                <a:gd name="T81" fmla="*/ 246 h 654"/>
                <a:gd name="T82" fmla="*/ 95 w 520"/>
                <a:gd name="T83" fmla="*/ 229 h 654"/>
                <a:gd name="T84" fmla="*/ 136 w 520"/>
                <a:gd name="T85" fmla="*/ 219 h 654"/>
                <a:gd name="T86" fmla="*/ 181 w 520"/>
                <a:gd name="T87" fmla="*/ 161 h 654"/>
                <a:gd name="T88" fmla="*/ 183 w 520"/>
                <a:gd name="T89" fmla="*/ 104 h 654"/>
                <a:gd name="T90" fmla="*/ 182 w 520"/>
                <a:gd name="T91" fmla="*/ 70 h 654"/>
                <a:gd name="T92" fmla="*/ 167 w 520"/>
                <a:gd name="T93" fmla="*/ 37 h 654"/>
                <a:gd name="T94" fmla="*/ 203 w 520"/>
                <a:gd name="T95" fmla="*/ 5 h 654"/>
                <a:gd name="T96" fmla="*/ 230 w 520"/>
                <a:gd name="T97" fmla="*/ 3 h 654"/>
                <a:gd name="T98" fmla="*/ 272 w 520"/>
                <a:gd name="T99" fmla="*/ 30 h 654"/>
                <a:gd name="T100" fmla="*/ 341 w 520"/>
                <a:gd name="T101" fmla="*/ 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0" h="654">
                  <a:moveTo>
                    <a:pt x="341" y="44"/>
                  </a:moveTo>
                  <a:lnTo>
                    <a:pt x="357" y="42"/>
                  </a:lnTo>
                  <a:lnTo>
                    <a:pt x="369" y="37"/>
                  </a:lnTo>
                  <a:lnTo>
                    <a:pt x="381" y="36"/>
                  </a:lnTo>
                  <a:lnTo>
                    <a:pt x="392" y="37"/>
                  </a:lnTo>
                  <a:lnTo>
                    <a:pt x="403" y="39"/>
                  </a:lnTo>
                  <a:lnTo>
                    <a:pt x="412" y="37"/>
                  </a:lnTo>
                  <a:lnTo>
                    <a:pt x="417" y="30"/>
                  </a:lnTo>
                  <a:lnTo>
                    <a:pt x="421" y="19"/>
                  </a:lnTo>
                  <a:lnTo>
                    <a:pt x="428" y="12"/>
                  </a:lnTo>
                  <a:lnTo>
                    <a:pt x="434" y="11"/>
                  </a:lnTo>
                  <a:lnTo>
                    <a:pt x="443" y="16"/>
                  </a:lnTo>
                  <a:lnTo>
                    <a:pt x="459" y="25"/>
                  </a:lnTo>
                  <a:lnTo>
                    <a:pt x="468" y="30"/>
                  </a:lnTo>
                  <a:lnTo>
                    <a:pt x="481" y="33"/>
                  </a:lnTo>
                  <a:lnTo>
                    <a:pt x="489" y="36"/>
                  </a:lnTo>
                  <a:lnTo>
                    <a:pt x="496" y="41"/>
                  </a:lnTo>
                  <a:lnTo>
                    <a:pt x="505" y="44"/>
                  </a:lnTo>
                  <a:lnTo>
                    <a:pt x="509" y="46"/>
                  </a:lnTo>
                  <a:lnTo>
                    <a:pt x="512" y="49"/>
                  </a:lnTo>
                  <a:lnTo>
                    <a:pt x="515" y="61"/>
                  </a:lnTo>
                  <a:lnTo>
                    <a:pt x="520" y="69"/>
                  </a:lnTo>
                  <a:lnTo>
                    <a:pt x="513" y="78"/>
                  </a:lnTo>
                  <a:lnTo>
                    <a:pt x="511" y="84"/>
                  </a:lnTo>
                  <a:lnTo>
                    <a:pt x="511" y="94"/>
                  </a:lnTo>
                  <a:lnTo>
                    <a:pt x="518" y="112"/>
                  </a:lnTo>
                  <a:lnTo>
                    <a:pt x="519" y="119"/>
                  </a:lnTo>
                  <a:lnTo>
                    <a:pt x="518" y="126"/>
                  </a:lnTo>
                  <a:lnTo>
                    <a:pt x="516" y="133"/>
                  </a:lnTo>
                  <a:lnTo>
                    <a:pt x="510" y="138"/>
                  </a:lnTo>
                  <a:lnTo>
                    <a:pt x="504" y="144"/>
                  </a:lnTo>
                  <a:lnTo>
                    <a:pt x="489" y="152"/>
                  </a:lnTo>
                  <a:lnTo>
                    <a:pt x="482" y="158"/>
                  </a:lnTo>
                  <a:lnTo>
                    <a:pt x="478" y="163"/>
                  </a:lnTo>
                  <a:lnTo>
                    <a:pt x="472" y="171"/>
                  </a:lnTo>
                  <a:lnTo>
                    <a:pt x="468" y="175"/>
                  </a:lnTo>
                  <a:lnTo>
                    <a:pt x="464" y="179"/>
                  </a:lnTo>
                  <a:lnTo>
                    <a:pt x="459" y="183"/>
                  </a:lnTo>
                  <a:lnTo>
                    <a:pt x="456" y="189"/>
                  </a:lnTo>
                  <a:lnTo>
                    <a:pt x="455" y="197"/>
                  </a:lnTo>
                  <a:lnTo>
                    <a:pt x="455" y="211"/>
                  </a:lnTo>
                  <a:lnTo>
                    <a:pt x="456" y="223"/>
                  </a:lnTo>
                  <a:lnTo>
                    <a:pt x="458" y="233"/>
                  </a:lnTo>
                  <a:lnTo>
                    <a:pt x="461" y="239"/>
                  </a:lnTo>
                  <a:lnTo>
                    <a:pt x="465" y="243"/>
                  </a:lnTo>
                  <a:lnTo>
                    <a:pt x="469" y="246"/>
                  </a:lnTo>
                  <a:lnTo>
                    <a:pt x="471" y="252"/>
                  </a:lnTo>
                  <a:lnTo>
                    <a:pt x="473" y="268"/>
                  </a:lnTo>
                  <a:lnTo>
                    <a:pt x="478" y="289"/>
                  </a:lnTo>
                  <a:lnTo>
                    <a:pt x="477" y="297"/>
                  </a:lnTo>
                  <a:lnTo>
                    <a:pt x="450" y="327"/>
                  </a:lnTo>
                  <a:lnTo>
                    <a:pt x="431" y="355"/>
                  </a:lnTo>
                  <a:lnTo>
                    <a:pt x="428" y="362"/>
                  </a:lnTo>
                  <a:lnTo>
                    <a:pt x="429" y="370"/>
                  </a:lnTo>
                  <a:lnTo>
                    <a:pt x="431" y="375"/>
                  </a:lnTo>
                  <a:lnTo>
                    <a:pt x="437" y="381"/>
                  </a:lnTo>
                  <a:lnTo>
                    <a:pt x="441" y="384"/>
                  </a:lnTo>
                  <a:lnTo>
                    <a:pt x="446" y="391"/>
                  </a:lnTo>
                  <a:lnTo>
                    <a:pt x="448" y="399"/>
                  </a:lnTo>
                  <a:lnTo>
                    <a:pt x="448" y="415"/>
                  </a:lnTo>
                  <a:lnTo>
                    <a:pt x="451" y="423"/>
                  </a:lnTo>
                  <a:lnTo>
                    <a:pt x="458" y="436"/>
                  </a:lnTo>
                  <a:lnTo>
                    <a:pt x="456" y="441"/>
                  </a:lnTo>
                  <a:lnTo>
                    <a:pt x="447" y="448"/>
                  </a:lnTo>
                  <a:lnTo>
                    <a:pt x="438" y="452"/>
                  </a:lnTo>
                  <a:lnTo>
                    <a:pt x="428" y="460"/>
                  </a:lnTo>
                  <a:lnTo>
                    <a:pt x="421" y="471"/>
                  </a:lnTo>
                  <a:lnTo>
                    <a:pt x="417" y="490"/>
                  </a:lnTo>
                  <a:lnTo>
                    <a:pt x="419" y="516"/>
                  </a:lnTo>
                  <a:lnTo>
                    <a:pt x="420" y="519"/>
                  </a:lnTo>
                  <a:lnTo>
                    <a:pt x="422" y="523"/>
                  </a:lnTo>
                  <a:lnTo>
                    <a:pt x="422" y="527"/>
                  </a:lnTo>
                  <a:lnTo>
                    <a:pt x="419" y="532"/>
                  </a:lnTo>
                  <a:lnTo>
                    <a:pt x="407" y="540"/>
                  </a:lnTo>
                  <a:lnTo>
                    <a:pt x="401" y="547"/>
                  </a:lnTo>
                  <a:lnTo>
                    <a:pt x="399" y="556"/>
                  </a:lnTo>
                  <a:lnTo>
                    <a:pt x="399" y="563"/>
                  </a:lnTo>
                  <a:lnTo>
                    <a:pt x="395" y="572"/>
                  </a:lnTo>
                  <a:lnTo>
                    <a:pt x="391" y="578"/>
                  </a:lnTo>
                  <a:lnTo>
                    <a:pt x="368" y="594"/>
                  </a:lnTo>
                  <a:lnTo>
                    <a:pt x="355" y="589"/>
                  </a:lnTo>
                  <a:lnTo>
                    <a:pt x="271" y="599"/>
                  </a:lnTo>
                  <a:lnTo>
                    <a:pt x="246" y="604"/>
                  </a:lnTo>
                  <a:lnTo>
                    <a:pt x="229" y="611"/>
                  </a:lnTo>
                  <a:lnTo>
                    <a:pt x="213" y="626"/>
                  </a:lnTo>
                  <a:lnTo>
                    <a:pt x="203" y="635"/>
                  </a:lnTo>
                  <a:lnTo>
                    <a:pt x="179" y="647"/>
                  </a:lnTo>
                  <a:lnTo>
                    <a:pt x="158" y="652"/>
                  </a:lnTo>
                  <a:lnTo>
                    <a:pt x="139" y="654"/>
                  </a:lnTo>
                  <a:lnTo>
                    <a:pt x="123" y="652"/>
                  </a:lnTo>
                  <a:lnTo>
                    <a:pt x="115" y="648"/>
                  </a:lnTo>
                  <a:lnTo>
                    <a:pt x="102" y="639"/>
                  </a:lnTo>
                  <a:lnTo>
                    <a:pt x="88" y="633"/>
                  </a:lnTo>
                  <a:lnTo>
                    <a:pt x="78" y="627"/>
                  </a:lnTo>
                  <a:lnTo>
                    <a:pt x="68" y="617"/>
                  </a:lnTo>
                  <a:lnTo>
                    <a:pt x="47" y="587"/>
                  </a:lnTo>
                  <a:lnTo>
                    <a:pt x="40" y="582"/>
                  </a:lnTo>
                  <a:lnTo>
                    <a:pt x="34" y="578"/>
                  </a:lnTo>
                  <a:lnTo>
                    <a:pt x="29" y="575"/>
                  </a:lnTo>
                  <a:lnTo>
                    <a:pt x="26" y="569"/>
                  </a:lnTo>
                  <a:lnTo>
                    <a:pt x="23" y="560"/>
                  </a:lnTo>
                  <a:lnTo>
                    <a:pt x="19" y="557"/>
                  </a:lnTo>
                  <a:lnTo>
                    <a:pt x="16" y="555"/>
                  </a:lnTo>
                  <a:lnTo>
                    <a:pt x="12" y="553"/>
                  </a:lnTo>
                  <a:lnTo>
                    <a:pt x="9" y="550"/>
                  </a:lnTo>
                  <a:lnTo>
                    <a:pt x="4" y="543"/>
                  </a:lnTo>
                  <a:lnTo>
                    <a:pt x="2" y="540"/>
                  </a:lnTo>
                  <a:lnTo>
                    <a:pt x="0" y="523"/>
                  </a:lnTo>
                  <a:lnTo>
                    <a:pt x="36" y="503"/>
                  </a:lnTo>
                  <a:lnTo>
                    <a:pt x="60" y="479"/>
                  </a:lnTo>
                  <a:lnTo>
                    <a:pt x="73" y="460"/>
                  </a:lnTo>
                  <a:lnTo>
                    <a:pt x="76" y="452"/>
                  </a:lnTo>
                  <a:lnTo>
                    <a:pt x="77" y="445"/>
                  </a:lnTo>
                  <a:lnTo>
                    <a:pt x="76" y="438"/>
                  </a:lnTo>
                  <a:lnTo>
                    <a:pt x="73" y="432"/>
                  </a:lnTo>
                  <a:lnTo>
                    <a:pt x="70" y="425"/>
                  </a:lnTo>
                  <a:lnTo>
                    <a:pt x="69" y="418"/>
                  </a:lnTo>
                  <a:lnTo>
                    <a:pt x="87" y="331"/>
                  </a:lnTo>
                  <a:lnTo>
                    <a:pt x="87" y="323"/>
                  </a:lnTo>
                  <a:lnTo>
                    <a:pt x="82" y="309"/>
                  </a:lnTo>
                  <a:lnTo>
                    <a:pt x="81" y="288"/>
                  </a:lnTo>
                  <a:lnTo>
                    <a:pt x="83" y="258"/>
                  </a:lnTo>
                  <a:lnTo>
                    <a:pt x="83" y="246"/>
                  </a:lnTo>
                  <a:lnTo>
                    <a:pt x="86" y="240"/>
                  </a:lnTo>
                  <a:lnTo>
                    <a:pt x="89" y="235"/>
                  </a:lnTo>
                  <a:lnTo>
                    <a:pt x="95" y="229"/>
                  </a:lnTo>
                  <a:lnTo>
                    <a:pt x="103" y="226"/>
                  </a:lnTo>
                  <a:lnTo>
                    <a:pt x="127" y="223"/>
                  </a:lnTo>
                  <a:lnTo>
                    <a:pt x="136" y="219"/>
                  </a:lnTo>
                  <a:lnTo>
                    <a:pt x="160" y="199"/>
                  </a:lnTo>
                  <a:lnTo>
                    <a:pt x="173" y="178"/>
                  </a:lnTo>
                  <a:lnTo>
                    <a:pt x="181" y="161"/>
                  </a:lnTo>
                  <a:lnTo>
                    <a:pt x="183" y="142"/>
                  </a:lnTo>
                  <a:lnTo>
                    <a:pt x="182" y="121"/>
                  </a:lnTo>
                  <a:lnTo>
                    <a:pt x="183" y="104"/>
                  </a:lnTo>
                  <a:lnTo>
                    <a:pt x="185" y="89"/>
                  </a:lnTo>
                  <a:lnTo>
                    <a:pt x="185" y="78"/>
                  </a:lnTo>
                  <a:lnTo>
                    <a:pt x="182" y="70"/>
                  </a:lnTo>
                  <a:lnTo>
                    <a:pt x="171" y="52"/>
                  </a:lnTo>
                  <a:lnTo>
                    <a:pt x="168" y="44"/>
                  </a:lnTo>
                  <a:lnTo>
                    <a:pt x="167" y="37"/>
                  </a:lnTo>
                  <a:lnTo>
                    <a:pt x="167" y="23"/>
                  </a:lnTo>
                  <a:lnTo>
                    <a:pt x="181" y="19"/>
                  </a:lnTo>
                  <a:lnTo>
                    <a:pt x="203" y="5"/>
                  </a:lnTo>
                  <a:lnTo>
                    <a:pt x="211" y="0"/>
                  </a:lnTo>
                  <a:lnTo>
                    <a:pt x="221" y="0"/>
                  </a:lnTo>
                  <a:lnTo>
                    <a:pt x="230" y="3"/>
                  </a:lnTo>
                  <a:lnTo>
                    <a:pt x="238" y="7"/>
                  </a:lnTo>
                  <a:lnTo>
                    <a:pt x="259" y="22"/>
                  </a:lnTo>
                  <a:lnTo>
                    <a:pt x="272" y="30"/>
                  </a:lnTo>
                  <a:lnTo>
                    <a:pt x="288" y="36"/>
                  </a:lnTo>
                  <a:lnTo>
                    <a:pt x="324" y="44"/>
                  </a:lnTo>
                  <a:lnTo>
                    <a:pt x="341" y="4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2DA10108-E3AA-A65D-2F1A-9DD6BD69B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502" y="493086"/>
              <a:ext cx="1003153" cy="828116"/>
            </a:xfrm>
            <a:custGeom>
              <a:avLst/>
              <a:gdLst>
                <a:gd name="T0" fmla="*/ 409 w 682"/>
                <a:gd name="T1" fmla="*/ 209 h 563"/>
                <a:gd name="T2" fmla="*/ 419 w 682"/>
                <a:gd name="T3" fmla="*/ 215 h 563"/>
                <a:gd name="T4" fmla="*/ 421 w 682"/>
                <a:gd name="T5" fmla="*/ 230 h 563"/>
                <a:gd name="T6" fmla="*/ 429 w 682"/>
                <a:gd name="T7" fmla="*/ 243 h 563"/>
                <a:gd name="T8" fmla="*/ 459 w 682"/>
                <a:gd name="T9" fmla="*/ 252 h 563"/>
                <a:gd name="T10" fmla="*/ 486 w 682"/>
                <a:gd name="T11" fmla="*/ 250 h 563"/>
                <a:gd name="T12" fmla="*/ 555 w 682"/>
                <a:gd name="T13" fmla="*/ 229 h 563"/>
                <a:gd name="T14" fmla="*/ 580 w 682"/>
                <a:gd name="T15" fmla="*/ 293 h 563"/>
                <a:gd name="T16" fmla="*/ 639 w 682"/>
                <a:gd name="T17" fmla="*/ 345 h 563"/>
                <a:gd name="T18" fmla="*/ 682 w 682"/>
                <a:gd name="T19" fmla="*/ 352 h 563"/>
                <a:gd name="T20" fmla="*/ 656 w 682"/>
                <a:gd name="T21" fmla="*/ 373 h 563"/>
                <a:gd name="T22" fmla="*/ 631 w 682"/>
                <a:gd name="T23" fmla="*/ 370 h 563"/>
                <a:gd name="T24" fmla="*/ 610 w 682"/>
                <a:gd name="T25" fmla="*/ 370 h 563"/>
                <a:gd name="T26" fmla="*/ 593 w 682"/>
                <a:gd name="T27" fmla="*/ 366 h 563"/>
                <a:gd name="T28" fmla="*/ 584 w 682"/>
                <a:gd name="T29" fmla="*/ 365 h 563"/>
                <a:gd name="T30" fmla="*/ 578 w 682"/>
                <a:gd name="T31" fmla="*/ 367 h 563"/>
                <a:gd name="T32" fmla="*/ 575 w 682"/>
                <a:gd name="T33" fmla="*/ 377 h 563"/>
                <a:gd name="T34" fmla="*/ 578 w 682"/>
                <a:gd name="T35" fmla="*/ 384 h 563"/>
                <a:gd name="T36" fmla="*/ 588 w 682"/>
                <a:gd name="T37" fmla="*/ 394 h 563"/>
                <a:gd name="T38" fmla="*/ 591 w 682"/>
                <a:gd name="T39" fmla="*/ 401 h 563"/>
                <a:gd name="T40" fmla="*/ 589 w 682"/>
                <a:gd name="T41" fmla="*/ 407 h 563"/>
                <a:gd name="T42" fmla="*/ 559 w 682"/>
                <a:gd name="T43" fmla="*/ 430 h 563"/>
                <a:gd name="T44" fmla="*/ 508 w 682"/>
                <a:gd name="T45" fmla="*/ 494 h 563"/>
                <a:gd name="T46" fmla="*/ 498 w 682"/>
                <a:gd name="T47" fmla="*/ 511 h 563"/>
                <a:gd name="T48" fmla="*/ 498 w 682"/>
                <a:gd name="T49" fmla="*/ 530 h 563"/>
                <a:gd name="T50" fmla="*/ 497 w 682"/>
                <a:gd name="T51" fmla="*/ 546 h 563"/>
                <a:gd name="T52" fmla="*/ 465 w 682"/>
                <a:gd name="T53" fmla="*/ 554 h 563"/>
                <a:gd name="T54" fmla="*/ 446 w 682"/>
                <a:gd name="T55" fmla="*/ 534 h 563"/>
                <a:gd name="T56" fmla="*/ 387 w 682"/>
                <a:gd name="T57" fmla="*/ 498 h 563"/>
                <a:gd name="T58" fmla="*/ 333 w 682"/>
                <a:gd name="T59" fmla="*/ 475 h 563"/>
                <a:gd name="T60" fmla="*/ 308 w 682"/>
                <a:gd name="T61" fmla="*/ 471 h 563"/>
                <a:gd name="T62" fmla="*/ 295 w 682"/>
                <a:gd name="T63" fmla="*/ 460 h 563"/>
                <a:gd name="T64" fmla="*/ 262 w 682"/>
                <a:gd name="T65" fmla="*/ 446 h 563"/>
                <a:gd name="T66" fmla="*/ 257 w 682"/>
                <a:gd name="T67" fmla="*/ 422 h 563"/>
                <a:gd name="T68" fmla="*/ 259 w 682"/>
                <a:gd name="T69" fmla="*/ 397 h 563"/>
                <a:gd name="T70" fmla="*/ 217 w 682"/>
                <a:gd name="T71" fmla="*/ 325 h 563"/>
                <a:gd name="T72" fmla="*/ 184 w 682"/>
                <a:gd name="T73" fmla="*/ 275 h 563"/>
                <a:gd name="T74" fmla="*/ 133 w 682"/>
                <a:gd name="T75" fmla="*/ 238 h 563"/>
                <a:gd name="T76" fmla="*/ 116 w 682"/>
                <a:gd name="T77" fmla="*/ 223 h 563"/>
                <a:gd name="T78" fmla="*/ 83 w 682"/>
                <a:gd name="T79" fmla="*/ 220 h 563"/>
                <a:gd name="T80" fmla="*/ 61 w 682"/>
                <a:gd name="T81" fmla="*/ 211 h 563"/>
                <a:gd name="T82" fmla="*/ 47 w 682"/>
                <a:gd name="T83" fmla="*/ 201 h 563"/>
                <a:gd name="T84" fmla="*/ 25 w 682"/>
                <a:gd name="T85" fmla="*/ 183 h 563"/>
                <a:gd name="T86" fmla="*/ 9 w 682"/>
                <a:gd name="T87" fmla="*/ 175 h 563"/>
                <a:gd name="T88" fmla="*/ 1 w 682"/>
                <a:gd name="T89" fmla="*/ 161 h 563"/>
                <a:gd name="T90" fmla="*/ 2 w 682"/>
                <a:gd name="T91" fmla="*/ 110 h 563"/>
                <a:gd name="T92" fmla="*/ 22 w 682"/>
                <a:gd name="T93" fmla="*/ 72 h 563"/>
                <a:gd name="T94" fmla="*/ 26 w 682"/>
                <a:gd name="T95" fmla="*/ 37 h 563"/>
                <a:gd name="T96" fmla="*/ 25 w 682"/>
                <a:gd name="T97" fmla="*/ 15 h 563"/>
                <a:gd name="T98" fmla="*/ 36 w 682"/>
                <a:gd name="T99" fmla="*/ 0 h 563"/>
                <a:gd name="T100" fmla="*/ 44 w 682"/>
                <a:gd name="T101" fmla="*/ 5 h 563"/>
                <a:gd name="T102" fmla="*/ 123 w 682"/>
                <a:gd name="T103" fmla="*/ 87 h 563"/>
                <a:gd name="T104" fmla="*/ 176 w 682"/>
                <a:gd name="T105" fmla="*/ 105 h 563"/>
                <a:gd name="T106" fmla="*/ 277 w 682"/>
                <a:gd name="T107" fmla="*/ 177 h 563"/>
                <a:gd name="T108" fmla="*/ 353 w 682"/>
                <a:gd name="T109" fmla="*/ 193 h 563"/>
                <a:gd name="T110" fmla="*/ 405 w 682"/>
                <a:gd name="T111" fmla="*/ 21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563">
                  <a:moveTo>
                    <a:pt x="405" y="210"/>
                  </a:moveTo>
                  <a:lnTo>
                    <a:pt x="409" y="209"/>
                  </a:lnTo>
                  <a:lnTo>
                    <a:pt x="412" y="209"/>
                  </a:lnTo>
                  <a:lnTo>
                    <a:pt x="419" y="215"/>
                  </a:lnTo>
                  <a:lnTo>
                    <a:pt x="421" y="223"/>
                  </a:lnTo>
                  <a:lnTo>
                    <a:pt x="421" y="230"/>
                  </a:lnTo>
                  <a:lnTo>
                    <a:pt x="422" y="237"/>
                  </a:lnTo>
                  <a:lnTo>
                    <a:pt x="429" y="243"/>
                  </a:lnTo>
                  <a:lnTo>
                    <a:pt x="445" y="249"/>
                  </a:lnTo>
                  <a:lnTo>
                    <a:pt x="459" y="252"/>
                  </a:lnTo>
                  <a:lnTo>
                    <a:pt x="472" y="253"/>
                  </a:lnTo>
                  <a:lnTo>
                    <a:pt x="486" y="250"/>
                  </a:lnTo>
                  <a:lnTo>
                    <a:pt x="539" y="229"/>
                  </a:lnTo>
                  <a:lnTo>
                    <a:pt x="555" y="229"/>
                  </a:lnTo>
                  <a:lnTo>
                    <a:pt x="576" y="246"/>
                  </a:lnTo>
                  <a:lnTo>
                    <a:pt x="580" y="293"/>
                  </a:lnTo>
                  <a:lnTo>
                    <a:pt x="594" y="315"/>
                  </a:lnTo>
                  <a:lnTo>
                    <a:pt x="639" y="345"/>
                  </a:lnTo>
                  <a:lnTo>
                    <a:pt x="663" y="355"/>
                  </a:lnTo>
                  <a:lnTo>
                    <a:pt x="682" y="352"/>
                  </a:lnTo>
                  <a:lnTo>
                    <a:pt x="680" y="355"/>
                  </a:lnTo>
                  <a:lnTo>
                    <a:pt x="656" y="373"/>
                  </a:lnTo>
                  <a:lnTo>
                    <a:pt x="645" y="376"/>
                  </a:lnTo>
                  <a:lnTo>
                    <a:pt x="631" y="370"/>
                  </a:lnTo>
                  <a:lnTo>
                    <a:pt x="628" y="370"/>
                  </a:lnTo>
                  <a:lnTo>
                    <a:pt x="610" y="370"/>
                  </a:lnTo>
                  <a:lnTo>
                    <a:pt x="604" y="369"/>
                  </a:lnTo>
                  <a:lnTo>
                    <a:pt x="593" y="366"/>
                  </a:lnTo>
                  <a:lnTo>
                    <a:pt x="588" y="365"/>
                  </a:lnTo>
                  <a:lnTo>
                    <a:pt x="584" y="365"/>
                  </a:lnTo>
                  <a:lnTo>
                    <a:pt x="580" y="365"/>
                  </a:lnTo>
                  <a:lnTo>
                    <a:pt x="578" y="367"/>
                  </a:lnTo>
                  <a:lnTo>
                    <a:pt x="576" y="370"/>
                  </a:lnTo>
                  <a:lnTo>
                    <a:pt x="575" y="377"/>
                  </a:lnTo>
                  <a:lnTo>
                    <a:pt x="576" y="381"/>
                  </a:lnTo>
                  <a:lnTo>
                    <a:pt x="578" y="384"/>
                  </a:lnTo>
                  <a:lnTo>
                    <a:pt x="586" y="391"/>
                  </a:lnTo>
                  <a:lnTo>
                    <a:pt x="588" y="394"/>
                  </a:lnTo>
                  <a:lnTo>
                    <a:pt x="590" y="397"/>
                  </a:lnTo>
                  <a:lnTo>
                    <a:pt x="591" y="401"/>
                  </a:lnTo>
                  <a:lnTo>
                    <a:pt x="591" y="403"/>
                  </a:lnTo>
                  <a:lnTo>
                    <a:pt x="589" y="407"/>
                  </a:lnTo>
                  <a:lnTo>
                    <a:pt x="585" y="411"/>
                  </a:lnTo>
                  <a:lnTo>
                    <a:pt x="559" y="430"/>
                  </a:lnTo>
                  <a:lnTo>
                    <a:pt x="554" y="435"/>
                  </a:lnTo>
                  <a:lnTo>
                    <a:pt x="508" y="494"/>
                  </a:lnTo>
                  <a:lnTo>
                    <a:pt x="502" y="504"/>
                  </a:lnTo>
                  <a:lnTo>
                    <a:pt x="498" y="511"/>
                  </a:lnTo>
                  <a:lnTo>
                    <a:pt x="497" y="523"/>
                  </a:lnTo>
                  <a:lnTo>
                    <a:pt x="498" y="530"/>
                  </a:lnTo>
                  <a:lnTo>
                    <a:pt x="499" y="538"/>
                  </a:lnTo>
                  <a:lnTo>
                    <a:pt x="497" y="546"/>
                  </a:lnTo>
                  <a:lnTo>
                    <a:pt x="482" y="563"/>
                  </a:lnTo>
                  <a:lnTo>
                    <a:pt x="465" y="554"/>
                  </a:lnTo>
                  <a:lnTo>
                    <a:pt x="454" y="540"/>
                  </a:lnTo>
                  <a:lnTo>
                    <a:pt x="446" y="534"/>
                  </a:lnTo>
                  <a:lnTo>
                    <a:pt x="415" y="517"/>
                  </a:lnTo>
                  <a:lnTo>
                    <a:pt x="387" y="498"/>
                  </a:lnTo>
                  <a:lnTo>
                    <a:pt x="357" y="481"/>
                  </a:lnTo>
                  <a:lnTo>
                    <a:pt x="333" y="475"/>
                  </a:lnTo>
                  <a:lnTo>
                    <a:pt x="321" y="474"/>
                  </a:lnTo>
                  <a:lnTo>
                    <a:pt x="308" y="471"/>
                  </a:lnTo>
                  <a:lnTo>
                    <a:pt x="300" y="466"/>
                  </a:lnTo>
                  <a:lnTo>
                    <a:pt x="295" y="460"/>
                  </a:lnTo>
                  <a:lnTo>
                    <a:pt x="269" y="456"/>
                  </a:lnTo>
                  <a:lnTo>
                    <a:pt x="262" y="446"/>
                  </a:lnTo>
                  <a:lnTo>
                    <a:pt x="259" y="434"/>
                  </a:lnTo>
                  <a:lnTo>
                    <a:pt x="257" y="422"/>
                  </a:lnTo>
                  <a:lnTo>
                    <a:pt x="259" y="403"/>
                  </a:lnTo>
                  <a:lnTo>
                    <a:pt x="259" y="397"/>
                  </a:lnTo>
                  <a:lnTo>
                    <a:pt x="244" y="358"/>
                  </a:lnTo>
                  <a:lnTo>
                    <a:pt x="217" y="325"/>
                  </a:lnTo>
                  <a:lnTo>
                    <a:pt x="200" y="294"/>
                  </a:lnTo>
                  <a:lnTo>
                    <a:pt x="184" y="275"/>
                  </a:lnTo>
                  <a:lnTo>
                    <a:pt x="163" y="258"/>
                  </a:lnTo>
                  <a:lnTo>
                    <a:pt x="133" y="238"/>
                  </a:lnTo>
                  <a:lnTo>
                    <a:pt x="122" y="227"/>
                  </a:lnTo>
                  <a:lnTo>
                    <a:pt x="116" y="223"/>
                  </a:lnTo>
                  <a:lnTo>
                    <a:pt x="108" y="222"/>
                  </a:lnTo>
                  <a:lnTo>
                    <a:pt x="83" y="220"/>
                  </a:lnTo>
                  <a:lnTo>
                    <a:pt x="70" y="215"/>
                  </a:lnTo>
                  <a:lnTo>
                    <a:pt x="61" y="211"/>
                  </a:lnTo>
                  <a:lnTo>
                    <a:pt x="58" y="209"/>
                  </a:lnTo>
                  <a:lnTo>
                    <a:pt x="47" y="201"/>
                  </a:lnTo>
                  <a:lnTo>
                    <a:pt x="34" y="188"/>
                  </a:lnTo>
                  <a:lnTo>
                    <a:pt x="25" y="183"/>
                  </a:lnTo>
                  <a:lnTo>
                    <a:pt x="17" y="183"/>
                  </a:lnTo>
                  <a:lnTo>
                    <a:pt x="9" y="175"/>
                  </a:lnTo>
                  <a:lnTo>
                    <a:pt x="7" y="173"/>
                  </a:lnTo>
                  <a:lnTo>
                    <a:pt x="1" y="161"/>
                  </a:lnTo>
                  <a:lnTo>
                    <a:pt x="0" y="149"/>
                  </a:lnTo>
                  <a:lnTo>
                    <a:pt x="2" y="110"/>
                  </a:lnTo>
                  <a:lnTo>
                    <a:pt x="6" y="97"/>
                  </a:lnTo>
                  <a:lnTo>
                    <a:pt x="22" y="72"/>
                  </a:lnTo>
                  <a:lnTo>
                    <a:pt x="27" y="57"/>
                  </a:lnTo>
                  <a:lnTo>
                    <a:pt x="26" y="37"/>
                  </a:lnTo>
                  <a:lnTo>
                    <a:pt x="25" y="25"/>
                  </a:lnTo>
                  <a:lnTo>
                    <a:pt x="25" y="15"/>
                  </a:lnTo>
                  <a:lnTo>
                    <a:pt x="26" y="11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4" y="5"/>
                  </a:lnTo>
                  <a:lnTo>
                    <a:pt x="108" y="76"/>
                  </a:lnTo>
                  <a:lnTo>
                    <a:pt x="123" y="87"/>
                  </a:lnTo>
                  <a:lnTo>
                    <a:pt x="136" y="94"/>
                  </a:lnTo>
                  <a:lnTo>
                    <a:pt x="176" y="105"/>
                  </a:lnTo>
                  <a:lnTo>
                    <a:pt x="189" y="111"/>
                  </a:lnTo>
                  <a:lnTo>
                    <a:pt x="277" y="177"/>
                  </a:lnTo>
                  <a:lnTo>
                    <a:pt x="305" y="191"/>
                  </a:lnTo>
                  <a:lnTo>
                    <a:pt x="353" y="193"/>
                  </a:lnTo>
                  <a:lnTo>
                    <a:pt x="398" y="210"/>
                  </a:lnTo>
                  <a:lnTo>
                    <a:pt x="405" y="2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E01C7586-E046-CEE1-DD1B-4D2B7AAEE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122" y="3833496"/>
              <a:ext cx="1017862" cy="613365"/>
            </a:xfrm>
            <a:custGeom>
              <a:avLst/>
              <a:gdLst>
                <a:gd name="T0" fmla="*/ 437 w 692"/>
                <a:gd name="T1" fmla="*/ 124 h 417"/>
                <a:gd name="T2" fmla="*/ 487 w 692"/>
                <a:gd name="T3" fmla="*/ 88 h 417"/>
                <a:gd name="T4" fmla="*/ 613 w 692"/>
                <a:gd name="T5" fmla="*/ 66 h 417"/>
                <a:gd name="T6" fmla="*/ 636 w 692"/>
                <a:gd name="T7" fmla="*/ 84 h 417"/>
                <a:gd name="T8" fmla="*/ 692 w 692"/>
                <a:gd name="T9" fmla="*/ 118 h 417"/>
                <a:gd name="T10" fmla="*/ 690 w 692"/>
                <a:gd name="T11" fmla="*/ 170 h 417"/>
                <a:gd name="T12" fmla="*/ 687 w 692"/>
                <a:gd name="T13" fmla="*/ 196 h 417"/>
                <a:gd name="T14" fmla="*/ 667 w 692"/>
                <a:gd name="T15" fmla="*/ 232 h 417"/>
                <a:gd name="T16" fmla="*/ 656 w 692"/>
                <a:gd name="T17" fmla="*/ 242 h 417"/>
                <a:gd name="T18" fmla="*/ 647 w 692"/>
                <a:gd name="T19" fmla="*/ 240 h 417"/>
                <a:gd name="T20" fmla="*/ 606 w 692"/>
                <a:gd name="T21" fmla="*/ 263 h 417"/>
                <a:gd name="T22" fmla="*/ 597 w 692"/>
                <a:gd name="T23" fmla="*/ 287 h 417"/>
                <a:gd name="T24" fmla="*/ 563 w 692"/>
                <a:gd name="T25" fmla="*/ 301 h 417"/>
                <a:gd name="T26" fmla="*/ 535 w 692"/>
                <a:gd name="T27" fmla="*/ 323 h 417"/>
                <a:gd name="T28" fmla="*/ 510 w 692"/>
                <a:gd name="T29" fmla="*/ 324 h 417"/>
                <a:gd name="T30" fmla="*/ 489 w 692"/>
                <a:gd name="T31" fmla="*/ 331 h 417"/>
                <a:gd name="T32" fmla="*/ 484 w 692"/>
                <a:gd name="T33" fmla="*/ 352 h 417"/>
                <a:gd name="T34" fmla="*/ 485 w 692"/>
                <a:gd name="T35" fmla="*/ 368 h 417"/>
                <a:gd name="T36" fmla="*/ 468 w 692"/>
                <a:gd name="T37" fmla="*/ 393 h 417"/>
                <a:gd name="T38" fmla="*/ 468 w 692"/>
                <a:gd name="T39" fmla="*/ 414 h 417"/>
                <a:gd name="T40" fmla="*/ 455 w 692"/>
                <a:gd name="T41" fmla="*/ 413 h 417"/>
                <a:gd name="T42" fmla="*/ 437 w 692"/>
                <a:gd name="T43" fmla="*/ 416 h 417"/>
                <a:gd name="T44" fmla="*/ 391 w 692"/>
                <a:gd name="T45" fmla="*/ 410 h 417"/>
                <a:gd name="T46" fmla="*/ 381 w 692"/>
                <a:gd name="T47" fmla="*/ 380 h 417"/>
                <a:gd name="T48" fmla="*/ 351 w 692"/>
                <a:gd name="T49" fmla="*/ 350 h 417"/>
                <a:gd name="T50" fmla="*/ 313 w 692"/>
                <a:gd name="T51" fmla="*/ 306 h 417"/>
                <a:gd name="T52" fmla="*/ 292 w 692"/>
                <a:gd name="T53" fmla="*/ 299 h 417"/>
                <a:gd name="T54" fmla="*/ 285 w 692"/>
                <a:gd name="T55" fmla="*/ 312 h 417"/>
                <a:gd name="T56" fmla="*/ 262 w 692"/>
                <a:gd name="T57" fmla="*/ 326 h 417"/>
                <a:gd name="T58" fmla="*/ 253 w 692"/>
                <a:gd name="T59" fmla="*/ 340 h 417"/>
                <a:gd name="T60" fmla="*/ 243 w 692"/>
                <a:gd name="T61" fmla="*/ 355 h 417"/>
                <a:gd name="T62" fmla="*/ 166 w 692"/>
                <a:gd name="T63" fmla="*/ 286 h 417"/>
                <a:gd name="T64" fmla="*/ 154 w 692"/>
                <a:gd name="T65" fmla="*/ 264 h 417"/>
                <a:gd name="T66" fmla="*/ 119 w 692"/>
                <a:gd name="T67" fmla="*/ 248 h 417"/>
                <a:gd name="T68" fmla="*/ 92 w 692"/>
                <a:gd name="T69" fmla="*/ 212 h 417"/>
                <a:gd name="T70" fmla="*/ 52 w 692"/>
                <a:gd name="T71" fmla="*/ 196 h 417"/>
                <a:gd name="T72" fmla="*/ 7 w 692"/>
                <a:gd name="T73" fmla="*/ 209 h 417"/>
                <a:gd name="T74" fmla="*/ 38 w 692"/>
                <a:gd name="T75" fmla="*/ 160 h 417"/>
                <a:gd name="T76" fmla="*/ 59 w 692"/>
                <a:gd name="T77" fmla="*/ 137 h 417"/>
                <a:gd name="T78" fmla="*/ 60 w 692"/>
                <a:gd name="T79" fmla="*/ 121 h 417"/>
                <a:gd name="T80" fmla="*/ 73 w 692"/>
                <a:gd name="T81" fmla="*/ 89 h 417"/>
                <a:gd name="T82" fmla="*/ 108 w 692"/>
                <a:gd name="T83" fmla="*/ 66 h 417"/>
                <a:gd name="T84" fmla="*/ 216 w 692"/>
                <a:gd name="T85" fmla="*/ 42 h 417"/>
                <a:gd name="T86" fmla="*/ 248 w 692"/>
                <a:gd name="T87" fmla="*/ 18 h 417"/>
                <a:gd name="T88" fmla="*/ 260 w 692"/>
                <a:gd name="T89" fmla="*/ 17 h 417"/>
                <a:gd name="T90" fmla="*/ 270 w 692"/>
                <a:gd name="T91" fmla="*/ 30 h 417"/>
                <a:gd name="T92" fmla="*/ 281 w 692"/>
                <a:gd name="T93" fmla="*/ 37 h 417"/>
                <a:gd name="T94" fmla="*/ 292 w 692"/>
                <a:gd name="T95" fmla="*/ 55 h 417"/>
                <a:gd name="T96" fmla="*/ 326 w 692"/>
                <a:gd name="T97" fmla="*/ 94 h 417"/>
                <a:gd name="T98" fmla="*/ 360 w 692"/>
                <a:gd name="T99" fmla="*/ 116 h 417"/>
                <a:gd name="T100" fmla="*/ 397 w 692"/>
                <a:gd name="T101" fmla="*/ 131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2" h="417">
                  <a:moveTo>
                    <a:pt x="397" y="131"/>
                  </a:moveTo>
                  <a:lnTo>
                    <a:pt x="416" y="129"/>
                  </a:lnTo>
                  <a:lnTo>
                    <a:pt x="437" y="124"/>
                  </a:lnTo>
                  <a:lnTo>
                    <a:pt x="461" y="112"/>
                  </a:lnTo>
                  <a:lnTo>
                    <a:pt x="471" y="103"/>
                  </a:lnTo>
                  <a:lnTo>
                    <a:pt x="487" y="88"/>
                  </a:lnTo>
                  <a:lnTo>
                    <a:pt x="504" y="81"/>
                  </a:lnTo>
                  <a:lnTo>
                    <a:pt x="529" y="76"/>
                  </a:lnTo>
                  <a:lnTo>
                    <a:pt x="613" y="66"/>
                  </a:lnTo>
                  <a:lnTo>
                    <a:pt x="626" y="71"/>
                  </a:lnTo>
                  <a:lnTo>
                    <a:pt x="627" y="79"/>
                  </a:lnTo>
                  <a:lnTo>
                    <a:pt x="636" y="84"/>
                  </a:lnTo>
                  <a:lnTo>
                    <a:pt x="677" y="103"/>
                  </a:lnTo>
                  <a:lnTo>
                    <a:pt x="688" y="110"/>
                  </a:lnTo>
                  <a:lnTo>
                    <a:pt x="692" y="118"/>
                  </a:lnTo>
                  <a:lnTo>
                    <a:pt x="690" y="124"/>
                  </a:lnTo>
                  <a:lnTo>
                    <a:pt x="689" y="132"/>
                  </a:lnTo>
                  <a:lnTo>
                    <a:pt x="690" y="170"/>
                  </a:lnTo>
                  <a:lnTo>
                    <a:pt x="688" y="182"/>
                  </a:lnTo>
                  <a:lnTo>
                    <a:pt x="687" y="188"/>
                  </a:lnTo>
                  <a:lnTo>
                    <a:pt x="687" y="196"/>
                  </a:lnTo>
                  <a:lnTo>
                    <a:pt x="686" y="201"/>
                  </a:lnTo>
                  <a:lnTo>
                    <a:pt x="684" y="207"/>
                  </a:lnTo>
                  <a:lnTo>
                    <a:pt x="667" y="232"/>
                  </a:lnTo>
                  <a:lnTo>
                    <a:pt x="661" y="239"/>
                  </a:lnTo>
                  <a:lnTo>
                    <a:pt x="658" y="241"/>
                  </a:lnTo>
                  <a:lnTo>
                    <a:pt x="656" y="242"/>
                  </a:lnTo>
                  <a:lnTo>
                    <a:pt x="653" y="242"/>
                  </a:lnTo>
                  <a:lnTo>
                    <a:pt x="651" y="242"/>
                  </a:lnTo>
                  <a:lnTo>
                    <a:pt x="647" y="240"/>
                  </a:lnTo>
                  <a:lnTo>
                    <a:pt x="636" y="239"/>
                  </a:lnTo>
                  <a:lnTo>
                    <a:pt x="612" y="255"/>
                  </a:lnTo>
                  <a:lnTo>
                    <a:pt x="606" y="263"/>
                  </a:lnTo>
                  <a:lnTo>
                    <a:pt x="602" y="271"/>
                  </a:lnTo>
                  <a:lnTo>
                    <a:pt x="601" y="278"/>
                  </a:lnTo>
                  <a:lnTo>
                    <a:pt x="597" y="287"/>
                  </a:lnTo>
                  <a:lnTo>
                    <a:pt x="587" y="294"/>
                  </a:lnTo>
                  <a:lnTo>
                    <a:pt x="579" y="297"/>
                  </a:lnTo>
                  <a:lnTo>
                    <a:pt x="563" y="301"/>
                  </a:lnTo>
                  <a:lnTo>
                    <a:pt x="557" y="305"/>
                  </a:lnTo>
                  <a:lnTo>
                    <a:pt x="544" y="316"/>
                  </a:lnTo>
                  <a:lnTo>
                    <a:pt x="535" y="323"/>
                  </a:lnTo>
                  <a:lnTo>
                    <a:pt x="529" y="326"/>
                  </a:lnTo>
                  <a:lnTo>
                    <a:pt x="523" y="327"/>
                  </a:lnTo>
                  <a:lnTo>
                    <a:pt x="510" y="324"/>
                  </a:lnTo>
                  <a:lnTo>
                    <a:pt x="502" y="324"/>
                  </a:lnTo>
                  <a:lnTo>
                    <a:pt x="495" y="327"/>
                  </a:lnTo>
                  <a:lnTo>
                    <a:pt x="489" y="331"/>
                  </a:lnTo>
                  <a:lnTo>
                    <a:pt x="484" y="338"/>
                  </a:lnTo>
                  <a:lnTo>
                    <a:pt x="483" y="344"/>
                  </a:lnTo>
                  <a:lnTo>
                    <a:pt x="484" y="352"/>
                  </a:lnTo>
                  <a:lnTo>
                    <a:pt x="487" y="358"/>
                  </a:lnTo>
                  <a:lnTo>
                    <a:pt x="488" y="364"/>
                  </a:lnTo>
                  <a:lnTo>
                    <a:pt x="485" y="368"/>
                  </a:lnTo>
                  <a:lnTo>
                    <a:pt x="483" y="372"/>
                  </a:lnTo>
                  <a:lnTo>
                    <a:pt x="470" y="388"/>
                  </a:lnTo>
                  <a:lnTo>
                    <a:pt x="468" y="393"/>
                  </a:lnTo>
                  <a:lnTo>
                    <a:pt x="467" y="398"/>
                  </a:lnTo>
                  <a:lnTo>
                    <a:pt x="468" y="409"/>
                  </a:lnTo>
                  <a:lnTo>
                    <a:pt x="468" y="414"/>
                  </a:lnTo>
                  <a:lnTo>
                    <a:pt x="465" y="415"/>
                  </a:lnTo>
                  <a:lnTo>
                    <a:pt x="461" y="414"/>
                  </a:lnTo>
                  <a:lnTo>
                    <a:pt x="455" y="413"/>
                  </a:lnTo>
                  <a:lnTo>
                    <a:pt x="450" y="414"/>
                  </a:lnTo>
                  <a:lnTo>
                    <a:pt x="443" y="415"/>
                  </a:lnTo>
                  <a:lnTo>
                    <a:pt x="437" y="416"/>
                  </a:lnTo>
                  <a:lnTo>
                    <a:pt x="426" y="417"/>
                  </a:lnTo>
                  <a:lnTo>
                    <a:pt x="401" y="414"/>
                  </a:lnTo>
                  <a:lnTo>
                    <a:pt x="391" y="410"/>
                  </a:lnTo>
                  <a:lnTo>
                    <a:pt x="388" y="403"/>
                  </a:lnTo>
                  <a:lnTo>
                    <a:pt x="385" y="387"/>
                  </a:lnTo>
                  <a:lnTo>
                    <a:pt x="381" y="380"/>
                  </a:lnTo>
                  <a:lnTo>
                    <a:pt x="377" y="374"/>
                  </a:lnTo>
                  <a:lnTo>
                    <a:pt x="363" y="358"/>
                  </a:lnTo>
                  <a:lnTo>
                    <a:pt x="351" y="350"/>
                  </a:lnTo>
                  <a:lnTo>
                    <a:pt x="332" y="325"/>
                  </a:lnTo>
                  <a:lnTo>
                    <a:pt x="323" y="315"/>
                  </a:lnTo>
                  <a:lnTo>
                    <a:pt x="313" y="306"/>
                  </a:lnTo>
                  <a:lnTo>
                    <a:pt x="305" y="301"/>
                  </a:lnTo>
                  <a:lnTo>
                    <a:pt x="297" y="299"/>
                  </a:lnTo>
                  <a:lnTo>
                    <a:pt x="292" y="299"/>
                  </a:lnTo>
                  <a:lnTo>
                    <a:pt x="288" y="302"/>
                  </a:lnTo>
                  <a:lnTo>
                    <a:pt x="286" y="306"/>
                  </a:lnTo>
                  <a:lnTo>
                    <a:pt x="285" y="312"/>
                  </a:lnTo>
                  <a:lnTo>
                    <a:pt x="281" y="316"/>
                  </a:lnTo>
                  <a:lnTo>
                    <a:pt x="275" y="320"/>
                  </a:lnTo>
                  <a:lnTo>
                    <a:pt x="262" y="326"/>
                  </a:lnTo>
                  <a:lnTo>
                    <a:pt x="256" y="330"/>
                  </a:lnTo>
                  <a:lnTo>
                    <a:pt x="253" y="335"/>
                  </a:lnTo>
                  <a:lnTo>
                    <a:pt x="253" y="340"/>
                  </a:lnTo>
                  <a:lnTo>
                    <a:pt x="251" y="346"/>
                  </a:lnTo>
                  <a:lnTo>
                    <a:pt x="249" y="351"/>
                  </a:lnTo>
                  <a:lnTo>
                    <a:pt x="243" y="355"/>
                  </a:lnTo>
                  <a:lnTo>
                    <a:pt x="235" y="353"/>
                  </a:lnTo>
                  <a:lnTo>
                    <a:pt x="225" y="348"/>
                  </a:lnTo>
                  <a:lnTo>
                    <a:pt x="166" y="286"/>
                  </a:lnTo>
                  <a:lnTo>
                    <a:pt x="160" y="277"/>
                  </a:lnTo>
                  <a:lnTo>
                    <a:pt x="156" y="271"/>
                  </a:lnTo>
                  <a:lnTo>
                    <a:pt x="154" y="264"/>
                  </a:lnTo>
                  <a:lnTo>
                    <a:pt x="147" y="257"/>
                  </a:lnTo>
                  <a:lnTo>
                    <a:pt x="137" y="250"/>
                  </a:lnTo>
                  <a:lnTo>
                    <a:pt x="119" y="248"/>
                  </a:lnTo>
                  <a:lnTo>
                    <a:pt x="111" y="245"/>
                  </a:lnTo>
                  <a:lnTo>
                    <a:pt x="104" y="238"/>
                  </a:lnTo>
                  <a:lnTo>
                    <a:pt x="92" y="212"/>
                  </a:lnTo>
                  <a:lnTo>
                    <a:pt x="85" y="203"/>
                  </a:lnTo>
                  <a:lnTo>
                    <a:pt x="75" y="197"/>
                  </a:lnTo>
                  <a:lnTo>
                    <a:pt x="52" y="196"/>
                  </a:lnTo>
                  <a:lnTo>
                    <a:pt x="33" y="201"/>
                  </a:lnTo>
                  <a:lnTo>
                    <a:pt x="16" y="210"/>
                  </a:lnTo>
                  <a:lnTo>
                    <a:pt x="7" y="209"/>
                  </a:lnTo>
                  <a:lnTo>
                    <a:pt x="1" y="203"/>
                  </a:lnTo>
                  <a:lnTo>
                    <a:pt x="0" y="195"/>
                  </a:lnTo>
                  <a:lnTo>
                    <a:pt x="38" y="160"/>
                  </a:lnTo>
                  <a:lnTo>
                    <a:pt x="60" y="145"/>
                  </a:lnTo>
                  <a:lnTo>
                    <a:pt x="61" y="142"/>
                  </a:lnTo>
                  <a:lnTo>
                    <a:pt x="59" y="137"/>
                  </a:lnTo>
                  <a:lnTo>
                    <a:pt x="56" y="132"/>
                  </a:lnTo>
                  <a:lnTo>
                    <a:pt x="56" y="127"/>
                  </a:lnTo>
                  <a:lnTo>
                    <a:pt x="60" y="121"/>
                  </a:lnTo>
                  <a:lnTo>
                    <a:pt x="60" y="105"/>
                  </a:lnTo>
                  <a:lnTo>
                    <a:pt x="66" y="96"/>
                  </a:lnTo>
                  <a:lnTo>
                    <a:pt x="73" y="89"/>
                  </a:lnTo>
                  <a:lnTo>
                    <a:pt x="91" y="75"/>
                  </a:lnTo>
                  <a:lnTo>
                    <a:pt x="101" y="69"/>
                  </a:lnTo>
                  <a:lnTo>
                    <a:pt x="108" y="66"/>
                  </a:lnTo>
                  <a:lnTo>
                    <a:pt x="188" y="52"/>
                  </a:lnTo>
                  <a:lnTo>
                    <a:pt x="201" y="47"/>
                  </a:lnTo>
                  <a:lnTo>
                    <a:pt x="216" y="42"/>
                  </a:lnTo>
                  <a:lnTo>
                    <a:pt x="232" y="33"/>
                  </a:lnTo>
                  <a:lnTo>
                    <a:pt x="241" y="26"/>
                  </a:lnTo>
                  <a:lnTo>
                    <a:pt x="248" y="18"/>
                  </a:lnTo>
                  <a:lnTo>
                    <a:pt x="251" y="13"/>
                  </a:lnTo>
                  <a:lnTo>
                    <a:pt x="258" y="0"/>
                  </a:lnTo>
                  <a:lnTo>
                    <a:pt x="260" y="17"/>
                  </a:lnTo>
                  <a:lnTo>
                    <a:pt x="262" y="20"/>
                  </a:lnTo>
                  <a:lnTo>
                    <a:pt x="267" y="27"/>
                  </a:lnTo>
                  <a:lnTo>
                    <a:pt x="270" y="30"/>
                  </a:lnTo>
                  <a:lnTo>
                    <a:pt x="274" y="32"/>
                  </a:lnTo>
                  <a:lnTo>
                    <a:pt x="277" y="34"/>
                  </a:lnTo>
                  <a:lnTo>
                    <a:pt x="281" y="37"/>
                  </a:lnTo>
                  <a:lnTo>
                    <a:pt x="284" y="46"/>
                  </a:lnTo>
                  <a:lnTo>
                    <a:pt x="287" y="52"/>
                  </a:lnTo>
                  <a:lnTo>
                    <a:pt x="292" y="55"/>
                  </a:lnTo>
                  <a:lnTo>
                    <a:pt x="298" y="59"/>
                  </a:lnTo>
                  <a:lnTo>
                    <a:pt x="305" y="64"/>
                  </a:lnTo>
                  <a:lnTo>
                    <a:pt x="326" y="94"/>
                  </a:lnTo>
                  <a:lnTo>
                    <a:pt x="336" y="104"/>
                  </a:lnTo>
                  <a:lnTo>
                    <a:pt x="346" y="110"/>
                  </a:lnTo>
                  <a:lnTo>
                    <a:pt x="360" y="116"/>
                  </a:lnTo>
                  <a:lnTo>
                    <a:pt x="373" y="125"/>
                  </a:lnTo>
                  <a:lnTo>
                    <a:pt x="381" y="129"/>
                  </a:lnTo>
                  <a:lnTo>
                    <a:pt x="397" y="13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BAFF3A61-D3EB-3551-651C-5F7D888F5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149" y="2796513"/>
              <a:ext cx="526582" cy="1036983"/>
            </a:xfrm>
            <a:custGeom>
              <a:avLst/>
              <a:gdLst>
                <a:gd name="T0" fmla="*/ 292 w 358"/>
                <a:gd name="T1" fmla="*/ 34 h 705"/>
                <a:gd name="T2" fmla="*/ 330 w 358"/>
                <a:gd name="T3" fmla="*/ 12 h 705"/>
                <a:gd name="T4" fmla="*/ 333 w 358"/>
                <a:gd name="T5" fmla="*/ 52 h 705"/>
                <a:gd name="T6" fmla="*/ 320 w 358"/>
                <a:gd name="T7" fmla="*/ 109 h 705"/>
                <a:gd name="T8" fmla="*/ 311 w 358"/>
                <a:gd name="T9" fmla="*/ 164 h 705"/>
                <a:gd name="T10" fmla="*/ 340 w 358"/>
                <a:gd name="T11" fmla="*/ 205 h 705"/>
                <a:gd name="T12" fmla="*/ 344 w 358"/>
                <a:gd name="T13" fmla="*/ 234 h 705"/>
                <a:gd name="T14" fmla="*/ 358 w 358"/>
                <a:gd name="T15" fmla="*/ 271 h 705"/>
                <a:gd name="T16" fmla="*/ 356 w 358"/>
                <a:gd name="T17" fmla="*/ 324 h 705"/>
                <a:gd name="T18" fmla="*/ 333 w 358"/>
                <a:gd name="T19" fmla="*/ 381 h 705"/>
                <a:gd name="T20" fmla="*/ 276 w 358"/>
                <a:gd name="T21" fmla="*/ 408 h 705"/>
                <a:gd name="T22" fmla="*/ 259 w 358"/>
                <a:gd name="T23" fmla="*/ 422 h 705"/>
                <a:gd name="T24" fmla="*/ 254 w 358"/>
                <a:gd name="T25" fmla="*/ 470 h 705"/>
                <a:gd name="T26" fmla="*/ 260 w 358"/>
                <a:gd name="T27" fmla="*/ 513 h 705"/>
                <a:gd name="T28" fmla="*/ 246 w 358"/>
                <a:gd name="T29" fmla="*/ 614 h 705"/>
                <a:gd name="T30" fmla="*/ 249 w 358"/>
                <a:gd name="T31" fmla="*/ 634 h 705"/>
                <a:gd name="T32" fmla="*/ 209 w 358"/>
                <a:gd name="T33" fmla="*/ 685 h 705"/>
                <a:gd name="T34" fmla="*/ 172 w 358"/>
                <a:gd name="T35" fmla="*/ 671 h 705"/>
                <a:gd name="T36" fmla="*/ 153 w 358"/>
                <a:gd name="T37" fmla="*/ 670 h 705"/>
                <a:gd name="T38" fmla="*/ 137 w 358"/>
                <a:gd name="T39" fmla="*/ 677 h 705"/>
                <a:gd name="T40" fmla="*/ 112 w 358"/>
                <a:gd name="T41" fmla="*/ 651 h 705"/>
                <a:gd name="T42" fmla="*/ 122 w 358"/>
                <a:gd name="T43" fmla="*/ 612 h 705"/>
                <a:gd name="T44" fmla="*/ 73 w 358"/>
                <a:gd name="T45" fmla="*/ 537 h 705"/>
                <a:gd name="T46" fmla="*/ 84 w 358"/>
                <a:gd name="T47" fmla="*/ 519 h 705"/>
                <a:gd name="T48" fmla="*/ 105 w 358"/>
                <a:gd name="T49" fmla="*/ 459 h 705"/>
                <a:gd name="T50" fmla="*/ 98 w 358"/>
                <a:gd name="T51" fmla="*/ 435 h 705"/>
                <a:gd name="T52" fmla="*/ 90 w 358"/>
                <a:gd name="T53" fmla="*/ 410 h 705"/>
                <a:gd name="T54" fmla="*/ 72 w 358"/>
                <a:gd name="T55" fmla="*/ 361 h 705"/>
                <a:gd name="T56" fmla="*/ 55 w 358"/>
                <a:gd name="T57" fmla="*/ 337 h 705"/>
                <a:gd name="T58" fmla="*/ 44 w 358"/>
                <a:gd name="T59" fmla="*/ 333 h 705"/>
                <a:gd name="T60" fmla="*/ 32 w 358"/>
                <a:gd name="T61" fmla="*/ 329 h 705"/>
                <a:gd name="T62" fmla="*/ 35 w 358"/>
                <a:gd name="T63" fmla="*/ 319 h 705"/>
                <a:gd name="T64" fmla="*/ 64 w 358"/>
                <a:gd name="T65" fmla="*/ 290 h 705"/>
                <a:gd name="T66" fmla="*/ 75 w 358"/>
                <a:gd name="T67" fmla="*/ 293 h 705"/>
                <a:gd name="T68" fmla="*/ 85 w 358"/>
                <a:gd name="T69" fmla="*/ 284 h 705"/>
                <a:gd name="T70" fmla="*/ 93 w 358"/>
                <a:gd name="T71" fmla="*/ 260 h 705"/>
                <a:gd name="T72" fmla="*/ 61 w 358"/>
                <a:gd name="T73" fmla="*/ 232 h 705"/>
                <a:gd name="T74" fmla="*/ 44 w 358"/>
                <a:gd name="T75" fmla="*/ 198 h 705"/>
                <a:gd name="T76" fmla="*/ 49 w 358"/>
                <a:gd name="T77" fmla="*/ 135 h 705"/>
                <a:gd name="T78" fmla="*/ 59 w 358"/>
                <a:gd name="T79" fmla="*/ 132 h 705"/>
                <a:gd name="T80" fmla="*/ 65 w 358"/>
                <a:gd name="T81" fmla="*/ 122 h 705"/>
                <a:gd name="T82" fmla="*/ 34 w 358"/>
                <a:gd name="T83" fmla="*/ 93 h 705"/>
                <a:gd name="T84" fmla="*/ 17 w 358"/>
                <a:gd name="T85" fmla="*/ 110 h 705"/>
                <a:gd name="T86" fmla="*/ 2 w 358"/>
                <a:gd name="T87" fmla="*/ 115 h 705"/>
                <a:gd name="T88" fmla="*/ 12 w 358"/>
                <a:gd name="T89" fmla="*/ 91 h 705"/>
                <a:gd name="T90" fmla="*/ 72 w 358"/>
                <a:gd name="T91" fmla="*/ 34 h 705"/>
                <a:gd name="T92" fmla="*/ 168 w 358"/>
                <a:gd name="T93" fmla="*/ 3 h 705"/>
                <a:gd name="T94" fmla="*/ 204 w 358"/>
                <a:gd name="T95" fmla="*/ 2 h 705"/>
                <a:gd name="T96" fmla="*/ 216 w 358"/>
                <a:gd name="T97" fmla="*/ 15 h 705"/>
                <a:gd name="T98" fmla="*/ 266 w 358"/>
                <a:gd name="T99" fmla="*/ 38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8" h="705">
                  <a:moveTo>
                    <a:pt x="266" y="38"/>
                  </a:moveTo>
                  <a:lnTo>
                    <a:pt x="281" y="37"/>
                  </a:lnTo>
                  <a:lnTo>
                    <a:pt x="292" y="34"/>
                  </a:lnTo>
                  <a:lnTo>
                    <a:pt x="311" y="19"/>
                  </a:lnTo>
                  <a:lnTo>
                    <a:pt x="322" y="13"/>
                  </a:lnTo>
                  <a:lnTo>
                    <a:pt x="330" y="12"/>
                  </a:lnTo>
                  <a:lnTo>
                    <a:pt x="350" y="18"/>
                  </a:lnTo>
                  <a:lnTo>
                    <a:pt x="334" y="44"/>
                  </a:lnTo>
                  <a:lnTo>
                    <a:pt x="333" y="52"/>
                  </a:lnTo>
                  <a:lnTo>
                    <a:pt x="332" y="78"/>
                  </a:lnTo>
                  <a:lnTo>
                    <a:pt x="329" y="89"/>
                  </a:lnTo>
                  <a:lnTo>
                    <a:pt x="320" y="109"/>
                  </a:lnTo>
                  <a:lnTo>
                    <a:pt x="316" y="121"/>
                  </a:lnTo>
                  <a:lnTo>
                    <a:pt x="308" y="154"/>
                  </a:lnTo>
                  <a:lnTo>
                    <a:pt x="311" y="164"/>
                  </a:lnTo>
                  <a:lnTo>
                    <a:pt x="327" y="188"/>
                  </a:lnTo>
                  <a:lnTo>
                    <a:pt x="334" y="197"/>
                  </a:lnTo>
                  <a:lnTo>
                    <a:pt x="340" y="205"/>
                  </a:lnTo>
                  <a:lnTo>
                    <a:pt x="340" y="219"/>
                  </a:lnTo>
                  <a:lnTo>
                    <a:pt x="341" y="226"/>
                  </a:lnTo>
                  <a:lnTo>
                    <a:pt x="344" y="234"/>
                  </a:lnTo>
                  <a:lnTo>
                    <a:pt x="355" y="252"/>
                  </a:lnTo>
                  <a:lnTo>
                    <a:pt x="358" y="260"/>
                  </a:lnTo>
                  <a:lnTo>
                    <a:pt x="358" y="271"/>
                  </a:lnTo>
                  <a:lnTo>
                    <a:pt x="356" y="286"/>
                  </a:lnTo>
                  <a:lnTo>
                    <a:pt x="355" y="303"/>
                  </a:lnTo>
                  <a:lnTo>
                    <a:pt x="356" y="324"/>
                  </a:lnTo>
                  <a:lnTo>
                    <a:pt x="354" y="343"/>
                  </a:lnTo>
                  <a:lnTo>
                    <a:pt x="346" y="360"/>
                  </a:lnTo>
                  <a:lnTo>
                    <a:pt x="333" y="381"/>
                  </a:lnTo>
                  <a:lnTo>
                    <a:pt x="309" y="401"/>
                  </a:lnTo>
                  <a:lnTo>
                    <a:pt x="300" y="405"/>
                  </a:lnTo>
                  <a:lnTo>
                    <a:pt x="276" y="408"/>
                  </a:lnTo>
                  <a:lnTo>
                    <a:pt x="268" y="411"/>
                  </a:lnTo>
                  <a:lnTo>
                    <a:pt x="262" y="417"/>
                  </a:lnTo>
                  <a:lnTo>
                    <a:pt x="259" y="422"/>
                  </a:lnTo>
                  <a:lnTo>
                    <a:pt x="256" y="428"/>
                  </a:lnTo>
                  <a:lnTo>
                    <a:pt x="256" y="440"/>
                  </a:lnTo>
                  <a:lnTo>
                    <a:pt x="254" y="470"/>
                  </a:lnTo>
                  <a:lnTo>
                    <a:pt x="255" y="491"/>
                  </a:lnTo>
                  <a:lnTo>
                    <a:pt x="260" y="505"/>
                  </a:lnTo>
                  <a:lnTo>
                    <a:pt x="260" y="513"/>
                  </a:lnTo>
                  <a:lnTo>
                    <a:pt x="242" y="600"/>
                  </a:lnTo>
                  <a:lnTo>
                    <a:pt x="243" y="607"/>
                  </a:lnTo>
                  <a:lnTo>
                    <a:pt x="246" y="614"/>
                  </a:lnTo>
                  <a:lnTo>
                    <a:pt x="249" y="620"/>
                  </a:lnTo>
                  <a:lnTo>
                    <a:pt x="250" y="627"/>
                  </a:lnTo>
                  <a:lnTo>
                    <a:pt x="249" y="634"/>
                  </a:lnTo>
                  <a:lnTo>
                    <a:pt x="246" y="642"/>
                  </a:lnTo>
                  <a:lnTo>
                    <a:pt x="233" y="661"/>
                  </a:lnTo>
                  <a:lnTo>
                    <a:pt x="209" y="685"/>
                  </a:lnTo>
                  <a:lnTo>
                    <a:pt x="173" y="705"/>
                  </a:lnTo>
                  <a:lnTo>
                    <a:pt x="174" y="677"/>
                  </a:lnTo>
                  <a:lnTo>
                    <a:pt x="172" y="671"/>
                  </a:lnTo>
                  <a:lnTo>
                    <a:pt x="166" y="666"/>
                  </a:lnTo>
                  <a:lnTo>
                    <a:pt x="160" y="666"/>
                  </a:lnTo>
                  <a:lnTo>
                    <a:pt x="153" y="670"/>
                  </a:lnTo>
                  <a:lnTo>
                    <a:pt x="149" y="673"/>
                  </a:lnTo>
                  <a:lnTo>
                    <a:pt x="145" y="677"/>
                  </a:lnTo>
                  <a:lnTo>
                    <a:pt x="137" y="677"/>
                  </a:lnTo>
                  <a:lnTo>
                    <a:pt x="130" y="677"/>
                  </a:lnTo>
                  <a:lnTo>
                    <a:pt x="103" y="671"/>
                  </a:lnTo>
                  <a:lnTo>
                    <a:pt x="112" y="651"/>
                  </a:lnTo>
                  <a:lnTo>
                    <a:pt x="118" y="628"/>
                  </a:lnTo>
                  <a:lnTo>
                    <a:pt x="122" y="617"/>
                  </a:lnTo>
                  <a:lnTo>
                    <a:pt x="122" y="612"/>
                  </a:lnTo>
                  <a:lnTo>
                    <a:pt x="118" y="602"/>
                  </a:lnTo>
                  <a:lnTo>
                    <a:pt x="95" y="565"/>
                  </a:lnTo>
                  <a:lnTo>
                    <a:pt x="73" y="537"/>
                  </a:lnTo>
                  <a:lnTo>
                    <a:pt x="72" y="531"/>
                  </a:lnTo>
                  <a:lnTo>
                    <a:pt x="75" y="525"/>
                  </a:lnTo>
                  <a:lnTo>
                    <a:pt x="84" y="519"/>
                  </a:lnTo>
                  <a:lnTo>
                    <a:pt x="86" y="516"/>
                  </a:lnTo>
                  <a:lnTo>
                    <a:pt x="98" y="472"/>
                  </a:lnTo>
                  <a:lnTo>
                    <a:pt x="105" y="459"/>
                  </a:lnTo>
                  <a:lnTo>
                    <a:pt x="106" y="449"/>
                  </a:lnTo>
                  <a:lnTo>
                    <a:pt x="103" y="441"/>
                  </a:lnTo>
                  <a:lnTo>
                    <a:pt x="98" y="435"/>
                  </a:lnTo>
                  <a:lnTo>
                    <a:pt x="93" y="425"/>
                  </a:lnTo>
                  <a:lnTo>
                    <a:pt x="91" y="417"/>
                  </a:lnTo>
                  <a:lnTo>
                    <a:pt x="90" y="410"/>
                  </a:lnTo>
                  <a:lnTo>
                    <a:pt x="93" y="397"/>
                  </a:lnTo>
                  <a:lnTo>
                    <a:pt x="92" y="392"/>
                  </a:lnTo>
                  <a:lnTo>
                    <a:pt x="72" y="361"/>
                  </a:lnTo>
                  <a:lnTo>
                    <a:pt x="65" y="347"/>
                  </a:lnTo>
                  <a:lnTo>
                    <a:pt x="59" y="340"/>
                  </a:lnTo>
                  <a:lnTo>
                    <a:pt x="55" y="337"/>
                  </a:lnTo>
                  <a:lnTo>
                    <a:pt x="51" y="339"/>
                  </a:lnTo>
                  <a:lnTo>
                    <a:pt x="47" y="336"/>
                  </a:lnTo>
                  <a:lnTo>
                    <a:pt x="44" y="333"/>
                  </a:lnTo>
                  <a:lnTo>
                    <a:pt x="41" y="331"/>
                  </a:lnTo>
                  <a:lnTo>
                    <a:pt x="35" y="330"/>
                  </a:lnTo>
                  <a:lnTo>
                    <a:pt x="32" y="329"/>
                  </a:lnTo>
                  <a:lnTo>
                    <a:pt x="30" y="326"/>
                  </a:lnTo>
                  <a:lnTo>
                    <a:pt x="31" y="321"/>
                  </a:lnTo>
                  <a:lnTo>
                    <a:pt x="35" y="319"/>
                  </a:lnTo>
                  <a:lnTo>
                    <a:pt x="41" y="316"/>
                  </a:lnTo>
                  <a:lnTo>
                    <a:pt x="45" y="311"/>
                  </a:lnTo>
                  <a:lnTo>
                    <a:pt x="64" y="290"/>
                  </a:lnTo>
                  <a:lnTo>
                    <a:pt x="68" y="289"/>
                  </a:lnTo>
                  <a:lnTo>
                    <a:pt x="71" y="290"/>
                  </a:lnTo>
                  <a:lnTo>
                    <a:pt x="75" y="293"/>
                  </a:lnTo>
                  <a:lnTo>
                    <a:pt x="79" y="293"/>
                  </a:lnTo>
                  <a:lnTo>
                    <a:pt x="81" y="291"/>
                  </a:lnTo>
                  <a:lnTo>
                    <a:pt x="85" y="284"/>
                  </a:lnTo>
                  <a:lnTo>
                    <a:pt x="88" y="279"/>
                  </a:lnTo>
                  <a:lnTo>
                    <a:pt x="92" y="269"/>
                  </a:lnTo>
                  <a:lnTo>
                    <a:pt x="93" y="260"/>
                  </a:lnTo>
                  <a:lnTo>
                    <a:pt x="88" y="252"/>
                  </a:lnTo>
                  <a:lnTo>
                    <a:pt x="83" y="246"/>
                  </a:lnTo>
                  <a:lnTo>
                    <a:pt x="61" y="232"/>
                  </a:lnTo>
                  <a:lnTo>
                    <a:pt x="53" y="223"/>
                  </a:lnTo>
                  <a:lnTo>
                    <a:pt x="46" y="212"/>
                  </a:lnTo>
                  <a:lnTo>
                    <a:pt x="44" y="198"/>
                  </a:lnTo>
                  <a:lnTo>
                    <a:pt x="45" y="146"/>
                  </a:lnTo>
                  <a:lnTo>
                    <a:pt x="46" y="139"/>
                  </a:lnTo>
                  <a:lnTo>
                    <a:pt x="49" y="135"/>
                  </a:lnTo>
                  <a:lnTo>
                    <a:pt x="52" y="134"/>
                  </a:lnTo>
                  <a:lnTo>
                    <a:pt x="56" y="134"/>
                  </a:lnTo>
                  <a:lnTo>
                    <a:pt x="59" y="132"/>
                  </a:lnTo>
                  <a:lnTo>
                    <a:pt x="62" y="129"/>
                  </a:lnTo>
                  <a:lnTo>
                    <a:pt x="65" y="125"/>
                  </a:lnTo>
                  <a:lnTo>
                    <a:pt x="65" y="122"/>
                  </a:lnTo>
                  <a:lnTo>
                    <a:pt x="45" y="108"/>
                  </a:lnTo>
                  <a:lnTo>
                    <a:pt x="39" y="96"/>
                  </a:lnTo>
                  <a:lnTo>
                    <a:pt x="34" y="93"/>
                  </a:lnTo>
                  <a:lnTo>
                    <a:pt x="30" y="93"/>
                  </a:lnTo>
                  <a:lnTo>
                    <a:pt x="26" y="97"/>
                  </a:lnTo>
                  <a:lnTo>
                    <a:pt x="17" y="110"/>
                  </a:lnTo>
                  <a:lnTo>
                    <a:pt x="13" y="114"/>
                  </a:lnTo>
                  <a:lnTo>
                    <a:pt x="7" y="116"/>
                  </a:lnTo>
                  <a:lnTo>
                    <a:pt x="2" y="115"/>
                  </a:lnTo>
                  <a:lnTo>
                    <a:pt x="0" y="111"/>
                  </a:lnTo>
                  <a:lnTo>
                    <a:pt x="2" y="102"/>
                  </a:lnTo>
                  <a:lnTo>
                    <a:pt x="12" y="91"/>
                  </a:lnTo>
                  <a:lnTo>
                    <a:pt x="28" y="65"/>
                  </a:lnTo>
                  <a:lnTo>
                    <a:pt x="40" y="49"/>
                  </a:lnTo>
                  <a:lnTo>
                    <a:pt x="72" y="34"/>
                  </a:lnTo>
                  <a:lnTo>
                    <a:pt x="103" y="32"/>
                  </a:lnTo>
                  <a:lnTo>
                    <a:pt x="151" y="7"/>
                  </a:lnTo>
                  <a:lnTo>
                    <a:pt x="168" y="3"/>
                  </a:lnTo>
                  <a:lnTo>
                    <a:pt x="186" y="0"/>
                  </a:lnTo>
                  <a:lnTo>
                    <a:pt x="196" y="0"/>
                  </a:lnTo>
                  <a:lnTo>
                    <a:pt x="204" y="2"/>
                  </a:lnTo>
                  <a:lnTo>
                    <a:pt x="209" y="5"/>
                  </a:lnTo>
                  <a:lnTo>
                    <a:pt x="212" y="10"/>
                  </a:lnTo>
                  <a:lnTo>
                    <a:pt x="216" y="15"/>
                  </a:lnTo>
                  <a:lnTo>
                    <a:pt x="237" y="28"/>
                  </a:lnTo>
                  <a:lnTo>
                    <a:pt x="250" y="34"/>
                  </a:lnTo>
                  <a:lnTo>
                    <a:pt x="266" y="3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6415B052-5B11-9338-F7EC-F9A99694E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424" y="4121793"/>
              <a:ext cx="1319396" cy="1123766"/>
            </a:xfrm>
            <a:custGeom>
              <a:avLst/>
              <a:gdLst>
                <a:gd name="T0" fmla="*/ 418 w 897"/>
                <a:gd name="T1" fmla="*/ 144 h 764"/>
                <a:gd name="T2" fmla="*/ 440 w 897"/>
                <a:gd name="T3" fmla="*/ 124 h 764"/>
                <a:gd name="T4" fmla="*/ 453 w 897"/>
                <a:gd name="T5" fmla="*/ 106 h 764"/>
                <a:gd name="T6" fmla="*/ 478 w 897"/>
                <a:gd name="T7" fmla="*/ 110 h 764"/>
                <a:gd name="T8" fmla="*/ 528 w 897"/>
                <a:gd name="T9" fmla="*/ 162 h 764"/>
                <a:gd name="T10" fmla="*/ 553 w 897"/>
                <a:gd name="T11" fmla="*/ 207 h 764"/>
                <a:gd name="T12" fmla="*/ 602 w 897"/>
                <a:gd name="T13" fmla="*/ 220 h 764"/>
                <a:gd name="T14" fmla="*/ 626 w 897"/>
                <a:gd name="T15" fmla="*/ 218 h 764"/>
                <a:gd name="T16" fmla="*/ 632 w 897"/>
                <a:gd name="T17" fmla="*/ 202 h 764"/>
                <a:gd name="T18" fmla="*/ 650 w 897"/>
                <a:gd name="T19" fmla="*/ 172 h 764"/>
                <a:gd name="T20" fmla="*/ 648 w 897"/>
                <a:gd name="T21" fmla="*/ 148 h 764"/>
                <a:gd name="T22" fmla="*/ 667 w 897"/>
                <a:gd name="T23" fmla="*/ 128 h 764"/>
                <a:gd name="T24" fmla="*/ 700 w 897"/>
                <a:gd name="T25" fmla="*/ 127 h 764"/>
                <a:gd name="T26" fmla="*/ 744 w 897"/>
                <a:gd name="T27" fmla="*/ 101 h 764"/>
                <a:gd name="T28" fmla="*/ 767 w 897"/>
                <a:gd name="T29" fmla="*/ 75 h 764"/>
                <a:gd name="T30" fmla="*/ 812 w 897"/>
                <a:gd name="T31" fmla="*/ 44 h 764"/>
                <a:gd name="T32" fmla="*/ 816 w 897"/>
                <a:gd name="T33" fmla="*/ 82 h 764"/>
                <a:gd name="T34" fmla="*/ 831 w 897"/>
                <a:gd name="T35" fmla="*/ 74 h 764"/>
                <a:gd name="T36" fmla="*/ 851 w 897"/>
                <a:gd name="T37" fmla="*/ 50 h 764"/>
                <a:gd name="T38" fmla="*/ 888 w 897"/>
                <a:gd name="T39" fmla="*/ 65 h 764"/>
                <a:gd name="T40" fmla="*/ 897 w 897"/>
                <a:gd name="T41" fmla="*/ 87 h 764"/>
                <a:gd name="T42" fmla="*/ 805 w 897"/>
                <a:gd name="T43" fmla="*/ 143 h 764"/>
                <a:gd name="T44" fmla="*/ 780 w 897"/>
                <a:gd name="T45" fmla="*/ 198 h 764"/>
                <a:gd name="T46" fmla="*/ 798 w 897"/>
                <a:gd name="T47" fmla="*/ 223 h 764"/>
                <a:gd name="T48" fmla="*/ 758 w 897"/>
                <a:gd name="T49" fmla="*/ 302 h 764"/>
                <a:gd name="T50" fmla="*/ 737 w 897"/>
                <a:gd name="T51" fmla="*/ 364 h 764"/>
                <a:gd name="T52" fmla="*/ 712 w 897"/>
                <a:gd name="T53" fmla="*/ 417 h 764"/>
                <a:gd name="T54" fmla="*/ 634 w 897"/>
                <a:gd name="T55" fmla="*/ 464 h 764"/>
                <a:gd name="T56" fmla="*/ 551 w 897"/>
                <a:gd name="T57" fmla="*/ 554 h 764"/>
                <a:gd name="T58" fmla="*/ 479 w 897"/>
                <a:gd name="T59" fmla="*/ 604 h 764"/>
                <a:gd name="T60" fmla="*/ 470 w 897"/>
                <a:gd name="T61" fmla="*/ 632 h 764"/>
                <a:gd name="T62" fmla="*/ 478 w 897"/>
                <a:gd name="T63" fmla="*/ 655 h 764"/>
                <a:gd name="T64" fmla="*/ 476 w 897"/>
                <a:gd name="T65" fmla="*/ 707 h 764"/>
                <a:gd name="T66" fmla="*/ 458 w 897"/>
                <a:gd name="T67" fmla="*/ 760 h 764"/>
                <a:gd name="T68" fmla="*/ 427 w 897"/>
                <a:gd name="T69" fmla="*/ 726 h 764"/>
                <a:gd name="T70" fmla="*/ 395 w 897"/>
                <a:gd name="T71" fmla="*/ 651 h 764"/>
                <a:gd name="T72" fmla="*/ 361 w 897"/>
                <a:gd name="T73" fmla="*/ 645 h 764"/>
                <a:gd name="T74" fmla="*/ 314 w 897"/>
                <a:gd name="T75" fmla="*/ 630 h 764"/>
                <a:gd name="T76" fmla="*/ 308 w 897"/>
                <a:gd name="T77" fmla="*/ 587 h 764"/>
                <a:gd name="T78" fmla="*/ 280 w 897"/>
                <a:gd name="T79" fmla="*/ 565 h 764"/>
                <a:gd name="T80" fmla="*/ 203 w 897"/>
                <a:gd name="T81" fmla="*/ 557 h 764"/>
                <a:gd name="T82" fmla="*/ 136 w 897"/>
                <a:gd name="T83" fmla="*/ 549 h 764"/>
                <a:gd name="T84" fmla="*/ 62 w 897"/>
                <a:gd name="T85" fmla="*/ 551 h 764"/>
                <a:gd name="T86" fmla="*/ 86 w 897"/>
                <a:gd name="T87" fmla="*/ 532 h 764"/>
                <a:gd name="T88" fmla="*/ 112 w 897"/>
                <a:gd name="T89" fmla="*/ 474 h 764"/>
                <a:gd name="T90" fmla="*/ 83 w 897"/>
                <a:gd name="T91" fmla="*/ 424 h 764"/>
                <a:gd name="T92" fmla="*/ 8 w 897"/>
                <a:gd name="T93" fmla="*/ 353 h 764"/>
                <a:gd name="T94" fmla="*/ 39 w 897"/>
                <a:gd name="T95" fmla="*/ 265 h 764"/>
                <a:gd name="T96" fmla="*/ 194 w 897"/>
                <a:gd name="T97" fmla="*/ 67 h 764"/>
                <a:gd name="T98" fmla="*/ 211 w 897"/>
                <a:gd name="T99" fmla="*/ 54 h 764"/>
                <a:gd name="T100" fmla="*/ 225 w 897"/>
                <a:gd name="T101" fmla="*/ 17 h 764"/>
                <a:gd name="T102" fmla="*/ 257 w 897"/>
                <a:gd name="T103" fmla="*/ 16 h 764"/>
                <a:gd name="T104" fmla="*/ 302 w 897"/>
                <a:gd name="T105" fmla="*/ 54 h 764"/>
                <a:gd name="T106" fmla="*/ 325 w 897"/>
                <a:gd name="T107" fmla="*/ 81 h 764"/>
                <a:gd name="T108" fmla="*/ 408 w 897"/>
                <a:gd name="T109" fmla="*/ 1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7" h="764">
                  <a:moveTo>
                    <a:pt x="408" y="159"/>
                  </a:moveTo>
                  <a:lnTo>
                    <a:pt x="414" y="155"/>
                  </a:lnTo>
                  <a:lnTo>
                    <a:pt x="416" y="150"/>
                  </a:lnTo>
                  <a:lnTo>
                    <a:pt x="418" y="144"/>
                  </a:lnTo>
                  <a:lnTo>
                    <a:pt x="418" y="139"/>
                  </a:lnTo>
                  <a:lnTo>
                    <a:pt x="421" y="134"/>
                  </a:lnTo>
                  <a:lnTo>
                    <a:pt x="427" y="130"/>
                  </a:lnTo>
                  <a:lnTo>
                    <a:pt x="440" y="124"/>
                  </a:lnTo>
                  <a:lnTo>
                    <a:pt x="446" y="120"/>
                  </a:lnTo>
                  <a:lnTo>
                    <a:pt x="450" y="116"/>
                  </a:lnTo>
                  <a:lnTo>
                    <a:pt x="451" y="110"/>
                  </a:lnTo>
                  <a:lnTo>
                    <a:pt x="453" y="106"/>
                  </a:lnTo>
                  <a:lnTo>
                    <a:pt x="457" y="103"/>
                  </a:lnTo>
                  <a:lnTo>
                    <a:pt x="462" y="103"/>
                  </a:lnTo>
                  <a:lnTo>
                    <a:pt x="470" y="105"/>
                  </a:lnTo>
                  <a:lnTo>
                    <a:pt x="478" y="110"/>
                  </a:lnTo>
                  <a:lnTo>
                    <a:pt x="488" y="119"/>
                  </a:lnTo>
                  <a:lnTo>
                    <a:pt x="497" y="129"/>
                  </a:lnTo>
                  <a:lnTo>
                    <a:pt x="516" y="154"/>
                  </a:lnTo>
                  <a:lnTo>
                    <a:pt x="528" y="162"/>
                  </a:lnTo>
                  <a:lnTo>
                    <a:pt x="542" y="178"/>
                  </a:lnTo>
                  <a:lnTo>
                    <a:pt x="546" y="184"/>
                  </a:lnTo>
                  <a:lnTo>
                    <a:pt x="550" y="191"/>
                  </a:lnTo>
                  <a:lnTo>
                    <a:pt x="553" y="207"/>
                  </a:lnTo>
                  <a:lnTo>
                    <a:pt x="556" y="214"/>
                  </a:lnTo>
                  <a:lnTo>
                    <a:pt x="566" y="218"/>
                  </a:lnTo>
                  <a:lnTo>
                    <a:pt x="591" y="221"/>
                  </a:lnTo>
                  <a:lnTo>
                    <a:pt x="602" y="220"/>
                  </a:lnTo>
                  <a:lnTo>
                    <a:pt x="608" y="219"/>
                  </a:lnTo>
                  <a:lnTo>
                    <a:pt x="615" y="218"/>
                  </a:lnTo>
                  <a:lnTo>
                    <a:pt x="620" y="217"/>
                  </a:lnTo>
                  <a:lnTo>
                    <a:pt x="626" y="218"/>
                  </a:lnTo>
                  <a:lnTo>
                    <a:pt x="630" y="219"/>
                  </a:lnTo>
                  <a:lnTo>
                    <a:pt x="633" y="218"/>
                  </a:lnTo>
                  <a:lnTo>
                    <a:pt x="633" y="213"/>
                  </a:lnTo>
                  <a:lnTo>
                    <a:pt x="632" y="202"/>
                  </a:lnTo>
                  <a:lnTo>
                    <a:pt x="633" y="197"/>
                  </a:lnTo>
                  <a:lnTo>
                    <a:pt x="635" y="192"/>
                  </a:lnTo>
                  <a:lnTo>
                    <a:pt x="648" y="176"/>
                  </a:lnTo>
                  <a:lnTo>
                    <a:pt x="650" y="172"/>
                  </a:lnTo>
                  <a:lnTo>
                    <a:pt x="653" y="168"/>
                  </a:lnTo>
                  <a:lnTo>
                    <a:pt x="652" y="162"/>
                  </a:lnTo>
                  <a:lnTo>
                    <a:pt x="649" y="156"/>
                  </a:lnTo>
                  <a:lnTo>
                    <a:pt x="648" y="148"/>
                  </a:lnTo>
                  <a:lnTo>
                    <a:pt x="649" y="142"/>
                  </a:lnTo>
                  <a:lnTo>
                    <a:pt x="654" y="135"/>
                  </a:lnTo>
                  <a:lnTo>
                    <a:pt x="660" y="131"/>
                  </a:lnTo>
                  <a:lnTo>
                    <a:pt x="667" y="128"/>
                  </a:lnTo>
                  <a:lnTo>
                    <a:pt x="675" y="128"/>
                  </a:lnTo>
                  <a:lnTo>
                    <a:pt x="688" y="131"/>
                  </a:lnTo>
                  <a:lnTo>
                    <a:pt x="694" y="130"/>
                  </a:lnTo>
                  <a:lnTo>
                    <a:pt x="700" y="127"/>
                  </a:lnTo>
                  <a:lnTo>
                    <a:pt x="709" y="120"/>
                  </a:lnTo>
                  <a:lnTo>
                    <a:pt x="722" y="109"/>
                  </a:lnTo>
                  <a:lnTo>
                    <a:pt x="728" y="105"/>
                  </a:lnTo>
                  <a:lnTo>
                    <a:pt x="744" y="101"/>
                  </a:lnTo>
                  <a:lnTo>
                    <a:pt x="752" y="98"/>
                  </a:lnTo>
                  <a:lnTo>
                    <a:pt x="762" y="91"/>
                  </a:lnTo>
                  <a:lnTo>
                    <a:pt x="766" y="82"/>
                  </a:lnTo>
                  <a:lnTo>
                    <a:pt x="767" y="75"/>
                  </a:lnTo>
                  <a:lnTo>
                    <a:pt x="771" y="67"/>
                  </a:lnTo>
                  <a:lnTo>
                    <a:pt x="777" y="59"/>
                  </a:lnTo>
                  <a:lnTo>
                    <a:pt x="801" y="43"/>
                  </a:lnTo>
                  <a:lnTo>
                    <a:pt x="812" y="44"/>
                  </a:lnTo>
                  <a:lnTo>
                    <a:pt x="808" y="64"/>
                  </a:lnTo>
                  <a:lnTo>
                    <a:pt x="809" y="70"/>
                  </a:lnTo>
                  <a:lnTo>
                    <a:pt x="811" y="77"/>
                  </a:lnTo>
                  <a:lnTo>
                    <a:pt x="816" y="82"/>
                  </a:lnTo>
                  <a:lnTo>
                    <a:pt x="822" y="85"/>
                  </a:lnTo>
                  <a:lnTo>
                    <a:pt x="827" y="84"/>
                  </a:lnTo>
                  <a:lnTo>
                    <a:pt x="829" y="80"/>
                  </a:lnTo>
                  <a:lnTo>
                    <a:pt x="831" y="74"/>
                  </a:lnTo>
                  <a:lnTo>
                    <a:pt x="834" y="66"/>
                  </a:lnTo>
                  <a:lnTo>
                    <a:pt x="838" y="59"/>
                  </a:lnTo>
                  <a:lnTo>
                    <a:pt x="844" y="53"/>
                  </a:lnTo>
                  <a:lnTo>
                    <a:pt x="851" y="50"/>
                  </a:lnTo>
                  <a:lnTo>
                    <a:pt x="857" y="48"/>
                  </a:lnTo>
                  <a:lnTo>
                    <a:pt x="863" y="48"/>
                  </a:lnTo>
                  <a:lnTo>
                    <a:pt x="867" y="50"/>
                  </a:lnTo>
                  <a:lnTo>
                    <a:pt x="888" y="65"/>
                  </a:lnTo>
                  <a:lnTo>
                    <a:pt x="893" y="70"/>
                  </a:lnTo>
                  <a:lnTo>
                    <a:pt x="895" y="76"/>
                  </a:lnTo>
                  <a:lnTo>
                    <a:pt x="897" y="81"/>
                  </a:lnTo>
                  <a:lnTo>
                    <a:pt x="897" y="87"/>
                  </a:lnTo>
                  <a:lnTo>
                    <a:pt x="894" y="93"/>
                  </a:lnTo>
                  <a:lnTo>
                    <a:pt x="887" y="100"/>
                  </a:lnTo>
                  <a:lnTo>
                    <a:pt x="813" y="137"/>
                  </a:lnTo>
                  <a:lnTo>
                    <a:pt x="805" y="143"/>
                  </a:lnTo>
                  <a:lnTo>
                    <a:pt x="800" y="149"/>
                  </a:lnTo>
                  <a:lnTo>
                    <a:pt x="779" y="189"/>
                  </a:lnTo>
                  <a:lnTo>
                    <a:pt x="778" y="194"/>
                  </a:lnTo>
                  <a:lnTo>
                    <a:pt x="780" y="198"/>
                  </a:lnTo>
                  <a:lnTo>
                    <a:pt x="785" y="204"/>
                  </a:lnTo>
                  <a:lnTo>
                    <a:pt x="790" y="210"/>
                  </a:lnTo>
                  <a:lnTo>
                    <a:pt x="795" y="217"/>
                  </a:lnTo>
                  <a:lnTo>
                    <a:pt x="798" y="223"/>
                  </a:lnTo>
                  <a:lnTo>
                    <a:pt x="798" y="230"/>
                  </a:lnTo>
                  <a:lnTo>
                    <a:pt x="793" y="239"/>
                  </a:lnTo>
                  <a:lnTo>
                    <a:pt x="762" y="291"/>
                  </a:lnTo>
                  <a:lnTo>
                    <a:pt x="758" y="302"/>
                  </a:lnTo>
                  <a:lnTo>
                    <a:pt x="756" y="309"/>
                  </a:lnTo>
                  <a:lnTo>
                    <a:pt x="740" y="342"/>
                  </a:lnTo>
                  <a:lnTo>
                    <a:pt x="737" y="353"/>
                  </a:lnTo>
                  <a:lnTo>
                    <a:pt x="737" y="364"/>
                  </a:lnTo>
                  <a:lnTo>
                    <a:pt x="738" y="374"/>
                  </a:lnTo>
                  <a:lnTo>
                    <a:pt x="736" y="386"/>
                  </a:lnTo>
                  <a:lnTo>
                    <a:pt x="730" y="398"/>
                  </a:lnTo>
                  <a:lnTo>
                    <a:pt x="712" y="417"/>
                  </a:lnTo>
                  <a:lnTo>
                    <a:pt x="696" y="430"/>
                  </a:lnTo>
                  <a:lnTo>
                    <a:pt x="673" y="443"/>
                  </a:lnTo>
                  <a:lnTo>
                    <a:pt x="647" y="451"/>
                  </a:lnTo>
                  <a:lnTo>
                    <a:pt x="634" y="464"/>
                  </a:lnTo>
                  <a:lnTo>
                    <a:pt x="552" y="530"/>
                  </a:lnTo>
                  <a:lnTo>
                    <a:pt x="549" y="536"/>
                  </a:lnTo>
                  <a:lnTo>
                    <a:pt x="548" y="542"/>
                  </a:lnTo>
                  <a:lnTo>
                    <a:pt x="551" y="554"/>
                  </a:lnTo>
                  <a:lnTo>
                    <a:pt x="537" y="567"/>
                  </a:lnTo>
                  <a:lnTo>
                    <a:pt x="500" y="587"/>
                  </a:lnTo>
                  <a:lnTo>
                    <a:pt x="488" y="596"/>
                  </a:lnTo>
                  <a:lnTo>
                    <a:pt x="479" y="604"/>
                  </a:lnTo>
                  <a:lnTo>
                    <a:pt x="473" y="613"/>
                  </a:lnTo>
                  <a:lnTo>
                    <a:pt x="470" y="621"/>
                  </a:lnTo>
                  <a:lnTo>
                    <a:pt x="468" y="626"/>
                  </a:lnTo>
                  <a:lnTo>
                    <a:pt x="470" y="632"/>
                  </a:lnTo>
                  <a:lnTo>
                    <a:pt x="473" y="641"/>
                  </a:lnTo>
                  <a:lnTo>
                    <a:pt x="476" y="646"/>
                  </a:lnTo>
                  <a:lnTo>
                    <a:pt x="478" y="650"/>
                  </a:lnTo>
                  <a:lnTo>
                    <a:pt x="478" y="655"/>
                  </a:lnTo>
                  <a:lnTo>
                    <a:pt x="474" y="668"/>
                  </a:lnTo>
                  <a:lnTo>
                    <a:pt x="473" y="676"/>
                  </a:lnTo>
                  <a:lnTo>
                    <a:pt x="472" y="684"/>
                  </a:lnTo>
                  <a:lnTo>
                    <a:pt x="476" y="707"/>
                  </a:lnTo>
                  <a:lnTo>
                    <a:pt x="468" y="746"/>
                  </a:lnTo>
                  <a:lnTo>
                    <a:pt x="466" y="753"/>
                  </a:lnTo>
                  <a:lnTo>
                    <a:pt x="462" y="758"/>
                  </a:lnTo>
                  <a:lnTo>
                    <a:pt x="458" y="760"/>
                  </a:lnTo>
                  <a:lnTo>
                    <a:pt x="453" y="762"/>
                  </a:lnTo>
                  <a:lnTo>
                    <a:pt x="441" y="764"/>
                  </a:lnTo>
                  <a:lnTo>
                    <a:pt x="429" y="746"/>
                  </a:lnTo>
                  <a:lnTo>
                    <a:pt x="427" y="726"/>
                  </a:lnTo>
                  <a:lnTo>
                    <a:pt x="427" y="711"/>
                  </a:lnTo>
                  <a:lnTo>
                    <a:pt x="422" y="698"/>
                  </a:lnTo>
                  <a:lnTo>
                    <a:pt x="402" y="665"/>
                  </a:lnTo>
                  <a:lnTo>
                    <a:pt x="395" y="651"/>
                  </a:lnTo>
                  <a:lnTo>
                    <a:pt x="390" y="638"/>
                  </a:lnTo>
                  <a:lnTo>
                    <a:pt x="386" y="634"/>
                  </a:lnTo>
                  <a:lnTo>
                    <a:pt x="380" y="635"/>
                  </a:lnTo>
                  <a:lnTo>
                    <a:pt x="361" y="645"/>
                  </a:lnTo>
                  <a:lnTo>
                    <a:pt x="351" y="646"/>
                  </a:lnTo>
                  <a:lnTo>
                    <a:pt x="338" y="646"/>
                  </a:lnTo>
                  <a:lnTo>
                    <a:pt x="321" y="639"/>
                  </a:lnTo>
                  <a:lnTo>
                    <a:pt x="314" y="630"/>
                  </a:lnTo>
                  <a:lnTo>
                    <a:pt x="309" y="622"/>
                  </a:lnTo>
                  <a:lnTo>
                    <a:pt x="308" y="607"/>
                  </a:lnTo>
                  <a:lnTo>
                    <a:pt x="309" y="594"/>
                  </a:lnTo>
                  <a:lnTo>
                    <a:pt x="308" y="587"/>
                  </a:lnTo>
                  <a:lnTo>
                    <a:pt x="304" y="576"/>
                  </a:lnTo>
                  <a:lnTo>
                    <a:pt x="297" y="570"/>
                  </a:lnTo>
                  <a:lnTo>
                    <a:pt x="289" y="565"/>
                  </a:lnTo>
                  <a:lnTo>
                    <a:pt x="280" y="565"/>
                  </a:lnTo>
                  <a:lnTo>
                    <a:pt x="262" y="567"/>
                  </a:lnTo>
                  <a:lnTo>
                    <a:pt x="239" y="567"/>
                  </a:lnTo>
                  <a:lnTo>
                    <a:pt x="220" y="563"/>
                  </a:lnTo>
                  <a:lnTo>
                    <a:pt x="203" y="557"/>
                  </a:lnTo>
                  <a:lnTo>
                    <a:pt x="181" y="549"/>
                  </a:lnTo>
                  <a:lnTo>
                    <a:pt x="169" y="547"/>
                  </a:lnTo>
                  <a:lnTo>
                    <a:pt x="161" y="547"/>
                  </a:lnTo>
                  <a:lnTo>
                    <a:pt x="136" y="549"/>
                  </a:lnTo>
                  <a:lnTo>
                    <a:pt x="98" y="558"/>
                  </a:lnTo>
                  <a:lnTo>
                    <a:pt x="74" y="558"/>
                  </a:lnTo>
                  <a:lnTo>
                    <a:pt x="67" y="555"/>
                  </a:lnTo>
                  <a:lnTo>
                    <a:pt x="62" y="551"/>
                  </a:lnTo>
                  <a:lnTo>
                    <a:pt x="64" y="546"/>
                  </a:lnTo>
                  <a:lnTo>
                    <a:pt x="67" y="543"/>
                  </a:lnTo>
                  <a:lnTo>
                    <a:pt x="80" y="536"/>
                  </a:lnTo>
                  <a:lnTo>
                    <a:pt x="86" y="532"/>
                  </a:lnTo>
                  <a:lnTo>
                    <a:pt x="90" y="525"/>
                  </a:lnTo>
                  <a:lnTo>
                    <a:pt x="94" y="511"/>
                  </a:lnTo>
                  <a:lnTo>
                    <a:pt x="109" y="483"/>
                  </a:lnTo>
                  <a:lnTo>
                    <a:pt x="112" y="474"/>
                  </a:lnTo>
                  <a:lnTo>
                    <a:pt x="113" y="465"/>
                  </a:lnTo>
                  <a:lnTo>
                    <a:pt x="111" y="454"/>
                  </a:lnTo>
                  <a:lnTo>
                    <a:pt x="108" y="445"/>
                  </a:lnTo>
                  <a:lnTo>
                    <a:pt x="83" y="424"/>
                  </a:lnTo>
                  <a:lnTo>
                    <a:pt x="0" y="380"/>
                  </a:lnTo>
                  <a:lnTo>
                    <a:pt x="2" y="367"/>
                  </a:lnTo>
                  <a:lnTo>
                    <a:pt x="4" y="362"/>
                  </a:lnTo>
                  <a:lnTo>
                    <a:pt x="8" y="353"/>
                  </a:lnTo>
                  <a:lnTo>
                    <a:pt x="45" y="309"/>
                  </a:lnTo>
                  <a:lnTo>
                    <a:pt x="45" y="303"/>
                  </a:lnTo>
                  <a:lnTo>
                    <a:pt x="44" y="284"/>
                  </a:lnTo>
                  <a:lnTo>
                    <a:pt x="39" y="265"/>
                  </a:lnTo>
                  <a:lnTo>
                    <a:pt x="38" y="253"/>
                  </a:lnTo>
                  <a:lnTo>
                    <a:pt x="42" y="236"/>
                  </a:lnTo>
                  <a:lnTo>
                    <a:pt x="47" y="220"/>
                  </a:lnTo>
                  <a:lnTo>
                    <a:pt x="194" y="67"/>
                  </a:lnTo>
                  <a:lnTo>
                    <a:pt x="197" y="65"/>
                  </a:lnTo>
                  <a:lnTo>
                    <a:pt x="201" y="63"/>
                  </a:lnTo>
                  <a:lnTo>
                    <a:pt x="205" y="59"/>
                  </a:lnTo>
                  <a:lnTo>
                    <a:pt x="211" y="54"/>
                  </a:lnTo>
                  <a:lnTo>
                    <a:pt x="226" y="39"/>
                  </a:lnTo>
                  <a:lnTo>
                    <a:pt x="229" y="32"/>
                  </a:lnTo>
                  <a:lnTo>
                    <a:pt x="230" y="25"/>
                  </a:lnTo>
                  <a:lnTo>
                    <a:pt x="225" y="17"/>
                  </a:lnTo>
                  <a:lnTo>
                    <a:pt x="217" y="0"/>
                  </a:lnTo>
                  <a:lnTo>
                    <a:pt x="240" y="1"/>
                  </a:lnTo>
                  <a:lnTo>
                    <a:pt x="250" y="7"/>
                  </a:lnTo>
                  <a:lnTo>
                    <a:pt x="257" y="16"/>
                  </a:lnTo>
                  <a:lnTo>
                    <a:pt x="269" y="42"/>
                  </a:lnTo>
                  <a:lnTo>
                    <a:pt x="276" y="49"/>
                  </a:lnTo>
                  <a:lnTo>
                    <a:pt x="284" y="52"/>
                  </a:lnTo>
                  <a:lnTo>
                    <a:pt x="302" y="54"/>
                  </a:lnTo>
                  <a:lnTo>
                    <a:pt x="312" y="61"/>
                  </a:lnTo>
                  <a:lnTo>
                    <a:pt x="319" y="68"/>
                  </a:lnTo>
                  <a:lnTo>
                    <a:pt x="321" y="75"/>
                  </a:lnTo>
                  <a:lnTo>
                    <a:pt x="325" y="81"/>
                  </a:lnTo>
                  <a:lnTo>
                    <a:pt x="331" y="90"/>
                  </a:lnTo>
                  <a:lnTo>
                    <a:pt x="390" y="152"/>
                  </a:lnTo>
                  <a:lnTo>
                    <a:pt x="400" y="157"/>
                  </a:lnTo>
                  <a:lnTo>
                    <a:pt x="408" y="15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0CD206D-973B-161D-9CA2-BDF06D274D14}"/>
              </a:ext>
            </a:extLst>
          </p:cNvPr>
          <p:cNvSpPr txBox="1"/>
          <p:nvPr/>
        </p:nvSpPr>
        <p:spPr>
          <a:xfrm>
            <a:off x="334738" y="2520288"/>
            <a:ext cx="3816000" cy="2554545"/>
          </a:xfrm>
          <a:prstGeom prst="rect">
            <a:avLst/>
          </a:prstGeom>
          <a:solidFill>
            <a:srgbClr val="004B8E">
              <a:alpha val="12000"/>
            </a:srgbClr>
          </a:solidFill>
        </p:spPr>
        <p:txBody>
          <a:bodyPr wrap="square">
            <a:spAutoFit/>
          </a:bodyPr>
          <a:lstStyle/>
          <a:p>
            <a:r>
              <a:rPr lang="es-EC" sz="1600" dirty="0">
                <a:solidFill>
                  <a:srgbClr val="004B8E"/>
                </a:solidFill>
                <a:latin typeface="Montserrat" pitchFamily="2" charset="0"/>
              </a:rPr>
              <a:t>Mediación entre una empresa privada y el Municipio de Montecristi, relacionado con la implementación de un sistema de agua potable se </a:t>
            </a:r>
            <a:r>
              <a:rPr lang="es-EC" sz="1600" b="1" dirty="0">
                <a:solidFill>
                  <a:srgbClr val="004B8E"/>
                </a:solidFill>
                <a:latin typeface="Montserrat" pitchFamily="2" charset="0"/>
              </a:rPr>
              <a:t>logró garantizar la continuidad del servicio.</a:t>
            </a:r>
          </a:p>
          <a:p>
            <a:endParaRPr lang="es-EC" sz="1600" b="1" dirty="0">
              <a:solidFill>
                <a:srgbClr val="004B8E"/>
              </a:solidFill>
              <a:latin typeface="Montserrat" pitchFamily="2" charset="0"/>
            </a:endParaRPr>
          </a:p>
          <a:p>
            <a:r>
              <a:rPr lang="es-MX" sz="1600" dirty="0">
                <a:solidFill>
                  <a:srgbClr val="004B8E"/>
                </a:solidFill>
                <a:latin typeface="Montserrat" pitchFamily="2" charset="0"/>
              </a:rPr>
              <a:t>Cooperación interinstitucional con universidades de la provincia y jornadas de capacitación.</a:t>
            </a:r>
            <a:endParaRPr lang="es-EC" sz="1600" dirty="0">
              <a:solidFill>
                <a:srgbClr val="004B8E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5355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0470B-B914-1602-9C45-6E5D4EC26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Texto&#10;&#10;El contenido generado por IA puede ser incorrecto.">
            <a:extLst>
              <a:ext uri="{FF2B5EF4-FFF2-40B4-BE49-F238E27FC236}">
                <a16:creationId xmlns:a16="http://schemas.microsoft.com/office/drawing/2014/main" id="{458C06A2-71A6-D28C-DE04-875ACFEC9D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9" b="6666"/>
          <a:stretch>
            <a:fillRect/>
          </a:stretch>
        </p:blipFill>
        <p:spPr>
          <a:xfrm>
            <a:off x="586154" y="228599"/>
            <a:ext cx="6814331" cy="640079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E430426C-395F-396A-19F0-5016A141CA93}"/>
              </a:ext>
            </a:extLst>
          </p:cNvPr>
          <p:cNvSpPr txBox="1"/>
          <p:nvPr/>
        </p:nvSpPr>
        <p:spPr>
          <a:xfrm>
            <a:off x="5511776" y="2736500"/>
            <a:ext cx="609407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800" dirty="0">
                <a:solidFill>
                  <a:srgbClr val="004B8E"/>
                </a:solidFill>
                <a:latin typeface="Bebas Neue" panose="020B0606020202050201" pitchFamily="34" charset="0"/>
              </a:rPr>
              <a:t>el legado de una gestión se mide en la rectitud, en la responsabilidad y en la convicción con la que se ha cumplido el deber.</a:t>
            </a:r>
          </a:p>
        </p:txBody>
      </p:sp>
    </p:spTree>
    <p:extLst>
      <p:ext uri="{BB962C8B-B14F-4D97-AF65-F5344CB8AC3E}">
        <p14:creationId xmlns:p14="http://schemas.microsoft.com/office/powerpoint/2010/main" val="323149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D3E3742-F229-6C93-FC2D-06C92334BD10}"/>
              </a:ext>
            </a:extLst>
          </p:cNvPr>
          <p:cNvSpPr txBox="1"/>
          <p:nvPr/>
        </p:nvSpPr>
        <p:spPr>
          <a:xfrm>
            <a:off x="8530543" y="3185931"/>
            <a:ext cx="305571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0" i="1" dirty="0">
                <a:solidFill>
                  <a:schemeClr val="bg1"/>
                </a:solidFill>
                <a:latin typeface="Bebas Neue" panose="020B0606020202050201" pitchFamily="34" charset="0"/>
              </a:rPr>
              <a:t>Gracias</a:t>
            </a:r>
          </a:p>
        </p:txBody>
      </p:sp>
      <p:sp>
        <p:nvSpPr>
          <p:cNvPr id="3" name="Triángulo rectángulo 2">
            <a:extLst>
              <a:ext uri="{FF2B5EF4-FFF2-40B4-BE49-F238E27FC236}">
                <a16:creationId xmlns:a16="http://schemas.microsoft.com/office/drawing/2014/main" id="{1E00EA7B-B28D-4F77-4492-728EE39591A6}"/>
              </a:ext>
            </a:extLst>
          </p:cNvPr>
          <p:cNvSpPr/>
          <p:nvPr/>
        </p:nvSpPr>
        <p:spPr>
          <a:xfrm flipH="1">
            <a:off x="11759878" y="5914663"/>
            <a:ext cx="432122" cy="943337"/>
          </a:xfrm>
          <a:prstGeom prst="rtTriangle">
            <a:avLst/>
          </a:prstGeom>
          <a:solidFill>
            <a:srgbClr val="E525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239805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E09C15A-4EC0-3FB5-F579-C66A900CB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6</a:t>
            </a:fld>
            <a:endParaRPr lang="es-EC" dirty="0"/>
          </a:p>
        </p:txBody>
      </p:sp>
      <p:pic>
        <p:nvPicPr>
          <p:cNvPr id="2052" name="Picture 4" descr="Imagen">
            <a:extLst>
              <a:ext uri="{FF2B5EF4-FFF2-40B4-BE49-F238E27FC236}">
                <a16:creationId xmlns:a16="http://schemas.microsoft.com/office/drawing/2014/main" id="{E4A7C438-865B-3D13-3A74-56D22A3014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94"/>
          <a:stretch>
            <a:fillRect/>
          </a:stretch>
        </p:blipFill>
        <p:spPr bwMode="auto">
          <a:xfrm>
            <a:off x="5291136" y="0"/>
            <a:ext cx="2262005" cy="492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n">
            <a:extLst>
              <a:ext uri="{FF2B5EF4-FFF2-40B4-BE49-F238E27FC236}">
                <a16:creationId xmlns:a16="http://schemas.microsoft.com/office/drawing/2014/main" id="{7FB8FAF3-2CFF-D866-EA0D-FACFC620DC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03"/>
          <a:stretch>
            <a:fillRect/>
          </a:stretch>
        </p:blipFill>
        <p:spPr bwMode="auto">
          <a:xfrm>
            <a:off x="7552479" y="0"/>
            <a:ext cx="2322474" cy="492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n">
            <a:extLst>
              <a:ext uri="{FF2B5EF4-FFF2-40B4-BE49-F238E27FC236}">
                <a16:creationId xmlns:a16="http://schemas.microsoft.com/office/drawing/2014/main" id="{2300ADA8-C23F-0976-DAC8-7FB9A3C2A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44"/>
          <a:stretch>
            <a:fillRect/>
          </a:stretch>
        </p:blipFill>
        <p:spPr bwMode="auto">
          <a:xfrm>
            <a:off x="9874291" y="1"/>
            <a:ext cx="2317709" cy="492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n">
            <a:extLst>
              <a:ext uri="{FF2B5EF4-FFF2-40B4-BE49-F238E27FC236}">
                <a16:creationId xmlns:a16="http://schemas.microsoft.com/office/drawing/2014/main" id="{C45D30E8-865A-9E33-B10B-8D23FC3EEB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14" t="18329" b="41716"/>
          <a:stretch>
            <a:fillRect/>
          </a:stretch>
        </p:blipFill>
        <p:spPr bwMode="auto">
          <a:xfrm>
            <a:off x="5219662" y="4922521"/>
            <a:ext cx="2322474" cy="193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Imagen">
            <a:extLst>
              <a:ext uri="{FF2B5EF4-FFF2-40B4-BE49-F238E27FC236}">
                <a16:creationId xmlns:a16="http://schemas.microsoft.com/office/drawing/2014/main" id="{824D524A-DDA0-9AE1-5C42-5A44B29401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11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Imagen">
            <a:extLst>
              <a:ext uri="{FF2B5EF4-FFF2-40B4-BE49-F238E27FC236}">
                <a16:creationId xmlns:a16="http://schemas.microsoft.com/office/drawing/2014/main" id="{E6E852BC-DE68-3436-B637-B7A5C11272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89" t="19107" r="-1" b="43902"/>
          <a:stretch>
            <a:fillRect/>
          </a:stretch>
        </p:blipFill>
        <p:spPr bwMode="auto">
          <a:xfrm>
            <a:off x="7542136" y="4922521"/>
            <a:ext cx="2332155" cy="193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Imagen">
            <a:extLst>
              <a:ext uri="{FF2B5EF4-FFF2-40B4-BE49-F238E27FC236}">
                <a16:creationId xmlns:a16="http://schemas.microsoft.com/office/drawing/2014/main" id="{5BA9B243-5D4B-E400-E967-EA086E0B6F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45" t="16407" b="42982"/>
          <a:stretch>
            <a:fillRect/>
          </a:stretch>
        </p:blipFill>
        <p:spPr bwMode="auto">
          <a:xfrm>
            <a:off x="9744000" y="4922520"/>
            <a:ext cx="2448000" cy="193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5438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>
            <a:extLst>
              <a:ext uri="{FF2B5EF4-FFF2-40B4-BE49-F238E27FC236}">
                <a16:creationId xmlns:a16="http://schemas.microsoft.com/office/drawing/2014/main" id="{77EEFE44-76DB-B39B-D82B-C2FE4D9ACF5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378" y="2734324"/>
            <a:ext cx="1986078" cy="1546842"/>
          </a:xfrm>
          <a:prstGeom prst="rect">
            <a:avLst/>
          </a:prstGeom>
          <a:noFill/>
          <a:ln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36000" bIns="72000" anchor="ctr"/>
          <a:lstStyle/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Constitución de </a:t>
            </a:r>
          </a:p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la República </a:t>
            </a:r>
          </a:p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del Ecuador</a:t>
            </a:r>
          </a:p>
          <a:p>
            <a:pPr algn="ctr" eaLnBrk="0" hangingPunct="0"/>
            <a:r>
              <a:rPr lang="es-EC" sz="1600" b="1" dirty="0">
                <a:solidFill>
                  <a:schemeClr val="bg1"/>
                </a:solidFill>
                <a:latin typeface="+mj-lt"/>
              </a:rPr>
              <a:t>Artículos 235, 237 y </a:t>
            </a:r>
          </a:p>
          <a:p>
            <a:pPr algn="ctr" eaLnBrk="0" hangingPunct="0"/>
            <a:r>
              <a:rPr lang="es-EC" sz="1600" b="1" dirty="0">
                <a:solidFill>
                  <a:schemeClr val="bg1"/>
                </a:solidFill>
                <a:latin typeface="+mj-lt"/>
              </a:rPr>
              <a:t>134 numeral 4 </a:t>
            </a:r>
          </a:p>
        </p:txBody>
      </p:sp>
      <p:sp>
        <p:nvSpPr>
          <p:cNvPr id="9" name="41 Rectángulo">
            <a:extLst>
              <a:ext uri="{FF2B5EF4-FFF2-40B4-BE49-F238E27FC236}">
                <a16:creationId xmlns:a16="http://schemas.microsoft.com/office/drawing/2014/main" id="{9918EA21-B6E8-2338-CFB3-0516B6FAFBD2}"/>
              </a:ext>
            </a:extLst>
          </p:cNvPr>
          <p:cNvSpPr/>
          <p:nvPr/>
        </p:nvSpPr>
        <p:spPr>
          <a:xfrm>
            <a:off x="5250388" y="4160106"/>
            <a:ext cx="3971481" cy="86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r>
              <a:rPr lang="es-EC" sz="1600" b="1" dirty="0">
                <a:solidFill>
                  <a:srgbClr val="004B8E"/>
                </a:solidFill>
                <a:latin typeface="Montserrat" panose="020B0604020202020204" charset="0"/>
              </a:rPr>
              <a:t>Iniciativa legisl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32213C6-F479-B497-2C4D-1B89AD486DB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0131" y="3047364"/>
            <a:ext cx="1409330" cy="920762"/>
          </a:xfrm>
          <a:prstGeom prst="rect">
            <a:avLst/>
          </a:prstGeom>
        </p:spPr>
      </p:pic>
      <p:cxnSp>
        <p:nvCxnSpPr>
          <p:cNvPr id="11" name="Conector: angular 10">
            <a:extLst>
              <a:ext uri="{FF2B5EF4-FFF2-40B4-BE49-F238E27FC236}">
                <a16:creationId xmlns:a16="http://schemas.microsoft.com/office/drawing/2014/main" id="{4053B9C7-F44A-2914-B7C5-57C0F2F6F556}"/>
              </a:ext>
            </a:extLst>
          </p:cNvPr>
          <p:cNvCxnSpPr>
            <a:cxnSpLocks/>
            <a:stCxn id="10" idx="3"/>
            <a:endCxn id="29" idx="1"/>
          </p:cNvCxnSpPr>
          <p:nvPr/>
        </p:nvCxnSpPr>
        <p:spPr>
          <a:xfrm flipV="1">
            <a:off x="4379461" y="1339026"/>
            <a:ext cx="870927" cy="2168719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11">
            <a:extLst>
              <a:ext uri="{FF2B5EF4-FFF2-40B4-BE49-F238E27FC236}">
                <a16:creationId xmlns:a16="http://schemas.microsoft.com/office/drawing/2014/main" id="{58DBC54B-C700-4A47-7EE8-4AC8F9236E3B}"/>
              </a:ext>
            </a:extLst>
          </p:cNvPr>
          <p:cNvCxnSpPr>
            <a:cxnSpLocks/>
            <a:stCxn id="10" idx="3"/>
            <a:endCxn id="30" idx="1"/>
          </p:cNvCxnSpPr>
          <p:nvPr/>
        </p:nvCxnSpPr>
        <p:spPr>
          <a:xfrm flipV="1">
            <a:off x="4379461" y="2423386"/>
            <a:ext cx="870927" cy="1084359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: angular 12">
            <a:extLst>
              <a:ext uri="{FF2B5EF4-FFF2-40B4-BE49-F238E27FC236}">
                <a16:creationId xmlns:a16="http://schemas.microsoft.com/office/drawing/2014/main" id="{4144E977-594A-6FA5-A405-451A5BE3D78D}"/>
              </a:ext>
            </a:extLst>
          </p:cNvPr>
          <p:cNvCxnSpPr>
            <a:cxnSpLocks/>
            <a:stCxn id="10" idx="3"/>
            <a:endCxn id="31" idx="1"/>
          </p:cNvCxnSpPr>
          <p:nvPr/>
        </p:nvCxnSpPr>
        <p:spPr>
          <a:xfrm>
            <a:off x="4379461" y="3507745"/>
            <a:ext cx="870927" cy="1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: angular 13">
            <a:extLst>
              <a:ext uri="{FF2B5EF4-FFF2-40B4-BE49-F238E27FC236}">
                <a16:creationId xmlns:a16="http://schemas.microsoft.com/office/drawing/2014/main" id="{3515D4C1-77C1-C699-9B70-B6FC6C3A7515}"/>
              </a:ext>
            </a:extLst>
          </p:cNvPr>
          <p:cNvCxnSpPr>
            <a:cxnSpLocks/>
            <a:stCxn id="10" idx="3"/>
            <a:endCxn id="9" idx="1"/>
          </p:cNvCxnSpPr>
          <p:nvPr/>
        </p:nvCxnSpPr>
        <p:spPr>
          <a:xfrm>
            <a:off x="4379461" y="3507745"/>
            <a:ext cx="870927" cy="1084361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: angular 14">
            <a:extLst>
              <a:ext uri="{FF2B5EF4-FFF2-40B4-BE49-F238E27FC236}">
                <a16:creationId xmlns:a16="http://schemas.microsoft.com/office/drawing/2014/main" id="{CE94160F-B26F-E191-4D1B-AA4A3A5F65BE}"/>
              </a:ext>
            </a:extLst>
          </p:cNvPr>
          <p:cNvCxnSpPr>
            <a:cxnSpLocks/>
            <a:stCxn id="22" idx="1"/>
            <a:endCxn id="29" idx="3"/>
          </p:cNvCxnSpPr>
          <p:nvPr/>
        </p:nvCxnSpPr>
        <p:spPr>
          <a:xfrm rot="10800000">
            <a:off x="9221870" y="1339026"/>
            <a:ext cx="738513" cy="216872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: angular 15">
            <a:extLst>
              <a:ext uri="{FF2B5EF4-FFF2-40B4-BE49-F238E27FC236}">
                <a16:creationId xmlns:a16="http://schemas.microsoft.com/office/drawing/2014/main" id="{D7DA9DB9-D846-CF0A-D9B5-C6CF40420176}"/>
              </a:ext>
            </a:extLst>
          </p:cNvPr>
          <p:cNvCxnSpPr>
            <a:cxnSpLocks/>
            <a:stCxn id="22" idx="1"/>
            <a:endCxn id="30" idx="3"/>
          </p:cNvCxnSpPr>
          <p:nvPr/>
        </p:nvCxnSpPr>
        <p:spPr>
          <a:xfrm rot="10800000">
            <a:off x="9221870" y="2423386"/>
            <a:ext cx="738513" cy="108436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: angular 16">
            <a:extLst>
              <a:ext uri="{FF2B5EF4-FFF2-40B4-BE49-F238E27FC236}">
                <a16:creationId xmlns:a16="http://schemas.microsoft.com/office/drawing/2014/main" id="{9F36AFC9-646E-1CDC-A4F1-8A0DF1EB0040}"/>
              </a:ext>
            </a:extLst>
          </p:cNvPr>
          <p:cNvCxnSpPr>
            <a:cxnSpLocks/>
            <a:stCxn id="22" idx="1"/>
            <a:endCxn id="9" idx="3"/>
          </p:cNvCxnSpPr>
          <p:nvPr/>
        </p:nvCxnSpPr>
        <p:spPr>
          <a:xfrm rot="10800000" flipV="1">
            <a:off x="9221870" y="3507746"/>
            <a:ext cx="738513" cy="108436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: angular 17">
            <a:extLst>
              <a:ext uri="{FF2B5EF4-FFF2-40B4-BE49-F238E27FC236}">
                <a16:creationId xmlns:a16="http://schemas.microsoft.com/office/drawing/2014/main" id="{BDCEA434-D6F5-CF55-67D2-F5A71DB1C982}"/>
              </a:ext>
            </a:extLst>
          </p:cNvPr>
          <p:cNvCxnSpPr>
            <a:cxnSpLocks/>
            <a:stCxn id="22" idx="1"/>
            <a:endCxn id="31" idx="3"/>
          </p:cNvCxnSpPr>
          <p:nvPr/>
        </p:nvCxnSpPr>
        <p:spPr>
          <a:xfrm rot="10800000">
            <a:off x="9221870" y="3507746"/>
            <a:ext cx="738513" cy="12700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B5D93A05-A86A-3D8B-88E9-1E33B0885963}"/>
              </a:ext>
            </a:extLst>
          </p:cNvPr>
          <p:cNvCxnSpPr>
            <a:cxnSpLocks/>
            <a:stCxn id="4" idx="3"/>
            <a:endCxn id="10" idx="1"/>
          </p:cNvCxnSpPr>
          <p:nvPr/>
        </p:nvCxnSpPr>
        <p:spPr>
          <a:xfrm>
            <a:off x="2535456" y="3507745"/>
            <a:ext cx="43467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7">
            <a:extLst>
              <a:ext uri="{FF2B5EF4-FFF2-40B4-BE49-F238E27FC236}">
                <a16:creationId xmlns:a16="http://schemas.microsoft.com/office/drawing/2014/main" id="{F8AA2D37-CF7E-EDD0-690E-3F00C5F01E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960382" y="3019368"/>
            <a:ext cx="1986078" cy="976756"/>
          </a:xfrm>
          <a:prstGeom prst="rect">
            <a:avLst/>
          </a:prstGeom>
          <a:noFill/>
          <a:ln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36000" bIns="72000" anchor="ctr"/>
          <a:lstStyle/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Constitución de </a:t>
            </a:r>
          </a:p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la República </a:t>
            </a:r>
          </a:p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del Ecuador</a:t>
            </a:r>
          </a:p>
          <a:p>
            <a:pPr algn="ctr" eaLnBrk="0" hangingPunct="0"/>
            <a:r>
              <a:rPr lang="es-EC" sz="1400" b="1" dirty="0">
                <a:solidFill>
                  <a:schemeClr val="bg1"/>
                </a:solidFill>
                <a:latin typeface="Montserrat" panose="020B0604020202020204" charset="0"/>
              </a:rPr>
              <a:t>Artículos  226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B2D39C02-5476-61EB-758D-48ACF2059316}"/>
              </a:ext>
            </a:extLst>
          </p:cNvPr>
          <p:cNvSpPr txBox="1"/>
          <p:nvPr/>
        </p:nvSpPr>
        <p:spPr>
          <a:xfrm>
            <a:off x="245540" y="2228410"/>
            <a:ext cx="2593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400" dirty="0">
                <a:solidFill>
                  <a:schemeClr val="bg1"/>
                </a:solidFill>
                <a:latin typeface="Bebas Neue" panose="020B0606020202050201" pitchFamily="34" charset="0"/>
              </a:rPr>
              <a:t>Misión constitucional</a:t>
            </a:r>
          </a:p>
        </p:txBody>
      </p:sp>
      <p:sp>
        <p:nvSpPr>
          <p:cNvPr id="29" name="36 Rectángulo">
            <a:extLst>
              <a:ext uri="{FF2B5EF4-FFF2-40B4-BE49-F238E27FC236}">
                <a16:creationId xmlns:a16="http://schemas.microsoft.com/office/drawing/2014/main" id="{F824E3F9-61B3-EC10-B8F6-BB47F7DA09FF}"/>
              </a:ext>
            </a:extLst>
          </p:cNvPr>
          <p:cNvSpPr/>
          <p:nvPr/>
        </p:nvSpPr>
        <p:spPr>
          <a:xfrm>
            <a:off x="5250388" y="907026"/>
            <a:ext cx="3971481" cy="86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>
              <a:defRPr/>
            </a:pPr>
            <a:r>
              <a:rPr lang="es-EC" sz="1600" b="1" dirty="0">
                <a:solidFill>
                  <a:srgbClr val="004B8E"/>
                </a:solidFill>
                <a:latin typeface="Montserrat" panose="020B0604020202020204" charset="0"/>
              </a:rPr>
              <a:t>Representación judicial y patrocinio del Estado.</a:t>
            </a:r>
          </a:p>
        </p:txBody>
      </p:sp>
      <p:sp>
        <p:nvSpPr>
          <p:cNvPr id="30" name="39 Rectángulo">
            <a:extLst>
              <a:ext uri="{FF2B5EF4-FFF2-40B4-BE49-F238E27FC236}">
                <a16:creationId xmlns:a16="http://schemas.microsoft.com/office/drawing/2014/main" id="{CEC4A28F-23F7-7561-7A9C-5CC30F99D351}"/>
              </a:ext>
            </a:extLst>
          </p:cNvPr>
          <p:cNvSpPr/>
          <p:nvPr/>
        </p:nvSpPr>
        <p:spPr>
          <a:xfrm>
            <a:off x="5250388" y="1991386"/>
            <a:ext cx="3971481" cy="86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>
              <a:defRPr/>
            </a:pPr>
            <a:r>
              <a:rPr lang="es-EC" sz="1600" b="1" dirty="0">
                <a:solidFill>
                  <a:srgbClr val="004B8E"/>
                </a:solidFill>
                <a:latin typeface="Montserrat" panose="020B0604020202020204" charset="0"/>
              </a:rPr>
              <a:t>Asesoramiento legal y absolución de consultas jurídicas.</a:t>
            </a:r>
          </a:p>
        </p:txBody>
      </p:sp>
      <p:sp>
        <p:nvSpPr>
          <p:cNvPr id="31" name="41 Rectángulo">
            <a:extLst>
              <a:ext uri="{FF2B5EF4-FFF2-40B4-BE49-F238E27FC236}">
                <a16:creationId xmlns:a16="http://schemas.microsoft.com/office/drawing/2014/main" id="{1A94B8E3-44F8-1FE9-E7D0-2D6B4B6057E5}"/>
              </a:ext>
            </a:extLst>
          </p:cNvPr>
          <p:cNvSpPr/>
          <p:nvPr/>
        </p:nvSpPr>
        <p:spPr>
          <a:xfrm>
            <a:off x="5250388" y="3075746"/>
            <a:ext cx="3971481" cy="86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>
              <a:defRPr/>
            </a:pPr>
            <a:r>
              <a:rPr lang="es-EC" sz="1600" b="1" dirty="0">
                <a:solidFill>
                  <a:srgbClr val="004B8E"/>
                </a:solidFill>
                <a:latin typeface="Montserrat" panose="020B0604020202020204" charset="0"/>
              </a:rPr>
              <a:t>Control de actos y contratos del sector público.</a:t>
            </a:r>
          </a:p>
        </p:txBody>
      </p:sp>
      <p:sp>
        <p:nvSpPr>
          <p:cNvPr id="3" name="41 Rectángulo">
            <a:extLst>
              <a:ext uri="{FF2B5EF4-FFF2-40B4-BE49-F238E27FC236}">
                <a16:creationId xmlns:a16="http://schemas.microsoft.com/office/drawing/2014/main" id="{AACBC0D6-7C95-21C4-11DD-F4590E2B40F4}"/>
              </a:ext>
            </a:extLst>
          </p:cNvPr>
          <p:cNvSpPr/>
          <p:nvPr/>
        </p:nvSpPr>
        <p:spPr>
          <a:xfrm>
            <a:off x="5250388" y="5244467"/>
            <a:ext cx="3971481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r>
              <a:rPr lang="es-ES" sz="1600" b="1" dirty="0">
                <a:solidFill>
                  <a:srgbClr val="004B8E"/>
                </a:solidFill>
                <a:latin typeface="Montserrat" panose="020B0604020202020204" charset="0"/>
              </a:rPr>
              <a:t>La PGE es un organismo técnico con autonomía administrativa, financiera y presupuestaria. </a:t>
            </a:r>
            <a:endParaRPr lang="es-EC" sz="1600" b="1" dirty="0">
              <a:solidFill>
                <a:srgbClr val="004B8E"/>
              </a:solidFill>
              <a:latin typeface="Montserrat" panose="020B0604020202020204" charset="0"/>
            </a:endParaRPr>
          </a:p>
        </p:txBody>
      </p:sp>
      <p:cxnSp>
        <p:nvCxnSpPr>
          <p:cNvPr id="42" name="Conector: angular 41">
            <a:extLst>
              <a:ext uri="{FF2B5EF4-FFF2-40B4-BE49-F238E27FC236}">
                <a16:creationId xmlns:a16="http://schemas.microsoft.com/office/drawing/2014/main" id="{17B896AB-625F-6B45-76BF-D141A83CCB65}"/>
              </a:ext>
            </a:extLst>
          </p:cNvPr>
          <p:cNvCxnSpPr>
            <a:cxnSpLocks/>
            <a:stCxn id="10" idx="3"/>
            <a:endCxn id="3" idx="1"/>
          </p:cNvCxnSpPr>
          <p:nvPr/>
        </p:nvCxnSpPr>
        <p:spPr>
          <a:xfrm>
            <a:off x="4379461" y="3507745"/>
            <a:ext cx="870927" cy="2168722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r 44">
            <a:extLst>
              <a:ext uri="{FF2B5EF4-FFF2-40B4-BE49-F238E27FC236}">
                <a16:creationId xmlns:a16="http://schemas.microsoft.com/office/drawing/2014/main" id="{E1E817C8-3696-24F8-5E8A-DCEC7F01C132}"/>
              </a:ext>
            </a:extLst>
          </p:cNvPr>
          <p:cNvCxnSpPr>
            <a:cxnSpLocks/>
            <a:stCxn id="22" idx="1"/>
            <a:endCxn id="3" idx="3"/>
          </p:cNvCxnSpPr>
          <p:nvPr/>
        </p:nvCxnSpPr>
        <p:spPr>
          <a:xfrm rot="10800000" flipV="1">
            <a:off x="9221870" y="3507745"/>
            <a:ext cx="738513" cy="2168721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7">
            <a:extLst>
              <a:ext uri="{FF2B5EF4-FFF2-40B4-BE49-F238E27FC236}">
                <a16:creationId xmlns:a16="http://schemas.microsoft.com/office/drawing/2014/main" id="{D1A3C808-8C48-9E32-839D-4CE4314783E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960382" y="4103729"/>
            <a:ext cx="1986078" cy="773071"/>
          </a:xfrm>
          <a:prstGeom prst="rect">
            <a:avLst/>
          </a:prstGeom>
          <a:solidFill>
            <a:srgbClr val="FDC20B"/>
          </a:solidFill>
          <a:ln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36000" bIns="72000" anchor="ctr"/>
          <a:lstStyle/>
          <a:p>
            <a:pPr algn="ctr" eaLnBrk="0" hangingPunct="0"/>
            <a:r>
              <a:rPr lang="es-EC" sz="1400" b="1" dirty="0">
                <a:solidFill>
                  <a:srgbClr val="004B8E"/>
                </a:solidFill>
                <a:latin typeface="Montserrat" panose="020B0604020202020204" charset="0"/>
              </a:rPr>
              <a:t>Posesión PGE </a:t>
            </a:r>
          </a:p>
          <a:p>
            <a:pPr algn="ctr" eaLnBrk="0" hangingPunct="0"/>
            <a:r>
              <a:rPr lang="es-EC" sz="1400" b="1" dirty="0">
                <a:solidFill>
                  <a:srgbClr val="004B8E"/>
                </a:solidFill>
                <a:latin typeface="Montserrat" panose="020B0604020202020204" charset="0"/>
              </a:rPr>
              <a:t>15 de noviembre de 2022</a:t>
            </a:r>
          </a:p>
        </p:txBody>
      </p:sp>
    </p:spTree>
    <p:extLst>
      <p:ext uri="{BB962C8B-B14F-4D97-AF65-F5344CB8AC3E}">
        <p14:creationId xmlns:p14="http://schemas.microsoft.com/office/powerpoint/2010/main" val="39993673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nillo 124">
            <a:extLst>
              <a:ext uri="{FF2B5EF4-FFF2-40B4-BE49-F238E27FC236}">
                <a16:creationId xmlns:a16="http://schemas.microsoft.com/office/drawing/2014/main" id="{86814E46-003F-0879-859B-104AF210EA20}"/>
              </a:ext>
            </a:extLst>
          </p:cNvPr>
          <p:cNvSpPr/>
          <p:nvPr/>
        </p:nvSpPr>
        <p:spPr>
          <a:xfrm>
            <a:off x="1295848" y="2473800"/>
            <a:ext cx="2520000" cy="2520000"/>
          </a:xfrm>
          <a:prstGeom prst="donut">
            <a:avLst>
              <a:gd name="adj" fmla="val 5545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254D0261-1454-377F-1999-8C05E1035706}"/>
              </a:ext>
            </a:extLst>
          </p:cNvPr>
          <p:cNvSpPr/>
          <p:nvPr/>
        </p:nvSpPr>
        <p:spPr>
          <a:xfrm>
            <a:off x="1619848" y="2797800"/>
            <a:ext cx="1872000" cy="1872000"/>
          </a:xfrm>
          <a:prstGeom prst="ellipse">
            <a:avLst/>
          </a:prstGeom>
          <a:solidFill>
            <a:srgbClr val="004B8E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7641AAA-A2A7-7E0F-F41C-A776F82A02B9}"/>
              </a:ext>
            </a:extLst>
          </p:cNvPr>
          <p:cNvSpPr txBox="1"/>
          <p:nvPr/>
        </p:nvSpPr>
        <p:spPr>
          <a:xfrm>
            <a:off x="1774921" y="3913399"/>
            <a:ext cx="1561854" cy="576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es-EC" sz="1400" dirty="0">
                <a:solidFill>
                  <a:schemeClr val="bg1"/>
                </a:solidFill>
              </a:rPr>
              <a:t>Prevención</a:t>
            </a:r>
            <a:r>
              <a:rPr lang="es-EC" sz="1400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8" name="Gráfico 18" descr="Mano levantada">
            <a:extLst>
              <a:ext uri="{FF2B5EF4-FFF2-40B4-BE49-F238E27FC236}">
                <a16:creationId xmlns:a16="http://schemas.microsoft.com/office/drawing/2014/main" id="{3FA96968-F6B2-D93C-8CF8-E847E1D252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848" y="3056197"/>
            <a:ext cx="900000" cy="900000"/>
          </a:xfrm>
          <a:prstGeom prst="rect">
            <a:avLst/>
          </a:prstGeom>
        </p:spPr>
      </p:pic>
      <p:sp>
        <p:nvSpPr>
          <p:cNvPr id="19" name="Elipse 18">
            <a:extLst>
              <a:ext uri="{FF2B5EF4-FFF2-40B4-BE49-F238E27FC236}">
                <a16:creationId xmlns:a16="http://schemas.microsoft.com/office/drawing/2014/main" id="{1F24BF6A-0660-F7DA-B15E-2B1DB0D6DB99}"/>
              </a:ext>
            </a:extLst>
          </p:cNvPr>
          <p:cNvSpPr/>
          <p:nvPr/>
        </p:nvSpPr>
        <p:spPr>
          <a:xfrm>
            <a:off x="4012374" y="2774723"/>
            <a:ext cx="1872000" cy="1872000"/>
          </a:xfrm>
          <a:prstGeom prst="ellipse">
            <a:avLst/>
          </a:prstGeom>
          <a:solidFill>
            <a:srgbClr val="004B8E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CE16C926-4001-9AE4-D65B-96CFA09C0B7C}"/>
              </a:ext>
            </a:extLst>
          </p:cNvPr>
          <p:cNvSpPr txBox="1"/>
          <p:nvPr/>
        </p:nvSpPr>
        <p:spPr>
          <a:xfrm>
            <a:off x="4167447" y="3913399"/>
            <a:ext cx="1561854" cy="576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es-EC" sz="1400" dirty="0">
                <a:solidFill>
                  <a:schemeClr val="bg1"/>
                </a:solidFill>
              </a:rPr>
              <a:t>Solución amistosa</a:t>
            </a:r>
          </a:p>
        </p:txBody>
      </p:sp>
      <p:pic>
        <p:nvPicPr>
          <p:cNvPr id="24" name="Gráfico 19" descr="Apretón de manos">
            <a:extLst>
              <a:ext uri="{FF2B5EF4-FFF2-40B4-BE49-F238E27FC236}">
                <a16:creationId xmlns:a16="http://schemas.microsoft.com/office/drawing/2014/main" id="{98944538-FFC2-BB6D-2C25-FDF8081F5A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8374" y="3056197"/>
            <a:ext cx="900000" cy="900000"/>
          </a:xfrm>
          <a:prstGeom prst="rect">
            <a:avLst/>
          </a:prstGeom>
        </p:spPr>
      </p:pic>
      <p:sp>
        <p:nvSpPr>
          <p:cNvPr id="25" name="Elipse 24">
            <a:extLst>
              <a:ext uri="{FF2B5EF4-FFF2-40B4-BE49-F238E27FC236}">
                <a16:creationId xmlns:a16="http://schemas.microsoft.com/office/drawing/2014/main" id="{7F08B4B6-4C1D-735C-B16B-4A0C655FB667}"/>
              </a:ext>
            </a:extLst>
          </p:cNvPr>
          <p:cNvSpPr/>
          <p:nvPr/>
        </p:nvSpPr>
        <p:spPr>
          <a:xfrm>
            <a:off x="6404900" y="2797800"/>
            <a:ext cx="1872000" cy="1872000"/>
          </a:xfrm>
          <a:prstGeom prst="ellipse">
            <a:avLst/>
          </a:prstGeom>
          <a:solidFill>
            <a:srgbClr val="004B8E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0DEA5622-E222-330D-69F6-3163BE7ABE7A}"/>
              </a:ext>
            </a:extLst>
          </p:cNvPr>
          <p:cNvSpPr txBox="1"/>
          <p:nvPr/>
        </p:nvSpPr>
        <p:spPr>
          <a:xfrm>
            <a:off x="6488167" y="3913399"/>
            <a:ext cx="1705466" cy="576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es-EC" sz="1400" dirty="0">
                <a:solidFill>
                  <a:schemeClr val="bg1"/>
                </a:solidFill>
              </a:rPr>
              <a:t>Representación en juicio</a:t>
            </a:r>
          </a:p>
        </p:txBody>
      </p:sp>
      <p:pic>
        <p:nvPicPr>
          <p:cNvPr id="27" name="Gráfico 21" descr="Cancha">
            <a:extLst>
              <a:ext uri="{FF2B5EF4-FFF2-40B4-BE49-F238E27FC236}">
                <a16:creationId xmlns:a16="http://schemas.microsoft.com/office/drawing/2014/main" id="{B548224F-3DBB-0344-8488-658A070EC3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900" y="3056197"/>
            <a:ext cx="900000" cy="900000"/>
          </a:xfrm>
          <a:prstGeom prst="rect">
            <a:avLst/>
          </a:prstGeom>
        </p:spPr>
      </p:pic>
      <p:sp>
        <p:nvSpPr>
          <p:cNvPr id="32" name="Elipse 31">
            <a:extLst>
              <a:ext uri="{FF2B5EF4-FFF2-40B4-BE49-F238E27FC236}">
                <a16:creationId xmlns:a16="http://schemas.microsoft.com/office/drawing/2014/main" id="{F31C5600-0981-AEA2-5696-C0FE63FD4F6A}"/>
              </a:ext>
            </a:extLst>
          </p:cNvPr>
          <p:cNvSpPr/>
          <p:nvPr/>
        </p:nvSpPr>
        <p:spPr>
          <a:xfrm>
            <a:off x="8797427" y="2805899"/>
            <a:ext cx="1872000" cy="1872000"/>
          </a:xfrm>
          <a:prstGeom prst="ellipse">
            <a:avLst/>
          </a:prstGeom>
          <a:solidFill>
            <a:srgbClr val="004B8E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6FD4D050-4807-3EE5-0262-63DC348E012C}"/>
              </a:ext>
            </a:extLst>
          </p:cNvPr>
          <p:cNvSpPr txBox="1"/>
          <p:nvPr/>
        </p:nvSpPr>
        <p:spPr>
          <a:xfrm>
            <a:off x="8952500" y="3913399"/>
            <a:ext cx="1561854" cy="576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es-EC" sz="1400" dirty="0">
                <a:solidFill>
                  <a:schemeClr val="bg1"/>
                </a:solidFill>
              </a:rPr>
              <a:t>Recuperación</a:t>
            </a:r>
          </a:p>
        </p:txBody>
      </p:sp>
      <p:pic>
        <p:nvPicPr>
          <p:cNvPr id="34" name="Gráfico 22" descr="Lingotes de oro">
            <a:extLst>
              <a:ext uri="{FF2B5EF4-FFF2-40B4-BE49-F238E27FC236}">
                <a16:creationId xmlns:a16="http://schemas.microsoft.com/office/drawing/2014/main" id="{D97D83EC-36CC-382E-3EF8-9E8F6B50B8C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427" y="3056197"/>
            <a:ext cx="900000" cy="900000"/>
          </a:xfrm>
          <a:prstGeom prst="rect">
            <a:avLst/>
          </a:prstGeom>
        </p:spPr>
      </p:pic>
      <p:sp>
        <p:nvSpPr>
          <p:cNvPr id="35" name="Anillo 125">
            <a:extLst>
              <a:ext uri="{FF2B5EF4-FFF2-40B4-BE49-F238E27FC236}">
                <a16:creationId xmlns:a16="http://schemas.microsoft.com/office/drawing/2014/main" id="{E506A266-16BD-EE2B-A856-B6D7357CAF46}"/>
              </a:ext>
            </a:extLst>
          </p:cNvPr>
          <p:cNvSpPr/>
          <p:nvPr/>
        </p:nvSpPr>
        <p:spPr>
          <a:xfrm>
            <a:off x="3688374" y="2473800"/>
            <a:ext cx="2520000" cy="2520000"/>
          </a:xfrm>
          <a:prstGeom prst="donut">
            <a:avLst>
              <a:gd name="adj" fmla="val 5545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Anillo 126">
            <a:extLst>
              <a:ext uri="{FF2B5EF4-FFF2-40B4-BE49-F238E27FC236}">
                <a16:creationId xmlns:a16="http://schemas.microsoft.com/office/drawing/2014/main" id="{9353EBFD-9684-98D9-85BF-602BEE96156E}"/>
              </a:ext>
            </a:extLst>
          </p:cNvPr>
          <p:cNvSpPr/>
          <p:nvPr/>
        </p:nvSpPr>
        <p:spPr>
          <a:xfrm>
            <a:off x="6080900" y="2473800"/>
            <a:ext cx="2520000" cy="2520000"/>
          </a:xfrm>
          <a:prstGeom prst="donut">
            <a:avLst>
              <a:gd name="adj" fmla="val 5545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Anillo 127">
            <a:extLst>
              <a:ext uri="{FF2B5EF4-FFF2-40B4-BE49-F238E27FC236}">
                <a16:creationId xmlns:a16="http://schemas.microsoft.com/office/drawing/2014/main" id="{BE8553B0-1302-5B61-BFDF-74D2615EEF50}"/>
              </a:ext>
            </a:extLst>
          </p:cNvPr>
          <p:cNvSpPr/>
          <p:nvPr/>
        </p:nvSpPr>
        <p:spPr>
          <a:xfrm>
            <a:off x="8473427" y="2473800"/>
            <a:ext cx="2520000" cy="2520000"/>
          </a:xfrm>
          <a:prstGeom prst="donut">
            <a:avLst>
              <a:gd name="adj" fmla="val 5545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4813E5DB-26F7-7324-0B7A-B60B41C3F8ED}"/>
              </a:ext>
            </a:extLst>
          </p:cNvPr>
          <p:cNvSpPr/>
          <p:nvPr/>
        </p:nvSpPr>
        <p:spPr>
          <a:xfrm>
            <a:off x="739597" y="363583"/>
            <a:ext cx="7062270" cy="703899"/>
          </a:xfrm>
          <a:prstGeom prst="rect">
            <a:avLst/>
          </a:prstGeom>
          <a:noFill/>
          <a:ln w="28575">
            <a:noFill/>
          </a:ln>
        </p:spPr>
        <p:txBody>
          <a:bodyPr wrap="square" anchor="ctr" anchorCtr="0">
            <a:noAutofit/>
          </a:bodyPr>
          <a:lstStyle/>
          <a:p>
            <a:r>
              <a:rPr lang="es-ES" sz="3400" dirty="0">
                <a:solidFill>
                  <a:schemeClr val="bg1"/>
                </a:solidFill>
                <a:latin typeface="Bebas Neue" panose="020B0606020202050201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LO DE GESTIÓN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803887E8-10FF-0096-E009-D70C45600CBB}"/>
              </a:ext>
            </a:extLst>
          </p:cNvPr>
          <p:cNvSpPr/>
          <p:nvPr/>
        </p:nvSpPr>
        <p:spPr>
          <a:xfrm>
            <a:off x="1991724" y="1746824"/>
            <a:ext cx="8178352" cy="703899"/>
          </a:xfrm>
          <a:prstGeom prst="rect">
            <a:avLst/>
          </a:prstGeom>
          <a:noFill/>
          <a:ln w="28575">
            <a:noFill/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es-ES" sz="2500" dirty="0">
                <a:solidFill>
                  <a:schemeClr val="bg1"/>
                </a:solidFill>
                <a:latin typeface="Montserrat" panose="020005050000000200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iclo de la defensa legal del Estado ecuatoriano</a:t>
            </a:r>
          </a:p>
        </p:txBody>
      </p:sp>
    </p:spTree>
    <p:extLst>
      <p:ext uri="{BB962C8B-B14F-4D97-AF65-F5344CB8AC3E}">
        <p14:creationId xmlns:p14="http://schemas.microsoft.com/office/powerpoint/2010/main" val="23887802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 descr="C:\Users\asangucho\Desktop\Power Point\Patrocinio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4760" y="1725750"/>
            <a:ext cx="3401812" cy="3401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7 CuadroTexto"/>
          <p:cNvSpPr txBox="1"/>
          <p:nvPr/>
        </p:nvSpPr>
        <p:spPr>
          <a:xfrm>
            <a:off x="4740274" y="3165046"/>
            <a:ext cx="3961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800" dirty="0">
                <a:solidFill>
                  <a:schemeClr val="bg1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Patrocinio Nacional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46C7E557-514E-CB02-6FD9-1BE24CF7BC49}"/>
              </a:ext>
            </a:extLst>
          </p:cNvPr>
          <p:cNvSpPr/>
          <p:nvPr/>
        </p:nvSpPr>
        <p:spPr>
          <a:xfrm>
            <a:off x="4882514" y="3690610"/>
            <a:ext cx="6125846" cy="374571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r>
              <a:rPr lang="es-MX" sz="1600" dirty="0">
                <a:solidFill>
                  <a:srgbClr val="004B8E"/>
                </a:solidFill>
                <a:latin typeface="Sansation" panose="02000000000000000000" pitchFamily="2" charset="0"/>
              </a:rPr>
              <a:t>Defender al Estado en los procesos judiciales y extrajudiciales.</a:t>
            </a:r>
          </a:p>
        </p:txBody>
      </p:sp>
    </p:spTree>
    <p:extLst>
      <p:ext uri="{BB962C8B-B14F-4D97-AF65-F5344CB8AC3E}">
        <p14:creationId xmlns:p14="http://schemas.microsoft.com/office/powerpoint/2010/main" val="1708682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746DFFE1A4CF645A6C32A73B4FDF5E6" ma:contentTypeVersion="12" ma:contentTypeDescription="Crear nuevo documento." ma:contentTypeScope="" ma:versionID="4a6dbab7093dadc9a435d72c8c803fa8">
  <xsd:schema xmlns:xsd="http://www.w3.org/2001/XMLSchema" xmlns:xs="http://www.w3.org/2001/XMLSchema" xmlns:p="http://schemas.microsoft.com/office/2006/metadata/properties" xmlns:ns3="1160c7dd-2658-44b1-ae85-bb81859b1403" xmlns:ns4="40dea9e8-b07c-4091-863d-5d7b220296ef" targetNamespace="http://schemas.microsoft.com/office/2006/metadata/properties" ma:root="true" ma:fieldsID="e4f3ac80da2ed7eaf891f06cc1fa60b3" ns3:_="" ns4:_="">
    <xsd:import namespace="1160c7dd-2658-44b1-ae85-bb81859b1403"/>
    <xsd:import namespace="40dea9e8-b07c-4091-863d-5d7b220296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60c7dd-2658-44b1-ae85-bb81859b14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dea9e8-b07c-4091-863d-5d7b220296e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8F1922F-51B3-4386-B078-474AA5D101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ACA63D-A53A-4862-8EA8-154CB1AD0A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60c7dd-2658-44b1-ae85-bb81859b1403"/>
    <ds:schemaRef ds:uri="40dea9e8-b07c-4091-863d-5d7b22029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0BC8CC-4840-4450-A30F-8EB5AD6F1FD5}">
  <ds:schemaRefs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metadata/properties"/>
    <ds:schemaRef ds:uri="1160c7dd-2658-44b1-ae85-bb81859b1403"/>
    <ds:schemaRef ds:uri="http://schemas.microsoft.com/office/infopath/2007/PartnerControls"/>
    <ds:schemaRef ds:uri="40dea9e8-b07c-4091-863d-5d7b220296e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71</TotalTime>
  <Words>1041</Words>
  <Application>Microsoft Office PowerPoint</Application>
  <PresentationFormat>Panorámica</PresentationFormat>
  <Paragraphs>280</Paragraphs>
  <Slides>54</Slides>
  <Notes>14</Notes>
  <HiddenSlides>0</HiddenSlides>
  <MMClips>3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54</vt:i4>
      </vt:variant>
    </vt:vector>
  </HeadingPairs>
  <TitlesOfParts>
    <vt:vector size="55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ndición de Cuentas 2019</dc:title>
  <dc:creator>Sangucho Alexander</dc:creator>
  <cp:lastModifiedBy>Sangucho Alexander</cp:lastModifiedBy>
  <cp:revision>729</cp:revision>
  <cp:lastPrinted>2026-01-14T22:27:19Z</cp:lastPrinted>
  <dcterms:created xsi:type="dcterms:W3CDTF">2020-01-20T14:34:12Z</dcterms:created>
  <dcterms:modified xsi:type="dcterms:W3CDTF">2026-05-12T20:4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6DFFE1A4CF645A6C32A73B4FDF5E6</vt:lpwstr>
  </property>
</Properties>
</file>